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8.xml" ContentType="application/vnd.openxmlformats-officedocument.presentationml.tags+xml"/>
  <Override PartName="/ppt/notesSlides/notesSlide6.xml" ContentType="application/vnd.openxmlformats-officedocument.presentationml.notesSlide+xml"/>
  <Override PartName="/ppt/tags/tag5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1.xml" ContentType="application/vnd.openxmlformats-officedocument.presentationml.notesSlide+xml"/>
  <Override PartName="/ppt/tags/tag6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3" r:id="rId1"/>
  </p:sldMasterIdLst>
  <p:notesMasterIdLst>
    <p:notesMasterId r:id="rId20"/>
  </p:notesMasterIdLst>
  <p:sldIdLst>
    <p:sldId id="311" r:id="rId2"/>
    <p:sldId id="351" r:id="rId3"/>
    <p:sldId id="314" r:id="rId4"/>
    <p:sldId id="313" r:id="rId5"/>
    <p:sldId id="358" r:id="rId6"/>
    <p:sldId id="359" r:id="rId7"/>
    <p:sldId id="318" r:id="rId8"/>
    <p:sldId id="360" r:id="rId9"/>
    <p:sldId id="347" r:id="rId10"/>
    <p:sldId id="348" r:id="rId11"/>
    <p:sldId id="320" r:id="rId12"/>
    <p:sldId id="362" r:id="rId13"/>
    <p:sldId id="357" r:id="rId14"/>
    <p:sldId id="349" r:id="rId15"/>
    <p:sldId id="350" r:id="rId16"/>
    <p:sldId id="363" r:id="rId17"/>
    <p:sldId id="364" r:id="rId18"/>
    <p:sldId id="334" r:id="rId19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5">
          <p15:clr>
            <a:srgbClr val="A4A3A4"/>
          </p15:clr>
        </p15:guide>
        <p15:guide id="2" pos="34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6969"/>
    <a:srgbClr val="FF3399"/>
    <a:srgbClr val="000099"/>
    <a:srgbClr val="D40511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85963" autoAdjust="0"/>
  </p:normalViewPr>
  <p:slideViewPr>
    <p:cSldViewPr snapToGrid="0" snapToObjects="1">
      <p:cViewPr>
        <p:scale>
          <a:sx n="100" d="100"/>
          <a:sy n="100" d="100"/>
        </p:scale>
        <p:origin x="-1108" y="32"/>
      </p:cViewPr>
      <p:guideLst>
        <p:guide orient="horz" pos="425"/>
        <p:guide pos="34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5.emf"/><Relationship Id="rId4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A9C0CC1E-9A2C-8349-8083-B97887D0174C}" type="datetimeFigureOut">
              <a:rPr lang="en-US"/>
              <a:pPr/>
              <a:t>3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fld id="{024C1DFA-9C37-A44A-9A95-D3B9FE4EE83E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2903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1BEF999-470C-064E-8ED0-06B5BDF08271}" type="slidenum">
              <a:rPr lang="en-US">
                <a:latin typeface="Calibri" charset="0"/>
                <a:cs typeface="ＭＳ Ｐゴシック" charset="0"/>
              </a:rPr>
              <a:pPr eaLnBrk="1" hangingPunct="1"/>
              <a:t>1</a:t>
            </a:fld>
            <a:endParaRPr lang="en-US" dirty="0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3004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>
              <a:latin typeface="Calibri" charset="0"/>
            </a:endParaRPr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CDC3B0CF-E760-254B-862C-DF7843F61FA4}" type="slidenum">
              <a:rPr lang="en-US">
                <a:latin typeface="Calibri" charset="0"/>
                <a:cs typeface="ＭＳ Ｐゴシック" charset="0"/>
              </a:rPr>
              <a:pPr eaLnBrk="1" hangingPunct="1"/>
              <a:t>10</a:t>
            </a:fld>
            <a:endParaRPr lang="en-US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8050" y="511175"/>
            <a:ext cx="5046663" cy="37846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813" y="4486275"/>
            <a:ext cx="5032375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81318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4C1DFA-9C37-A44A-9A95-D3B9FE4EE83E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3730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4C1DFA-9C37-A44A-9A95-D3B9FE4EE83E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855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34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0C3D4FE2-71AE-6444-8727-32856027BE27}" type="slidenum">
              <a:rPr lang="en-US">
                <a:latin typeface="Calibri" charset="0"/>
                <a:cs typeface="ＭＳ Ｐゴシック" charset="0"/>
              </a:rPr>
              <a:pPr eaLnBrk="1" hangingPunct="1"/>
              <a:t>14</a:t>
            </a:fld>
            <a:endParaRPr lang="en-US" dirty="0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3463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1B781E9A-D3DB-A649-8FB4-4D750042280B}" type="slidenum">
              <a:rPr lang="en-US">
                <a:cs typeface="ＭＳ Ｐゴシック" charset="0"/>
              </a:rPr>
              <a:pPr eaLnBrk="1" hangingPunct="1"/>
              <a:t>15</a:t>
            </a:fld>
            <a:endParaRPr lang="en-US"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3334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24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400"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5837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683E3D3F-5DA6-F943-9E5A-2C45F635E7C3}" type="slidenum">
              <a:rPr lang="en-US">
                <a:latin typeface="Calibri" charset="0"/>
                <a:cs typeface="ＭＳ Ｐゴシック" charset="0"/>
              </a:rPr>
              <a:pPr eaLnBrk="1" hangingPunct="1"/>
              <a:t>16</a:t>
            </a:fld>
            <a:endParaRPr lang="en-US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5729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2265D5D7-B5A4-924A-A315-11D59CA53DA7}" type="slidenum">
              <a:rPr lang="en-US">
                <a:latin typeface="Calibri" charset="0"/>
                <a:cs typeface="ＭＳ Ｐゴシック" charset="0"/>
              </a:rPr>
              <a:pPr eaLnBrk="1" hangingPunct="1"/>
              <a:t>17</a:t>
            </a:fld>
            <a:endParaRPr lang="en-US">
              <a:latin typeface="Calibri" charset="0"/>
              <a:cs typeface="ＭＳ Ｐゴシック" charset="0"/>
            </a:endParaRPr>
          </a:p>
        </p:txBody>
      </p:sp>
      <p:sp>
        <p:nvSpPr>
          <p:cNvPr id="65539" name="Rectangle 3"/>
          <p:cNvSpPr txBox="1">
            <a:spLocks noGrp="1" noChangeArrowheads="1"/>
          </p:cNvSpPr>
          <p:nvPr/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2" rIns="91424" bIns="45712"/>
          <a:lstStyle>
            <a:lvl1pPr defTabSz="966788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/>
            <a:fld id="{F9B23854-58C3-9D47-9574-5D10235855B2}" type="datetime1">
              <a:rPr lang="en-GB" sz="1200">
                <a:cs typeface="ＭＳ Ｐゴシック" charset="0"/>
              </a:rPr>
              <a:pPr algn="r"/>
              <a:t>15/03/2019</a:t>
            </a:fld>
            <a:endParaRPr lang="en-GB" sz="1200">
              <a:cs typeface="ＭＳ Ｐゴシック" charset="0"/>
            </a:endParaRPr>
          </a:p>
        </p:txBody>
      </p:sp>
      <p:sp>
        <p:nvSpPr>
          <p:cNvPr id="65540" name="Rectangle 6"/>
          <p:cNvSpPr txBox="1">
            <a:spLocks noGrp="1" noChangeArrowheads="1"/>
          </p:cNvSpPr>
          <p:nvPr/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2" rIns="91424" bIns="45712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r>
              <a:rPr lang="en-GB" sz="1200">
                <a:cs typeface="ＭＳ Ｐゴシック" charset="0"/>
              </a:rPr>
              <a:t>Singapore HUB Visit</a:t>
            </a:r>
          </a:p>
        </p:txBody>
      </p:sp>
      <p:sp>
        <p:nvSpPr>
          <p:cNvPr id="65541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2" rIns="91424" bIns="45712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66788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/>
            <a:fld id="{DA0DD326-D3E4-9B4A-8AE2-5A420A71AE23}" type="slidenum">
              <a:rPr lang="en-GB" sz="1200">
                <a:cs typeface="ＭＳ Ｐゴシック" charset="0"/>
              </a:rPr>
              <a:pPr algn="r"/>
              <a:t>17</a:t>
            </a:fld>
            <a:endParaRPr lang="en-GB" sz="1200">
              <a:cs typeface="ＭＳ Ｐゴシック" charset="0"/>
            </a:endParaRPr>
          </a:p>
        </p:txBody>
      </p:sp>
      <p:sp>
        <p:nvSpPr>
          <p:cNvPr id="655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6175" y="47625"/>
            <a:ext cx="4568825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55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rPr>
              <a:t>B727 upgraded to branded B737</a:t>
            </a:r>
            <a:endParaRPr noProof="1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6422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6758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FD88EDDB-3644-D14E-B4EB-AF73CC726257}" type="slidenum">
              <a:rPr lang="en-US">
                <a:latin typeface="Calibri" charset="0"/>
                <a:cs typeface="ＭＳ Ｐゴシック" charset="0"/>
              </a:rPr>
              <a:pPr eaLnBrk="1" hangingPunct="1"/>
              <a:t>18</a:t>
            </a:fld>
            <a:endParaRPr lang="en-US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319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D457409-39C4-45AD-AD6F-C883C97D9EE6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67587" name="Rectangle 7"/>
          <p:cNvSpPr txBox="1">
            <a:spLocks noGrp="1" noChangeArrowheads="1"/>
          </p:cNvSpPr>
          <p:nvPr/>
        </p:nvSpPr>
        <p:spPr bwMode="auto">
          <a:xfrm>
            <a:off x="3886908" y="8686362"/>
            <a:ext cx="2971092" cy="45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6206D8C0-7754-432B-AF53-7BF67C4F69D4}" type="slidenum">
              <a:rPr lang="en-US" sz="1200"/>
              <a:pPr algn="r"/>
              <a:t>2</a:t>
            </a:fld>
            <a:endParaRPr lang="en-US" sz="1200" dirty="0"/>
          </a:p>
        </p:txBody>
      </p:sp>
      <p:sp>
        <p:nvSpPr>
          <p:cNvPr id="67588" name="Rectangle 7"/>
          <p:cNvSpPr txBox="1">
            <a:spLocks noGrp="1" noChangeArrowheads="1"/>
          </p:cNvSpPr>
          <p:nvPr/>
        </p:nvSpPr>
        <p:spPr bwMode="auto">
          <a:xfrm>
            <a:off x="3886908" y="8686362"/>
            <a:ext cx="2971092" cy="45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3" tIns="45716" rIns="91433" bIns="45716" anchor="b"/>
          <a:lstStyle/>
          <a:p>
            <a:pPr algn="r" defTabSz="876300"/>
            <a:fld id="{D442A5BE-846D-412D-8055-C7A0382A4E47}" type="slidenum">
              <a:rPr lang="en-US" sz="1200">
                <a:solidFill>
                  <a:srgbClr val="000000"/>
                </a:solidFill>
              </a:rPr>
              <a:pPr algn="r" defTabSz="876300"/>
              <a:t>2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7589" name="Rectangle 7"/>
          <p:cNvSpPr txBox="1">
            <a:spLocks noGrp="1" noChangeArrowheads="1"/>
          </p:cNvSpPr>
          <p:nvPr/>
        </p:nvSpPr>
        <p:spPr bwMode="auto">
          <a:xfrm>
            <a:off x="3885275" y="8684900"/>
            <a:ext cx="2972725" cy="459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35" tIns="45215" rIns="90435" bIns="45215" anchor="b"/>
          <a:lstStyle/>
          <a:p>
            <a:pPr algn="r" defTabSz="903288"/>
            <a:fld id="{533505EF-3755-4504-A5D7-0171C72E2A83}" type="slidenum">
              <a:rPr lang="en-US" sz="1200">
                <a:solidFill>
                  <a:srgbClr val="000000"/>
                </a:solidFill>
              </a:rPr>
              <a:pPr algn="r" defTabSz="903288"/>
              <a:t>2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75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2625"/>
            <a:ext cx="4581525" cy="3435350"/>
          </a:xfrm>
          <a:ln/>
        </p:spPr>
      </p:sp>
      <p:sp>
        <p:nvSpPr>
          <p:cNvPr id="67591" name="Rectangle 3"/>
          <p:cNvSpPr>
            <a:spLocks noChangeArrowheads="1"/>
          </p:cNvSpPr>
          <p:nvPr/>
        </p:nvSpPr>
        <p:spPr bwMode="auto">
          <a:xfrm>
            <a:off x="785218" y="4228406"/>
            <a:ext cx="5385513" cy="4115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345" tIns="44673" rIns="89345" bIns="44673"/>
          <a:lstStyle/>
          <a:p>
            <a:pPr defTabSz="903288"/>
            <a:endParaRPr kumimoji="1" lang="en-US" sz="1600" dirty="0">
              <a:solidFill>
                <a:srgbClr val="000000"/>
              </a:solidFill>
            </a:endParaRPr>
          </a:p>
        </p:txBody>
      </p:sp>
      <p:sp>
        <p:nvSpPr>
          <p:cNvPr id="6759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7270" y="4342450"/>
            <a:ext cx="7514251" cy="4118748"/>
          </a:xfrm>
          <a:noFill/>
          <a:ln/>
        </p:spPr>
        <p:txBody>
          <a:bodyPr lIns="89345" tIns="44673" rIns="89345" bIns="44673"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938731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42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0ACA218E-3E94-9D48-B57B-FF85DB1B54A8}" type="slidenum">
              <a:rPr lang="en-US">
                <a:latin typeface="Calibri" charset="0"/>
                <a:cs typeface="ＭＳ Ｐゴシック" charset="0"/>
              </a:rPr>
              <a:pPr eaLnBrk="1" hangingPunct="1"/>
              <a:t>3</a:t>
            </a:fld>
            <a:endParaRPr lang="en-US" dirty="0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190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spcBef>
                <a:spcPct val="0"/>
              </a:spcBef>
              <a:buFontTx/>
              <a:buChar char="•"/>
            </a:pPr>
            <a:endParaRPr lang="en-US" dirty="0">
              <a:latin typeface="Calibri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1F4D9083-9492-534C-887A-C3F405DBAF2E}" type="slidenum">
              <a:rPr lang="en-US">
                <a:latin typeface="Calibri" charset="0"/>
                <a:cs typeface="ＭＳ Ｐゴシック" charset="0"/>
              </a:rPr>
              <a:pPr eaLnBrk="1" hangingPunct="1"/>
              <a:t>4</a:t>
            </a:fld>
            <a:endParaRPr lang="en-US" dirty="0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0886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84BFFC2D-51E9-294D-ABAD-3337EAB978A7}" type="slidenum">
              <a:rPr lang="en-US">
                <a:latin typeface="Calibri" charset="0"/>
                <a:cs typeface="ＭＳ Ｐゴシック" charset="0"/>
              </a:rPr>
              <a:pPr eaLnBrk="1" hangingPunct="1"/>
              <a:t>5</a:t>
            </a:fld>
            <a:endParaRPr lang="en-US" dirty="0">
              <a:latin typeface="Calibri" charset="0"/>
              <a:cs typeface="ＭＳ Ｐゴシック" charset="0"/>
            </a:endParaRPr>
          </a:p>
        </p:txBody>
      </p:sp>
      <p:sp>
        <p:nvSpPr>
          <p:cNvPr id="61443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86" tIns="43243" rIns="86486" bIns="43243"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/>
            <a:fld id="{EB7532C5-24F8-5C4F-8C89-D3E8FA09125D}" type="slidenum">
              <a:rPr lang="en-GB" sz="1100">
                <a:cs typeface="ＭＳ Ｐゴシック" charset="0"/>
              </a:rPr>
              <a:pPr algn="r"/>
              <a:t>5</a:t>
            </a:fld>
            <a:endParaRPr lang="en-GB" sz="1100" dirty="0">
              <a:cs typeface="ＭＳ Ｐゴシック" charset="0"/>
            </a:endParaRPr>
          </a:p>
        </p:txBody>
      </p:sp>
      <p:sp>
        <p:nvSpPr>
          <p:cNvPr id="6144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4588" y="685800"/>
            <a:ext cx="45704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144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4343400"/>
            <a:ext cx="5026025" cy="4114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lIns="86486" tIns="43243" rIns="86486" bIns="43243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08286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AFEDBA8-B66C-3746-943E-04DF7F27F755}" type="slidenum">
              <a:rPr lang="en-US">
                <a:latin typeface="Calibri" charset="0"/>
                <a:cs typeface="ＭＳ Ｐゴシック" charset="0"/>
              </a:rPr>
              <a:pPr eaLnBrk="1" hangingPunct="1"/>
              <a:t>6</a:t>
            </a:fld>
            <a:endParaRPr lang="en-US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3007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728F8277-9356-6A4E-BD01-EBC69C7019E4}" type="slidenum">
              <a:rPr lang="en-US">
                <a:latin typeface="Calibri" charset="0"/>
                <a:cs typeface="ＭＳ Ｐゴシック" charset="0"/>
              </a:rPr>
              <a:pPr eaLnBrk="1" hangingPunct="1"/>
              <a:t>7</a:t>
            </a:fld>
            <a:endParaRPr lang="en-US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1557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2A5DB5D9-B536-9343-8B85-762624734319}" type="slidenum">
              <a:rPr lang="en-US">
                <a:latin typeface="Calibri" charset="0"/>
                <a:cs typeface="ＭＳ Ｐゴシック" charset="0"/>
              </a:rPr>
              <a:pPr eaLnBrk="1" hangingPunct="1"/>
              <a:t>8</a:t>
            </a:fld>
            <a:endParaRPr lang="en-US">
              <a:latin typeface="Calibri" charset="0"/>
              <a:cs typeface="ＭＳ Ｐゴシック" charset="0"/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4588" y="684213"/>
            <a:ext cx="45704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7388" y="4344988"/>
            <a:ext cx="5483225" cy="4114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5204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>
              <a:latin typeface="Calibri" charset="0"/>
            </a:endParaRPr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E9436709-7466-674E-B530-86AAB0F43740}" type="slidenum">
              <a:rPr lang="en-US">
                <a:latin typeface="Calibri" charset="0"/>
                <a:cs typeface="ＭＳ Ｐゴシック" charset="0"/>
              </a:rPr>
              <a:pPr eaLnBrk="1" hangingPunct="1"/>
              <a:t>9</a:t>
            </a:fld>
            <a:endParaRPr lang="en-US">
              <a:latin typeface="Calibri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08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8976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315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6815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727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89184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3606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260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7107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032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924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3422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06766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46800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Business Unit Descriptor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22023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 smtClean="0"/>
              <a:pPr/>
              <a:t>‹N°›</a:t>
            </a:fld>
            <a:endParaRPr lang="de-DE"/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171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700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8475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2845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98096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5638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156181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1" name="meta-classification"/>
          <p:cNvSpPr txBox="1"/>
          <p:nvPr/>
        </p:nvSpPr>
        <p:spPr bwMode="gray">
          <a:xfrm>
            <a:off x="414000" y="-1"/>
            <a:ext cx="429605" cy="222108"/>
          </a:xfrm>
          <a:prstGeom prst="rect">
            <a:avLst/>
          </a:prstGeom>
          <a:noFill/>
        </p:spPr>
        <p:txBody>
          <a:bodyPr wrap="none" lIns="0" tIns="82800" rIns="0" bIns="0" rtlCol="0" anchor="t" anchorCtr="0">
            <a:spAutoFit/>
          </a:bodyPr>
          <a:lstStyle/>
          <a:p>
            <a:r>
              <a:rPr lang="en-US" sz="900" b="1" kern="0" cap="all" baseline="0" dirty="0" smtClean="0">
                <a:solidFill>
                  <a:schemeClr val="accent1"/>
                </a:solidFill>
                <a:cs typeface="Arial"/>
              </a:rPr>
              <a:t>public</a:t>
            </a:r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DHL Express Sub Saharan Africa | Location | xx Month 20xx</a:t>
            </a:r>
            <a:endParaRPr lang="de-DE" dirty="0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610A7141-4479-40B7-966D-BCE9989F046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40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0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6.png"/><Relationship Id="rId5" Type="http://schemas.openxmlformats.org/officeDocument/2006/relationships/image" Target="../media/image19.png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2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image" Target="../media/image4.jpe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notesSlide" Target="../notesSlides/notesSlide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slideLayout" Target="../slideLayouts/slideLayout10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tags" Target="../tags/tag45.xml"/><Relationship Id="rId39" Type="http://schemas.openxmlformats.org/officeDocument/2006/relationships/notesSlide" Target="../notesSlides/notesSlide3.xml"/><Relationship Id="rId3" Type="http://schemas.openxmlformats.org/officeDocument/2006/relationships/tags" Target="../tags/tag22.xml"/><Relationship Id="rId21" Type="http://schemas.openxmlformats.org/officeDocument/2006/relationships/tags" Target="../tags/tag40.xml"/><Relationship Id="rId34" Type="http://schemas.openxmlformats.org/officeDocument/2006/relationships/tags" Target="../tags/tag53.xml"/><Relationship Id="rId42" Type="http://schemas.openxmlformats.org/officeDocument/2006/relationships/image" Target="../media/image5.emf"/><Relationship Id="rId47" Type="http://schemas.openxmlformats.org/officeDocument/2006/relationships/oleObject" Target="../embeddings/oleObject5.bin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tags" Target="../tags/tag44.xml"/><Relationship Id="rId33" Type="http://schemas.openxmlformats.org/officeDocument/2006/relationships/tags" Target="../tags/tag52.xml"/><Relationship Id="rId38" Type="http://schemas.openxmlformats.org/officeDocument/2006/relationships/slideLayout" Target="../slideLayouts/slideLayout10.xml"/><Relationship Id="rId46" Type="http://schemas.openxmlformats.org/officeDocument/2006/relationships/image" Target="../media/image7.emf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tags" Target="../tags/tag48.xml"/><Relationship Id="rId41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32" Type="http://schemas.openxmlformats.org/officeDocument/2006/relationships/tags" Target="../tags/tag51.xml"/><Relationship Id="rId37" Type="http://schemas.openxmlformats.org/officeDocument/2006/relationships/tags" Target="../tags/tag56.xml"/><Relationship Id="rId40" Type="http://schemas.openxmlformats.org/officeDocument/2006/relationships/image" Target="../media/image9.png"/><Relationship Id="rId45" Type="http://schemas.openxmlformats.org/officeDocument/2006/relationships/oleObject" Target="../embeddings/oleObject4.bin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tags" Target="../tags/tag47.xml"/><Relationship Id="rId36" Type="http://schemas.openxmlformats.org/officeDocument/2006/relationships/tags" Target="../tags/tag55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tags" Target="../tags/tag50.xml"/><Relationship Id="rId44" Type="http://schemas.openxmlformats.org/officeDocument/2006/relationships/image" Target="../media/image6.emf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tags" Target="../tags/tag46.xml"/><Relationship Id="rId30" Type="http://schemas.openxmlformats.org/officeDocument/2006/relationships/tags" Target="../tags/tag49.xml"/><Relationship Id="rId35" Type="http://schemas.openxmlformats.org/officeDocument/2006/relationships/tags" Target="../tags/tag54.xml"/><Relationship Id="rId43" Type="http://schemas.openxmlformats.org/officeDocument/2006/relationships/oleObject" Target="../embeddings/oleObject3.bin"/><Relationship Id="rId48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8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ym typeface="Arial" charset="0"/>
              </a:rPr>
              <a:t>Sub Saharan Africa</a:t>
            </a:r>
            <a:endParaRPr lang="en-US" dirty="0">
              <a:sym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"/>
          </p:nvPr>
        </p:nvSpPr>
        <p:spPr/>
        <p:txBody>
          <a:bodyPr/>
          <a:lstStyle/>
          <a:p>
            <a:r>
              <a:rPr lang="en-US" dirty="0" smtClean="0"/>
              <a:t>DHL Express</a:t>
            </a:r>
            <a:endParaRPr lang="en-US" dirty="0"/>
          </a:p>
        </p:txBody>
      </p:sp>
      <p:sp>
        <p:nvSpPr>
          <p:cNvPr id="28675" name="Subtitle 1"/>
          <p:cNvSpPr>
            <a:spLocks noGrp="1"/>
          </p:cNvSpPr>
          <p:nvPr>
            <p:ph type="body" sz="quarter" idx="2"/>
          </p:nvPr>
        </p:nvSpPr>
        <p:spPr>
          <a:xfrm>
            <a:off x="414000" y="0"/>
            <a:ext cx="429605" cy="222108"/>
          </a:xfrm>
        </p:spPr>
        <p:txBody>
          <a:bodyPr/>
          <a:lstStyle/>
          <a:p>
            <a:r>
              <a:rPr lang="en-US" dirty="0" smtClean="0"/>
              <a:t>public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5"/>
          </p:nvPr>
        </p:nvSpPr>
        <p:spPr/>
        <p:txBody>
          <a:bodyPr/>
          <a:lstStyle/>
          <a:p>
            <a:r>
              <a:rPr lang="en-US" dirty="0"/>
              <a:t>An </a:t>
            </a:r>
            <a:r>
              <a:rPr lang="en-US" dirty="0" smtClean="0"/>
              <a:t>Introduction to DHL Express operation in SSA Region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Arial" charset="0"/>
                <a:ea typeface="ＭＳ Ｐゴシック" charset="0"/>
                <a:cs typeface="ＭＳ Ｐゴシック" charset="0"/>
              </a:rPr>
              <a:t>Only carrier to have a dedicated air network in Africa</a:t>
            </a:r>
          </a:p>
        </p:txBody>
      </p:sp>
      <p:sp>
        <p:nvSpPr>
          <p:cNvPr id="48139" name="Foliennummernplatzhalter 3"/>
          <p:cNvSpPr txBox="1">
            <a:spLocks noGrp="1"/>
          </p:cNvSpPr>
          <p:nvPr/>
        </p:nvSpPr>
        <p:spPr bwMode="gray">
          <a:xfrm>
            <a:off x="8064500" y="6627813"/>
            <a:ext cx="977900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hangingPunct="1">
              <a:buClr>
                <a:srgbClr val="D40511"/>
              </a:buClr>
              <a:buFont typeface="Arial" charset="0"/>
              <a:buNone/>
            </a:pPr>
            <a:fld id="{926D8396-F5EC-7C44-9461-F020EFA333FC}" type="slidenum">
              <a:rPr lang="en-US" sz="1000">
                <a:solidFill>
                  <a:srgbClr val="D40511"/>
                </a:solidFill>
                <a:cs typeface="ＭＳ Ｐゴシック" charset="0"/>
                <a:sym typeface="Arial" charset="0"/>
              </a:rPr>
              <a:pPr algn="r" eaLnBrk="1" hangingPunct="1">
                <a:buClr>
                  <a:srgbClr val="D40511"/>
                </a:buClr>
                <a:buFont typeface="Arial" charset="0"/>
                <a:buNone/>
              </a:pPr>
              <a:t>10</a:t>
            </a:fld>
            <a:endParaRPr lang="en-US" sz="1000">
              <a:solidFill>
                <a:srgbClr val="D40511"/>
              </a:solidFill>
              <a:cs typeface="ＭＳ Ｐゴシック" charset="0"/>
              <a:sym typeface="Arial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25094" y="1259943"/>
            <a:ext cx="8314461" cy="3207039"/>
            <a:chOff x="425094" y="1344613"/>
            <a:chExt cx="8314461" cy="3289128"/>
          </a:xfrm>
        </p:grpSpPr>
        <p:pic>
          <p:nvPicPr>
            <p:cNvPr id="11" name="Picture 8" descr="ATR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25094" y="3100388"/>
              <a:ext cx="2338639" cy="15333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27" r="25452"/>
            <a:stretch>
              <a:fillRect/>
            </a:stretch>
          </p:blipFill>
          <p:spPr bwMode="gray">
            <a:xfrm>
              <a:off x="425094" y="1344613"/>
              <a:ext cx="2338639" cy="1703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ectangle 12"/>
            <p:cNvSpPr>
              <a:spLocks noChangeArrowheads="1"/>
            </p:cNvSpPr>
            <p:nvPr/>
          </p:nvSpPr>
          <p:spPr bwMode="gray">
            <a:xfrm>
              <a:off x="2790523" y="3100388"/>
              <a:ext cx="1487652" cy="1533353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2000">
                  <a:solidFill>
                    <a:srgbClr val="D40511"/>
                  </a:solidFill>
                </a:rPr>
                <a:t>ATR 42-320</a:t>
              </a: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gray">
            <a:xfrm>
              <a:off x="4331756" y="1344613"/>
              <a:ext cx="4407799" cy="1703550"/>
            </a:xfrm>
            <a:prstGeom prst="rect">
              <a:avLst/>
            </a:prstGeom>
            <a:solidFill>
              <a:srgbClr val="FFF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>
              <a:lvl1pPr marL="1257300" indent="-12573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/>
                <a:t>No. in Fleet:	2 (1 x LCD palletized, 1 x normal config)</a:t>
              </a:r>
            </a:p>
            <a:p>
              <a:pPr eaLnBrk="1" hangingPunct="1"/>
              <a:r>
                <a:rPr lang="en-US" altLang="en-US" sz="1400"/>
                <a:t>Capacity:	7.8 Metric tons</a:t>
              </a:r>
            </a:p>
            <a:p>
              <a:pPr eaLnBrk="1" hangingPunct="1"/>
              <a:r>
                <a:rPr lang="en-US" altLang="en-US" sz="1400"/>
                <a:t>Max. Range:	1,650 km</a:t>
              </a:r>
              <a:r>
                <a:rPr lang="ja-JP" altLang="en-US" sz="1400"/>
                <a:t>’</a:t>
              </a:r>
              <a:r>
                <a:rPr lang="en-US" altLang="en-US" sz="1400"/>
                <a:t>s</a:t>
              </a:r>
            </a:p>
            <a:p>
              <a:pPr eaLnBrk="1" hangingPunct="1"/>
              <a:r>
                <a:rPr lang="en-US" altLang="en-US" sz="1400"/>
                <a:t>DHL Hubs:        DKR, LBV</a:t>
              </a:r>
            </a:p>
            <a:p>
              <a:pPr eaLnBrk="1" hangingPunct="1"/>
              <a:r>
                <a:rPr lang="en-US" altLang="en-US" sz="1400"/>
                <a:t>Door Size:	204 x 303 cm</a:t>
              </a:r>
              <a:r>
                <a:rPr lang="ja-JP" altLang="en-US" sz="1400"/>
                <a:t>’</a:t>
              </a:r>
              <a:r>
                <a:rPr lang="en-US" altLang="en-US" sz="1400"/>
                <a:t>s</a:t>
              </a:r>
            </a:p>
            <a:p>
              <a:pPr eaLnBrk="1" hangingPunct="1"/>
              <a:r>
                <a:rPr lang="en-US" altLang="en-US" sz="1400"/>
                <a:t>Cargo Hold:	75 CBM</a:t>
              </a:r>
            </a:p>
          </p:txBody>
        </p:sp>
        <p:sp>
          <p:nvSpPr>
            <p:cNvPr id="16" name="Rectangle 12"/>
            <p:cNvSpPr>
              <a:spLocks noChangeArrowheads="1"/>
            </p:cNvSpPr>
            <p:nvPr/>
          </p:nvSpPr>
          <p:spPr bwMode="gray">
            <a:xfrm>
              <a:off x="4333332" y="3100388"/>
              <a:ext cx="4406223" cy="1533353"/>
            </a:xfrm>
            <a:prstGeom prst="rect">
              <a:avLst/>
            </a:prstGeom>
            <a:solidFill>
              <a:srgbClr val="FFF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>
              <a:lvl1pPr marL="1257300" indent="-12573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/>
                <a:t>No. in Fleet:      3</a:t>
              </a:r>
            </a:p>
            <a:p>
              <a:pPr eaLnBrk="1" hangingPunct="1"/>
              <a:r>
                <a:rPr lang="en-US" altLang="en-US" sz="1400"/>
                <a:t>Capacity:          4.5 Metric Tons</a:t>
              </a:r>
            </a:p>
            <a:p>
              <a:pPr eaLnBrk="1" hangingPunct="1"/>
              <a:r>
                <a:rPr lang="en-US" altLang="en-US" sz="1400"/>
                <a:t>Max. Range      1,554 km</a:t>
              </a:r>
              <a:r>
                <a:rPr lang="ja-JP" altLang="en-US" sz="1400"/>
                <a:t>’</a:t>
              </a:r>
              <a:r>
                <a:rPr lang="en-US" altLang="en-US" sz="1400"/>
                <a:t>s</a:t>
              </a:r>
            </a:p>
            <a:p>
              <a:pPr eaLnBrk="1" hangingPunct="1"/>
              <a:r>
                <a:rPr lang="en-US" altLang="en-US" sz="1400"/>
                <a:t>DHL Hubs:        LFW, ABJ, JNB</a:t>
              </a:r>
            </a:p>
            <a:p>
              <a:pPr eaLnBrk="1" hangingPunct="1"/>
              <a:r>
                <a:rPr lang="en-US" altLang="en-US" sz="1400"/>
                <a:t>Door Size:         216 x 348 cm</a:t>
              </a:r>
              <a:r>
                <a:rPr lang="ja-JP" altLang="en-US" sz="1400"/>
                <a:t>’</a:t>
              </a:r>
              <a:r>
                <a:rPr lang="en-US" altLang="en-US" sz="1400"/>
                <a:t>s</a:t>
              </a:r>
            </a:p>
            <a:p>
              <a:pPr eaLnBrk="1" hangingPunct="1"/>
              <a:r>
                <a:rPr lang="en-US" altLang="en-US" sz="1400"/>
                <a:t>Cargo Hold:      38.5 CBM</a:t>
              </a: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gray">
            <a:xfrm>
              <a:off x="2790523" y="1344613"/>
              <a:ext cx="1487652" cy="1703550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r>
                <a:rPr lang="en-US" altLang="en-US" sz="2000">
                  <a:solidFill>
                    <a:srgbClr val="D40511"/>
                  </a:solidFill>
                </a:rPr>
                <a:t>ATR 72F</a:t>
              </a: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5" hidden="1"/>
          <p:cNvSpPr>
            <a:spLocks noGrp="1" noChangeArrowheads="1"/>
          </p:cNvSpPr>
          <p:nvPr>
            <p:ph type="ftr" sz="quarter" idx="31"/>
            <p:custDataLst>
              <p:tags r:id="rId1"/>
            </p:custDataLst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r>
              <a:rPr lang="en-US" smtClean="0">
                <a:cs typeface="ＭＳ Ｐゴシック" charset="0"/>
              </a:rPr>
              <a:t>DHL Express Sub Saharan Africa | Location | xx Month 20xx</a:t>
            </a:r>
            <a:endParaRPr lang="en-US">
              <a:cs typeface="ＭＳ Ｐゴシック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st Africa </a:t>
            </a:r>
            <a:r>
              <a:rPr lang="en-US" dirty="0" smtClean="0"/>
              <a:t>– dedicated air network</a:t>
            </a:r>
            <a:endParaRPr lang="en-US" dirty="0"/>
          </a:p>
        </p:txBody>
      </p:sp>
      <p:sp>
        <p:nvSpPr>
          <p:cNvPr id="36867" name="Rectangle 25" hidden="1"/>
          <p:cNvSpPr txBox="1"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508000" y="6627813"/>
            <a:ext cx="7378700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000">
                <a:solidFill>
                  <a:srgbClr val="D40511"/>
                </a:solidFill>
                <a:cs typeface="ＭＳ Ｐゴシック" charset="0"/>
              </a:rPr>
              <a:t>DHL Express TDI MENA Network Review</a:t>
            </a:r>
          </a:p>
        </p:txBody>
      </p:sp>
      <p:pic>
        <p:nvPicPr>
          <p:cNvPr id="22" name="Picture 2" descr="SSA-map_may-2014_westafrica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781426" y="1252537"/>
            <a:ext cx="4953402" cy="4762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" name="Group 22"/>
          <p:cNvGrpSpPr/>
          <p:nvPr/>
        </p:nvGrpSpPr>
        <p:grpSpPr>
          <a:xfrm>
            <a:off x="380968" y="1252538"/>
            <a:ext cx="2335193" cy="4752975"/>
            <a:chOff x="380968" y="1338263"/>
            <a:chExt cx="2532476" cy="5154518"/>
          </a:xfrm>
        </p:grpSpPr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1"/>
            <a:stretch>
              <a:fillRect/>
            </a:stretch>
          </p:blipFill>
          <p:spPr bwMode="gray">
            <a:xfrm>
              <a:off x="414063" y="2881313"/>
              <a:ext cx="2499381" cy="1459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150"/>
            <a:stretch>
              <a:fillRect/>
            </a:stretch>
          </p:blipFill>
          <p:spPr bwMode="gray">
            <a:xfrm>
              <a:off x="414064" y="5414963"/>
              <a:ext cx="2496229" cy="10747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3" descr="Boeing 727-277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013"/>
            <a:stretch>
              <a:fillRect/>
            </a:stretch>
          </p:blipFill>
          <p:spPr bwMode="gray">
            <a:xfrm>
              <a:off x="414064" y="4351338"/>
              <a:ext cx="2496229" cy="10558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7" name="Group 23"/>
            <p:cNvGrpSpPr>
              <a:grpSpLocks/>
            </p:cNvGrpSpPr>
            <p:nvPr/>
          </p:nvGrpSpPr>
          <p:grpSpPr bwMode="auto">
            <a:xfrm>
              <a:off x="380968" y="1338263"/>
              <a:ext cx="2529324" cy="839956"/>
              <a:chOff x="326" y="843"/>
              <a:chExt cx="1605" cy="533"/>
            </a:xfrm>
          </p:grpSpPr>
          <p:pic>
            <p:nvPicPr>
              <p:cNvPr id="33" name="Picture 15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571"/>
              <a:stretch>
                <a:fillRect/>
              </a:stretch>
            </p:blipFill>
            <p:spPr bwMode="gray">
              <a:xfrm>
                <a:off x="347" y="843"/>
                <a:ext cx="1584" cy="5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4" name="Text Box 16"/>
              <p:cNvSpPr txBox="1">
                <a:spLocks noChangeArrowheads="1"/>
              </p:cNvSpPr>
              <p:nvPr/>
            </p:nvSpPr>
            <p:spPr bwMode="gray">
              <a:xfrm>
                <a:off x="326" y="843"/>
                <a:ext cx="945" cy="1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defTabSz="914400" eaLnBrk="1" hangingPunct="1">
                  <a:spcBef>
                    <a:spcPct val="50000"/>
                  </a:spcBef>
                </a:pPr>
                <a:r>
                  <a:rPr lang="en-US" altLang="en-US" sz="900" b="1"/>
                  <a:t>Boeing 767 Freighter</a:t>
                </a:r>
              </a:p>
            </p:txBody>
          </p:sp>
        </p:grpSp>
        <p:sp>
          <p:nvSpPr>
            <p:cNvPr id="28" name="Text Box 14"/>
            <p:cNvSpPr txBox="1">
              <a:spLocks noChangeArrowheads="1"/>
            </p:cNvSpPr>
            <p:nvPr/>
          </p:nvSpPr>
          <p:spPr bwMode="gray">
            <a:xfrm>
              <a:off x="414063" y="3870325"/>
              <a:ext cx="1144105" cy="226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spcBef>
                  <a:spcPct val="50000"/>
                </a:spcBef>
              </a:pPr>
              <a:r>
                <a:rPr lang="en-US" altLang="en-US" sz="900" b="1"/>
                <a:t>1 x B737</a:t>
              </a:r>
            </a:p>
          </p:txBody>
        </p:sp>
        <p:sp>
          <p:nvSpPr>
            <p:cNvPr id="29" name="TextBox 28"/>
            <p:cNvSpPr txBox="1">
              <a:spLocks noChangeArrowheads="1"/>
            </p:cNvSpPr>
            <p:nvPr/>
          </p:nvSpPr>
          <p:spPr bwMode="gray">
            <a:xfrm>
              <a:off x="380968" y="5138738"/>
              <a:ext cx="1673608" cy="2269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100" dir="2700000" algn="tl" rotWithShape="0">
                      <a:srgbClr val="000000">
                        <a:alpha val="39998"/>
                      </a:srgb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900" b="1"/>
                <a:t>2 x Boeing 727F</a:t>
              </a:r>
            </a:p>
          </p:txBody>
        </p:sp>
        <p:sp>
          <p:nvSpPr>
            <p:cNvPr id="30" name="TextBox 29"/>
            <p:cNvSpPr txBox="1">
              <a:spLocks noChangeArrowheads="1"/>
            </p:cNvSpPr>
            <p:nvPr/>
          </p:nvSpPr>
          <p:spPr bwMode="gray">
            <a:xfrm>
              <a:off x="380968" y="6264275"/>
              <a:ext cx="1673608" cy="2285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100" dir="2700000" algn="tl" rotWithShape="0">
                      <a:srgbClr val="000000">
                        <a:alpha val="39998"/>
                      </a:srgb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900" b="1"/>
                <a:t>2 x ATR 42 &amp; 2 ATR72</a:t>
              </a:r>
            </a:p>
          </p:txBody>
        </p:sp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14064" y="2184401"/>
              <a:ext cx="2496229" cy="9660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Text Box 14"/>
            <p:cNvSpPr txBox="1">
              <a:spLocks noChangeArrowheads="1"/>
            </p:cNvSpPr>
            <p:nvPr/>
          </p:nvSpPr>
          <p:spPr bwMode="gray">
            <a:xfrm>
              <a:off x="414063" y="2184400"/>
              <a:ext cx="1144105" cy="226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spcBef>
                  <a:spcPct val="50000"/>
                </a:spcBef>
              </a:pPr>
              <a:r>
                <a:rPr lang="en-US" altLang="en-US" sz="900" b="1"/>
                <a:t>1 x  A300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5" hidden="1"/>
          <p:cNvSpPr>
            <a:spLocks noGrp="1" noChangeArrowheads="1"/>
          </p:cNvSpPr>
          <p:nvPr>
            <p:ph type="ftr" sz="quarter" idx="31"/>
            <p:custDataLst>
              <p:tags r:id="rId1"/>
            </p:custDataLst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r>
              <a:rPr lang="en-US" smtClean="0">
                <a:cs typeface="ＭＳ Ｐゴシック" charset="0"/>
              </a:rPr>
              <a:t>DHL Express Sub Saharan Africa | Location | xx Month 20xx</a:t>
            </a:r>
            <a:endParaRPr lang="en-US">
              <a:cs typeface="ＭＳ Ｐゴシック" charset="0"/>
            </a:endParaRPr>
          </a:p>
        </p:txBody>
      </p:sp>
      <p:sp>
        <p:nvSpPr>
          <p:cNvPr id="36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</a:rPr>
              <a:t>East, South </a:t>
            </a: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and Central Africa – </a:t>
            </a:r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</a:rPr>
              <a:t>dedicated air networks</a:t>
            </a: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3" name="Picture 12" descr="SSA-map_southern-east-afric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09336" y="1252538"/>
            <a:ext cx="4492740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/>
          </p:cNvGrpSpPr>
          <p:nvPr/>
        </p:nvGrpSpPr>
        <p:grpSpPr bwMode="auto">
          <a:xfrm>
            <a:off x="5562620" y="1252538"/>
            <a:ext cx="3172208" cy="4763439"/>
            <a:chOff x="3611" y="795"/>
            <a:chExt cx="2150" cy="3229"/>
          </a:xfrm>
        </p:grpSpPr>
        <p:pic>
          <p:nvPicPr>
            <p:cNvPr id="16" name="Picture 6" descr="Cessna 208B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14" y="795"/>
              <a:ext cx="2147" cy="1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TextBox 17"/>
            <p:cNvSpPr txBox="1">
              <a:spLocks noChangeArrowheads="1"/>
            </p:cNvSpPr>
            <p:nvPr/>
          </p:nvSpPr>
          <p:spPr bwMode="gray">
            <a:xfrm>
              <a:off x="4583" y="1699"/>
              <a:ext cx="1177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100" dir="2700000" algn="tl" rotWithShape="0">
                      <a:srgbClr val="000000">
                        <a:alpha val="39998"/>
                      </a:srgb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FFFFFF"/>
                  </a:solidFill>
                  <a:latin typeface="+mn-lt"/>
                  <a:ea typeface="+mn-ea"/>
                  <a:cs typeface="+mn-cs"/>
                </a:rPr>
                <a:t>3 x Cessna C208B</a:t>
              </a:r>
            </a:p>
          </p:txBody>
        </p:sp>
        <p:pic>
          <p:nvPicPr>
            <p:cNvPr id="19" name="Picture 1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14" y="3022"/>
              <a:ext cx="2147" cy="1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TextBox 19"/>
            <p:cNvSpPr txBox="1">
              <a:spLocks noChangeArrowheads="1"/>
            </p:cNvSpPr>
            <p:nvPr/>
          </p:nvSpPr>
          <p:spPr bwMode="gray">
            <a:xfrm>
              <a:off x="3762" y="3781"/>
              <a:ext cx="1999" cy="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100" dir="2700000" algn="tl" rotWithShape="0">
                      <a:srgbClr val="000000">
                        <a:alpha val="39998"/>
                      </a:srgb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FFFFFF"/>
                  </a:solidFill>
                  <a:latin typeface="+mn-lt"/>
                  <a:cs typeface="+mn-cs"/>
                </a:rPr>
                <a:t>1 x F406</a:t>
              </a:r>
            </a:p>
          </p:txBody>
        </p:sp>
        <p:sp>
          <p:nvSpPr>
            <p:cNvPr id="21" name="Rectangle 16"/>
            <p:cNvSpPr>
              <a:spLocks noChangeArrowheads="1"/>
            </p:cNvSpPr>
            <p:nvPr/>
          </p:nvSpPr>
          <p:spPr bwMode="gray">
            <a:xfrm>
              <a:off x="5168" y="2852"/>
              <a:ext cx="592" cy="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200">
                  <a:solidFill>
                    <a:srgbClr val="FFFFFF"/>
                  </a:solidFill>
                </a:rPr>
                <a:t>1 x ATR 42</a:t>
              </a:r>
            </a:p>
          </p:txBody>
        </p:sp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11" y="1874"/>
              <a:ext cx="2149" cy="11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TextBox 22"/>
            <p:cNvSpPr txBox="1">
              <a:spLocks noChangeArrowheads="1"/>
            </p:cNvSpPr>
            <p:nvPr/>
          </p:nvSpPr>
          <p:spPr bwMode="gray">
            <a:xfrm>
              <a:off x="5070" y="2867"/>
              <a:ext cx="687" cy="1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100" dir="2700000" algn="tl" rotWithShape="0">
                      <a:srgbClr val="000000">
                        <a:alpha val="39998"/>
                      </a:srgb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FFFFFF"/>
                  </a:solidFill>
                  <a:latin typeface="+mn-lt"/>
                  <a:cs typeface="+mn-cs"/>
                </a:rPr>
                <a:t>1 x ATR 42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doesn’t happen by chance –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19 </a:t>
            </a:r>
            <a:r>
              <a:rPr lang="en-US" dirty="0"/>
              <a:t>TAPA </a:t>
            </a:r>
            <a:r>
              <a:rPr lang="en-US" dirty="0" smtClean="0"/>
              <a:t>certified facilities and state of the art security in all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414000" y="5079057"/>
            <a:ext cx="1966726" cy="573492"/>
            <a:chOff x="6760221" y="1246323"/>
            <a:chExt cx="1966726" cy="573492"/>
          </a:xfrm>
        </p:grpSpPr>
        <p:sp>
          <p:nvSpPr>
            <p:cNvPr id="11" name="Rectangle 115"/>
            <p:cNvSpPr>
              <a:spLocks noChangeArrowheads="1"/>
            </p:cNvSpPr>
            <p:nvPr/>
          </p:nvSpPr>
          <p:spPr bwMode="gray">
            <a:xfrm>
              <a:off x="6760221" y="1257437"/>
              <a:ext cx="137104" cy="137103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1600"/>
            </a:p>
          </p:txBody>
        </p:sp>
        <p:sp>
          <p:nvSpPr>
            <p:cNvPr id="12" name="Rectangle 115"/>
            <p:cNvSpPr>
              <a:spLocks noChangeArrowheads="1"/>
            </p:cNvSpPr>
            <p:nvPr/>
          </p:nvSpPr>
          <p:spPr bwMode="gray">
            <a:xfrm>
              <a:off x="6760221" y="1471748"/>
              <a:ext cx="137104" cy="137104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1600"/>
            </a:p>
          </p:txBody>
        </p:sp>
        <p:sp>
          <p:nvSpPr>
            <p:cNvPr id="13" name="AutoShape 182"/>
            <p:cNvSpPr>
              <a:spLocks noChangeArrowheads="1"/>
            </p:cNvSpPr>
            <p:nvPr/>
          </p:nvSpPr>
          <p:spPr bwMode="gray">
            <a:xfrm>
              <a:off x="6963513" y="1246323"/>
              <a:ext cx="1763434" cy="1607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FFFFFF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0" tIns="25200" rIns="0" bIns="25200" anchor="ctr"/>
            <a:lstStyle>
              <a:lvl1pPr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466725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933450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400175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1865313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3225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7797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2369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6941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800" dirty="0"/>
                <a:t>Current 19 Facilities in 11 Countries </a:t>
              </a:r>
            </a:p>
          </p:txBody>
        </p:sp>
        <p:sp>
          <p:nvSpPr>
            <p:cNvPr id="14" name="AutoShape 186"/>
            <p:cNvSpPr>
              <a:spLocks noChangeArrowheads="1"/>
            </p:cNvSpPr>
            <p:nvPr/>
          </p:nvSpPr>
          <p:spPr bwMode="gray">
            <a:xfrm>
              <a:off x="6963513" y="1452698"/>
              <a:ext cx="1763434" cy="1607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FFFFFF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0" tIns="25200" rIns="0" bIns="25200" anchor="ctr"/>
            <a:lstStyle>
              <a:lvl1pPr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466725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933450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400175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1865313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3225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7797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2369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6941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800"/>
                <a:t>2014 Plan 11 Facilities in 10 Countries </a:t>
              </a:r>
            </a:p>
          </p:txBody>
        </p:sp>
        <p:sp>
          <p:nvSpPr>
            <p:cNvPr id="15" name="AutoShape 190"/>
            <p:cNvSpPr>
              <a:spLocks noChangeArrowheads="1"/>
            </p:cNvSpPr>
            <p:nvPr/>
          </p:nvSpPr>
          <p:spPr bwMode="gray">
            <a:xfrm>
              <a:off x="6963513" y="1659073"/>
              <a:ext cx="1763434" cy="16074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FFFFFF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0" tIns="25200" rIns="0" bIns="25200" anchor="ctr"/>
            <a:lstStyle>
              <a:lvl1pPr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466725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933450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400175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1865313" defTabSz="9334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3225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7797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2369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694113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800"/>
                <a:t>End 2014 30 Facilities in 21 Countries </a:t>
              </a:r>
            </a:p>
          </p:txBody>
        </p:sp>
        <p:sp>
          <p:nvSpPr>
            <p:cNvPr id="16" name="Rectangle 115"/>
            <p:cNvSpPr>
              <a:spLocks noChangeArrowheads="1"/>
            </p:cNvSpPr>
            <p:nvPr/>
          </p:nvSpPr>
          <p:spPr bwMode="gray">
            <a:xfrm>
              <a:off x="6760221" y="1670892"/>
              <a:ext cx="137104" cy="137104"/>
            </a:xfrm>
            <a:prstGeom prst="rect">
              <a:avLst/>
            </a:prstGeom>
            <a:solidFill>
              <a:srgbClr val="FFF5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160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094486" y="1256508"/>
            <a:ext cx="6955028" cy="4749006"/>
            <a:chOff x="896938" y="1256507"/>
            <a:chExt cx="7312268" cy="4992936"/>
          </a:xfrm>
        </p:grpSpPr>
        <p:sp>
          <p:nvSpPr>
            <p:cNvPr id="18" name="Rectangle 3"/>
            <p:cNvSpPr>
              <a:spLocks noChangeArrowheads="1"/>
            </p:cNvSpPr>
            <p:nvPr/>
          </p:nvSpPr>
          <p:spPr bwMode="gray">
            <a:xfrm>
              <a:off x="931863" y="1877220"/>
              <a:ext cx="835025" cy="835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gray">
            <a:xfrm>
              <a:off x="5516563" y="4231482"/>
              <a:ext cx="73025" cy="331788"/>
            </a:xfrm>
            <a:custGeom>
              <a:avLst/>
              <a:gdLst>
                <a:gd name="T0" fmla="*/ 2147483647 w 50"/>
                <a:gd name="T1" fmla="*/ 2147483647 h 230"/>
                <a:gd name="T2" fmla="*/ 2147483647 w 50"/>
                <a:gd name="T3" fmla="*/ 2147483647 h 230"/>
                <a:gd name="T4" fmla="*/ 2147483647 w 50"/>
                <a:gd name="T5" fmla="*/ 2147483647 h 230"/>
                <a:gd name="T6" fmla="*/ 2147483647 w 50"/>
                <a:gd name="T7" fmla="*/ 2147483647 h 230"/>
                <a:gd name="T8" fmla="*/ 2147483647 w 50"/>
                <a:gd name="T9" fmla="*/ 2147483647 h 230"/>
                <a:gd name="T10" fmla="*/ 0 w 50"/>
                <a:gd name="T11" fmla="*/ 0 h 230"/>
                <a:gd name="T12" fmla="*/ 2147483647 w 50"/>
                <a:gd name="T13" fmla="*/ 0 h 230"/>
                <a:gd name="T14" fmla="*/ 2147483647 w 50"/>
                <a:gd name="T15" fmla="*/ 2147483647 h 230"/>
                <a:gd name="T16" fmla="*/ 2147483647 w 50"/>
                <a:gd name="T17" fmla="*/ 2147483647 h 230"/>
                <a:gd name="T18" fmla="*/ 2147483647 w 50"/>
                <a:gd name="T19" fmla="*/ 2147483647 h 230"/>
                <a:gd name="T20" fmla="*/ 2147483647 w 50"/>
                <a:gd name="T21" fmla="*/ 2147483647 h 230"/>
                <a:gd name="T22" fmla="*/ 2147483647 w 50"/>
                <a:gd name="T23" fmla="*/ 2147483647 h 230"/>
                <a:gd name="T24" fmla="*/ 2147483647 w 50"/>
                <a:gd name="T25" fmla="*/ 2147483647 h 230"/>
                <a:gd name="T26" fmla="*/ 2147483647 w 50"/>
                <a:gd name="T27" fmla="*/ 2147483647 h 230"/>
                <a:gd name="T28" fmla="*/ 2147483647 w 50"/>
                <a:gd name="T29" fmla="*/ 2147483647 h 230"/>
                <a:gd name="T30" fmla="*/ 2147483647 w 50"/>
                <a:gd name="T31" fmla="*/ 2147483647 h 230"/>
                <a:gd name="T32" fmla="*/ 2147483647 w 50"/>
                <a:gd name="T33" fmla="*/ 2147483647 h 230"/>
                <a:gd name="T34" fmla="*/ 2147483647 w 50"/>
                <a:gd name="T35" fmla="*/ 2147483647 h 230"/>
                <a:gd name="T36" fmla="*/ 2147483647 w 50"/>
                <a:gd name="T37" fmla="*/ 2147483647 h 230"/>
                <a:gd name="T38" fmla="*/ 2147483647 w 50"/>
                <a:gd name="T39" fmla="*/ 2147483647 h 230"/>
                <a:gd name="T40" fmla="*/ 2147483647 w 50"/>
                <a:gd name="T41" fmla="*/ 2147483647 h 230"/>
                <a:gd name="T42" fmla="*/ 2147483647 w 50"/>
                <a:gd name="T43" fmla="*/ 2147483647 h 230"/>
                <a:gd name="T44" fmla="*/ 2147483647 w 50"/>
                <a:gd name="T45" fmla="*/ 2147483647 h 230"/>
                <a:gd name="T46" fmla="*/ 2147483647 w 50"/>
                <a:gd name="T47" fmla="*/ 2147483647 h 230"/>
                <a:gd name="T48" fmla="*/ 2147483647 w 50"/>
                <a:gd name="T49" fmla="*/ 2147483647 h 230"/>
                <a:gd name="T50" fmla="*/ 2147483647 w 50"/>
                <a:gd name="T51" fmla="*/ 2147483647 h 230"/>
                <a:gd name="T52" fmla="*/ 2147483647 w 50"/>
                <a:gd name="T53" fmla="*/ 2147483647 h 230"/>
                <a:gd name="T54" fmla="*/ 2147483647 w 50"/>
                <a:gd name="T55" fmla="*/ 2147483647 h 230"/>
                <a:gd name="T56" fmla="*/ 2147483647 w 50"/>
                <a:gd name="T57" fmla="*/ 2147483647 h 230"/>
                <a:gd name="T58" fmla="*/ 2147483647 w 50"/>
                <a:gd name="T59" fmla="*/ 2147483647 h 230"/>
                <a:gd name="T60" fmla="*/ 2147483647 w 50"/>
                <a:gd name="T61" fmla="*/ 2147483647 h 230"/>
                <a:gd name="T62" fmla="*/ 2147483647 w 50"/>
                <a:gd name="T63" fmla="*/ 2147483647 h 230"/>
                <a:gd name="T64" fmla="*/ 2147483647 w 50"/>
                <a:gd name="T65" fmla="*/ 2147483647 h 230"/>
                <a:gd name="T66" fmla="*/ 2147483647 w 50"/>
                <a:gd name="T67" fmla="*/ 2147483647 h 230"/>
                <a:gd name="T68" fmla="*/ 2147483647 w 50"/>
                <a:gd name="T69" fmla="*/ 2147483647 h 230"/>
                <a:gd name="T70" fmla="*/ 2147483647 w 50"/>
                <a:gd name="T71" fmla="*/ 2147483647 h 230"/>
                <a:gd name="T72" fmla="*/ 2147483647 w 50"/>
                <a:gd name="T73" fmla="*/ 2147483647 h 230"/>
                <a:gd name="T74" fmla="*/ 2147483647 w 50"/>
                <a:gd name="T75" fmla="*/ 2147483647 h 230"/>
                <a:gd name="T76" fmla="*/ 2147483647 w 50"/>
                <a:gd name="T77" fmla="*/ 2147483647 h 230"/>
                <a:gd name="T78" fmla="*/ 2147483647 w 50"/>
                <a:gd name="T79" fmla="*/ 2147483647 h 230"/>
                <a:gd name="T80" fmla="*/ 2147483647 w 50"/>
                <a:gd name="T81" fmla="*/ 2147483647 h 230"/>
                <a:gd name="T82" fmla="*/ 2147483647 w 50"/>
                <a:gd name="T83" fmla="*/ 2147483647 h 230"/>
                <a:gd name="T84" fmla="*/ 2147483647 w 50"/>
                <a:gd name="T85" fmla="*/ 2147483647 h 230"/>
                <a:gd name="T86" fmla="*/ 2147483647 w 50"/>
                <a:gd name="T87" fmla="*/ 2147483647 h 230"/>
                <a:gd name="T88" fmla="*/ 2147483647 w 50"/>
                <a:gd name="T89" fmla="*/ 2147483647 h 230"/>
                <a:gd name="T90" fmla="*/ 2147483647 w 50"/>
                <a:gd name="T91" fmla="*/ 2147483647 h 230"/>
                <a:gd name="T92" fmla="*/ 2147483647 w 50"/>
                <a:gd name="T93" fmla="*/ 2147483647 h 230"/>
                <a:gd name="T94" fmla="*/ 2147483647 w 50"/>
                <a:gd name="T95" fmla="*/ 2147483647 h 230"/>
                <a:gd name="T96" fmla="*/ 2147483647 w 50"/>
                <a:gd name="T97" fmla="*/ 2147483647 h 230"/>
                <a:gd name="T98" fmla="*/ 2147483647 w 50"/>
                <a:gd name="T99" fmla="*/ 2147483647 h 230"/>
                <a:gd name="T100" fmla="*/ 2147483647 w 50"/>
                <a:gd name="T101" fmla="*/ 2147483647 h 230"/>
                <a:gd name="T102" fmla="*/ 0 w 50"/>
                <a:gd name="T103" fmla="*/ 2147483647 h 230"/>
                <a:gd name="T104" fmla="*/ 2147483647 w 50"/>
                <a:gd name="T105" fmla="*/ 2147483647 h 230"/>
                <a:gd name="T106" fmla="*/ 2147483647 w 50"/>
                <a:gd name="T107" fmla="*/ 2147483647 h 230"/>
                <a:gd name="T108" fmla="*/ 2147483647 w 50"/>
                <a:gd name="T109" fmla="*/ 2147483647 h 230"/>
                <a:gd name="T110" fmla="*/ 2147483647 w 50"/>
                <a:gd name="T111" fmla="*/ 2147483647 h 230"/>
                <a:gd name="T112" fmla="*/ 2147483647 w 50"/>
                <a:gd name="T113" fmla="*/ 2147483647 h 230"/>
                <a:gd name="T114" fmla="*/ 2147483647 w 50"/>
                <a:gd name="T115" fmla="*/ 2147483647 h 230"/>
                <a:gd name="T116" fmla="*/ 2147483647 w 50"/>
                <a:gd name="T117" fmla="*/ 2147483647 h 230"/>
                <a:gd name="T118" fmla="*/ 2147483647 w 50"/>
                <a:gd name="T119" fmla="*/ 2147483647 h 230"/>
                <a:gd name="T120" fmla="*/ 2147483647 w 50"/>
                <a:gd name="T121" fmla="*/ 2147483647 h 230"/>
                <a:gd name="T122" fmla="*/ 2147483647 w 50"/>
                <a:gd name="T123" fmla="*/ 2147483647 h 2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0"/>
                <a:gd name="T187" fmla="*/ 0 h 230"/>
                <a:gd name="T188" fmla="*/ 50 w 50"/>
                <a:gd name="T189" fmla="*/ 230 h 2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0" h="230">
                  <a:moveTo>
                    <a:pt x="8" y="34"/>
                  </a:moveTo>
                  <a:lnTo>
                    <a:pt x="6" y="34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2" y="16"/>
                  </a:lnTo>
                  <a:lnTo>
                    <a:pt x="0" y="0"/>
                  </a:lnTo>
                  <a:lnTo>
                    <a:pt x="4" y="0"/>
                  </a:lnTo>
                  <a:lnTo>
                    <a:pt x="14" y="8"/>
                  </a:lnTo>
                  <a:lnTo>
                    <a:pt x="20" y="16"/>
                  </a:lnTo>
                  <a:lnTo>
                    <a:pt x="30" y="38"/>
                  </a:lnTo>
                  <a:lnTo>
                    <a:pt x="30" y="60"/>
                  </a:lnTo>
                  <a:lnTo>
                    <a:pt x="32" y="70"/>
                  </a:lnTo>
                  <a:lnTo>
                    <a:pt x="32" y="80"/>
                  </a:lnTo>
                  <a:lnTo>
                    <a:pt x="34" y="86"/>
                  </a:lnTo>
                  <a:lnTo>
                    <a:pt x="38" y="92"/>
                  </a:lnTo>
                  <a:lnTo>
                    <a:pt x="44" y="98"/>
                  </a:lnTo>
                  <a:lnTo>
                    <a:pt x="46" y="104"/>
                  </a:lnTo>
                  <a:lnTo>
                    <a:pt x="44" y="112"/>
                  </a:lnTo>
                  <a:lnTo>
                    <a:pt x="40" y="118"/>
                  </a:lnTo>
                  <a:lnTo>
                    <a:pt x="34" y="130"/>
                  </a:lnTo>
                  <a:lnTo>
                    <a:pt x="32" y="136"/>
                  </a:lnTo>
                  <a:lnTo>
                    <a:pt x="32" y="144"/>
                  </a:lnTo>
                  <a:lnTo>
                    <a:pt x="34" y="158"/>
                  </a:lnTo>
                  <a:lnTo>
                    <a:pt x="34" y="184"/>
                  </a:lnTo>
                  <a:lnTo>
                    <a:pt x="36" y="190"/>
                  </a:lnTo>
                  <a:lnTo>
                    <a:pt x="36" y="196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0" y="214"/>
                  </a:lnTo>
                  <a:lnTo>
                    <a:pt x="50" y="220"/>
                  </a:lnTo>
                  <a:lnTo>
                    <a:pt x="48" y="226"/>
                  </a:lnTo>
                  <a:lnTo>
                    <a:pt x="48" y="228"/>
                  </a:lnTo>
                  <a:lnTo>
                    <a:pt x="50" y="230"/>
                  </a:lnTo>
                  <a:lnTo>
                    <a:pt x="36" y="222"/>
                  </a:lnTo>
                  <a:lnTo>
                    <a:pt x="32" y="226"/>
                  </a:lnTo>
                  <a:lnTo>
                    <a:pt x="32" y="230"/>
                  </a:lnTo>
                  <a:lnTo>
                    <a:pt x="28" y="230"/>
                  </a:lnTo>
                  <a:lnTo>
                    <a:pt x="24" y="226"/>
                  </a:lnTo>
                  <a:lnTo>
                    <a:pt x="22" y="222"/>
                  </a:lnTo>
                  <a:lnTo>
                    <a:pt x="20" y="218"/>
                  </a:lnTo>
                  <a:lnTo>
                    <a:pt x="22" y="212"/>
                  </a:lnTo>
                  <a:lnTo>
                    <a:pt x="24" y="206"/>
                  </a:lnTo>
                  <a:lnTo>
                    <a:pt x="22" y="204"/>
                  </a:lnTo>
                  <a:lnTo>
                    <a:pt x="22" y="200"/>
                  </a:lnTo>
                  <a:lnTo>
                    <a:pt x="18" y="196"/>
                  </a:lnTo>
                  <a:lnTo>
                    <a:pt x="14" y="188"/>
                  </a:lnTo>
                  <a:lnTo>
                    <a:pt x="12" y="178"/>
                  </a:lnTo>
                  <a:lnTo>
                    <a:pt x="10" y="158"/>
                  </a:lnTo>
                  <a:lnTo>
                    <a:pt x="10" y="150"/>
                  </a:lnTo>
                  <a:lnTo>
                    <a:pt x="6" y="146"/>
                  </a:lnTo>
                  <a:lnTo>
                    <a:pt x="2" y="142"/>
                  </a:lnTo>
                  <a:lnTo>
                    <a:pt x="0" y="136"/>
                  </a:lnTo>
                  <a:lnTo>
                    <a:pt x="4" y="134"/>
                  </a:lnTo>
                  <a:lnTo>
                    <a:pt x="6" y="130"/>
                  </a:lnTo>
                  <a:lnTo>
                    <a:pt x="10" y="118"/>
                  </a:lnTo>
                  <a:lnTo>
                    <a:pt x="16" y="96"/>
                  </a:lnTo>
                  <a:lnTo>
                    <a:pt x="16" y="44"/>
                  </a:lnTo>
                  <a:lnTo>
                    <a:pt x="14" y="42"/>
                  </a:lnTo>
                  <a:lnTo>
                    <a:pt x="12" y="38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8" y="34"/>
                  </a:lnTo>
                  <a:close/>
                </a:path>
              </a:pathLst>
            </a:custGeom>
            <a:solidFill>
              <a:srgbClr val="333399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700"/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gray">
            <a:xfrm>
              <a:off x="5372100" y="3529807"/>
              <a:ext cx="211138" cy="214313"/>
            </a:xfrm>
            <a:custGeom>
              <a:avLst/>
              <a:gdLst>
                <a:gd name="T0" fmla="*/ 2147483647 w 146"/>
                <a:gd name="T1" fmla="*/ 2147483647 h 148"/>
                <a:gd name="T2" fmla="*/ 2147483647 w 146"/>
                <a:gd name="T3" fmla="*/ 2147483647 h 148"/>
                <a:gd name="T4" fmla="*/ 2147483647 w 146"/>
                <a:gd name="T5" fmla="*/ 2147483647 h 148"/>
                <a:gd name="T6" fmla="*/ 2147483647 w 146"/>
                <a:gd name="T7" fmla="*/ 2147483647 h 148"/>
                <a:gd name="T8" fmla="*/ 2147483647 w 146"/>
                <a:gd name="T9" fmla="*/ 2147483647 h 148"/>
                <a:gd name="T10" fmla="*/ 2147483647 w 146"/>
                <a:gd name="T11" fmla="*/ 2147483647 h 148"/>
                <a:gd name="T12" fmla="*/ 2147483647 w 146"/>
                <a:gd name="T13" fmla="*/ 2147483647 h 148"/>
                <a:gd name="T14" fmla="*/ 2147483647 w 146"/>
                <a:gd name="T15" fmla="*/ 2147483647 h 148"/>
                <a:gd name="T16" fmla="*/ 2147483647 w 146"/>
                <a:gd name="T17" fmla="*/ 2147483647 h 148"/>
                <a:gd name="T18" fmla="*/ 2147483647 w 146"/>
                <a:gd name="T19" fmla="*/ 2147483647 h 148"/>
                <a:gd name="T20" fmla="*/ 2147483647 w 146"/>
                <a:gd name="T21" fmla="*/ 0 h 148"/>
                <a:gd name="T22" fmla="*/ 2147483647 w 146"/>
                <a:gd name="T23" fmla="*/ 2147483647 h 148"/>
                <a:gd name="T24" fmla="*/ 2147483647 w 146"/>
                <a:gd name="T25" fmla="*/ 2147483647 h 148"/>
                <a:gd name="T26" fmla="*/ 2147483647 w 146"/>
                <a:gd name="T27" fmla="*/ 2147483647 h 148"/>
                <a:gd name="T28" fmla="*/ 2147483647 w 146"/>
                <a:gd name="T29" fmla="*/ 2147483647 h 148"/>
                <a:gd name="T30" fmla="*/ 2147483647 w 146"/>
                <a:gd name="T31" fmla="*/ 2147483647 h 148"/>
                <a:gd name="T32" fmla="*/ 2147483647 w 146"/>
                <a:gd name="T33" fmla="*/ 2147483647 h 148"/>
                <a:gd name="T34" fmla="*/ 2147483647 w 146"/>
                <a:gd name="T35" fmla="*/ 2147483647 h 148"/>
                <a:gd name="T36" fmla="*/ 2147483647 w 146"/>
                <a:gd name="T37" fmla="*/ 2147483647 h 148"/>
                <a:gd name="T38" fmla="*/ 2147483647 w 146"/>
                <a:gd name="T39" fmla="*/ 2147483647 h 148"/>
                <a:gd name="T40" fmla="*/ 2147483647 w 146"/>
                <a:gd name="T41" fmla="*/ 2147483647 h 148"/>
                <a:gd name="T42" fmla="*/ 2147483647 w 146"/>
                <a:gd name="T43" fmla="*/ 2147483647 h 148"/>
                <a:gd name="T44" fmla="*/ 2147483647 w 146"/>
                <a:gd name="T45" fmla="*/ 2147483647 h 148"/>
                <a:gd name="T46" fmla="*/ 2147483647 w 146"/>
                <a:gd name="T47" fmla="*/ 2147483647 h 148"/>
                <a:gd name="T48" fmla="*/ 2147483647 w 146"/>
                <a:gd name="T49" fmla="*/ 2147483647 h 148"/>
                <a:gd name="T50" fmla="*/ 2147483647 w 146"/>
                <a:gd name="T51" fmla="*/ 2147483647 h 148"/>
                <a:gd name="T52" fmla="*/ 2147483647 w 146"/>
                <a:gd name="T53" fmla="*/ 2147483647 h 148"/>
                <a:gd name="T54" fmla="*/ 0 w 146"/>
                <a:gd name="T55" fmla="*/ 2147483647 h 148"/>
                <a:gd name="T56" fmla="*/ 2147483647 w 146"/>
                <a:gd name="T57" fmla="*/ 2147483647 h 148"/>
                <a:gd name="T58" fmla="*/ 2147483647 w 146"/>
                <a:gd name="T59" fmla="*/ 2147483647 h 148"/>
                <a:gd name="T60" fmla="*/ 2147483647 w 146"/>
                <a:gd name="T61" fmla="*/ 2147483647 h 148"/>
                <a:gd name="T62" fmla="*/ 2147483647 w 146"/>
                <a:gd name="T63" fmla="*/ 2147483647 h 148"/>
                <a:gd name="T64" fmla="*/ 2147483647 w 146"/>
                <a:gd name="T65" fmla="*/ 2147483647 h 148"/>
                <a:gd name="T66" fmla="*/ 2147483647 w 146"/>
                <a:gd name="T67" fmla="*/ 2147483647 h 148"/>
                <a:gd name="T68" fmla="*/ 2147483647 w 146"/>
                <a:gd name="T69" fmla="*/ 2147483647 h 148"/>
                <a:gd name="T70" fmla="*/ 2147483647 w 146"/>
                <a:gd name="T71" fmla="*/ 2147483647 h 148"/>
                <a:gd name="T72" fmla="*/ 2147483647 w 146"/>
                <a:gd name="T73" fmla="*/ 2147483647 h 148"/>
                <a:gd name="T74" fmla="*/ 2147483647 w 146"/>
                <a:gd name="T75" fmla="*/ 2147483647 h 148"/>
                <a:gd name="T76" fmla="*/ 2147483647 w 146"/>
                <a:gd name="T77" fmla="*/ 2147483647 h 148"/>
                <a:gd name="T78" fmla="*/ 2147483647 w 146"/>
                <a:gd name="T79" fmla="*/ 2147483647 h 148"/>
                <a:gd name="T80" fmla="*/ 2147483647 w 146"/>
                <a:gd name="T81" fmla="*/ 2147483647 h 148"/>
                <a:gd name="T82" fmla="*/ 2147483647 w 146"/>
                <a:gd name="T83" fmla="*/ 2147483647 h 148"/>
                <a:gd name="T84" fmla="*/ 2147483647 w 146"/>
                <a:gd name="T85" fmla="*/ 2147483647 h 148"/>
                <a:gd name="T86" fmla="*/ 2147483647 w 146"/>
                <a:gd name="T87" fmla="*/ 2147483647 h 148"/>
                <a:gd name="T88" fmla="*/ 2147483647 w 146"/>
                <a:gd name="T89" fmla="*/ 2147483647 h 148"/>
                <a:gd name="T90" fmla="*/ 2147483647 w 146"/>
                <a:gd name="T91" fmla="*/ 2147483647 h 14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6"/>
                <a:gd name="T139" fmla="*/ 0 h 148"/>
                <a:gd name="T140" fmla="*/ 146 w 146"/>
                <a:gd name="T141" fmla="*/ 148 h 14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6" h="148">
                  <a:moveTo>
                    <a:pt x="112" y="66"/>
                  </a:moveTo>
                  <a:lnTo>
                    <a:pt x="110" y="66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4" y="52"/>
                  </a:lnTo>
                  <a:lnTo>
                    <a:pt x="116" y="44"/>
                  </a:lnTo>
                  <a:lnTo>
                    <a:pt x="118" y="40"/>
                  </a:lnTo>
                  <a:lnTo>
                    <a:pt x="122" y="38"/>
                  </a:lnTo>
                  <a:lnTo>
                    <a:pt x="128" y="36"/>
                  </a:lnTo>
                  <a:lnTo>
                    <a:pt x="136" y="36"/>
                  </a:lnTo>
                  <a:lnTo>
                    <a:pt x="140" y="34"/>
                  </a:lnTo>
                  <a:lnTo>
                    <a:pt x="146" y="30"/>
                  </a:lnTo>
                  <a:lnTo>
                    <a:pt x="144" y="26"/>
                  </a:lnTo>
                  <a:lnTo>
                    <a:pt x="140" y="26"/>
                  </a:lnTo>
                  <a:lnTo>
                    <a:pt x="132" y="26"/>
                  </a:lnTo>
                  <a:lnTo>
                    <a:pt x="122" y="26"/>
                  </a:lnTo>
                  <a:lnTo>
                    <a:pt x="110" y="24"/>
                  </a:lnTo>
                  <a:lnTo>
                    <a:pt x="106" y="20"/>
                  </a:lnTo>
                  <a:lnTo>
                    <a:pt x="100" y="14"/>
                  </a:lnTo>
                  <a:lnTo>
                    <a:pt x="96" y="8"/>
                  </a:lnTo>
                  <a:lnTo>
                    <a:pt x="96" y="0"/>
                  </a:lnTo>
                  <a:lnTo>
                    <a:pt x="88" y="0"/>
                  </a:lnTo>
                  <a:lnTo>
                    <a:pt x="86" y="2"/>
                  </a:lnTo>
                  <a:lnTo>
                    <a:pt x="84" y="6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8"/>
                  </a:lnTo>
                  <a:lnTo>
                    <a:pt x="66" y="12"/>
                  </a:lnTo>
                  <a:lnTo>
                    <a:pt x="64" y="14"/>
                  </a:lnTo>
                  <a:lnTo>
                    <a:pt x="60" y="16"/>
                  </a:lnTo>
                  <a:lnTo>
                    <a:pt x="56" y="14"/>
                  </a:lnTo>
                  <a:lnTo>
                    <a:pt x="54" y="12"/>
                  </a:lnTo>
                  <a:lnTo>
                    <a:pt x="50" y="14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2" y="20"/>
                  </a:lnTo>
                  <a:lnTo>
                    <a:pt x="38" y="20"/>
                  </a:lnTo>
                  <a:lnTo>
                    <a:pt x="26" y="24"/>
                  </a:lnTo>
                  <a:lnTo>
                    <a:pt x="18" y="28"/>
                  </a:lnTo>
                  <a:lnTo>
                    <a:pt x="14" y="3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6"/>
                  </a:lnTo>
                  <a:lnTo>
                    <a:pt x="4" y="50"/>
                  </a:lnTo>
                  <a:lnTo>
                    <a:pt x="2" y="54"/>
                  </a:lnTo>
                  <a:lnTo>
                    <a:pt x="2" y="58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8" y="70"/>
                  </a:lnTo>
                  <a:lnTo>
                    <a:pt x="10" y="78"/>
                  </a:lnTo>
                  <a:lnTo>
                    <a:pt x="8" y="86"/>
                  </a:lnTo>
                  <a:lnTo>
                    <a:pt x="6" y="94"/>
                  </a:lnTo>
                  <a:lnTo>
                    <a:pt x="2" y="102"/>
                  </a:lnTo>
                  <a:lnTo>
                    <a:pt x="0" y="112"/>
                  </a:lnTo>
                  <a:lnTo>
                    <a:pt x="0" y="120"/>
                  </a:lnTo>
                  <a:lnTo>
                    <a:pt x="2" y="128"/>
                  </a:lnTo>
                  <a:lnTo>
                    <a:pt x="6" y="128"/>
                  </a:lnTo>
                  <a:lnTo>
                    <a:pt x="8" y="130"/>
                  </a:lnTo>
                  <a:lnTo>
                    <a:pt x="10" y="132"/>
                  </a:lnTo>
                  <a:lnTo>
                    <a:pt x="8" y="136"/>
                  </a:lnTo>
                  <a:lnTo>
                    <a:pt x="8" y="138"/>
                  </a:lnTo>
                  <a:lnTo>
                    <a:pt x="6" y="140"/>
                  </a:lnTo>
                  <a:lnTo>
                    <a:pt x="6" y="144"/>
                  </a:lnTo>
                  <a:lnTo>
                    <a:pt x="8" y="148"/>
                  </a:lnTo>
                  <a:lnTo>
                    <a:pt x="16" y="138"/>
                  </a:lnTo>
                  <a:lnTo>
                    <a:pt x="22" y="134"/>
                  </a:lnTo>
                  <a:lnTo>
                    <a:pt x="28" y="132"/>
                  </a:lnTo>
                  <a:lnTo>
                    <a:pt x="34" y="134"/>
                  </a:lnTo>
                  <a:lnTo>
                    <a:pt x="40" y="136"/>
                  </a:lnTo>
                  <a:lnTo>
                    <a:pt x="46" y="140"/>
                  </a:lnTo>
                  <a:lnTo>
                    <a:pt x="52" y="142"/>
                  </a:lnTo>
                  <a:lnTo>
                    <a:pt x="54" y="142"/>
                  </a:lnTo>
                  <a:lnTo>
                    <a:pt x="56" y="138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70" y="136"/>
                  </a:lnTo>
                  <a:lnTo>
                    <a:pt x="74" y="138"/>
                  </a:lnTo>
                  <a:lnTo>
                    <a:pt x="78" y="142"/>
                  </a:lnTo>
                  <a:lnTo>
                    <a:pt x="82" y="144"/>
                  </a:lnTo>
                  <a:lnTo>
                    <a:pt x="84" y="140"/>
                  </a:lnTo>
                  <a:lnTo>
                    <a:pt x="90" y="134"/>
                  </a:lnTo>
                  <a:lnTo>
                    <a:pt x="94" y="128"/>
                  </a:lnTo>
                  <a:lnTo>
                    <a:pt x="96" y="122"/>
                  </a:lnTo>
                  <a:lnTo>
                    <a:pt x="68" y="122"/>
                  </a:lnTo>
                  <a:lnTo>
                    <a:pt x="72" y="116"/>
                  </a:lnTo>
                  <a:lnTo>
                    <a:pt x="76" y="114"/>
                  </a:lnTo>
                  <a:lnTo>
                    <a:pt x="82" y="110"/>
                  </a:lnTo>
                  <a:lnTo>
                    <a:pt x="88" y="104"/>
                  </a:lnTo>
                  <a:lnTo>
                    <a:pt x="110" y="64"/>
                  </a:lnTo>
                  <a:lnTo>
                    <a:pt x="112" y="66"/>
                  </a:lnTo>
                  <a:close/>
                </a:path>
              </a:pathLst>
            </a:custGeom>
            <a:solidFill>
              <a:srgbClr val="333399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700"/>
            </a:p>
          </p:txBody>
        </p:sp>
        <p:sp>
          <p:nvSpPr>
            <p:cNvPr id="21" name="Freeform 12"/>
            <p:cNvSpPr>
              <a:spLocks/>
            </p:cNvSpPr>
            <p:nvPr/>
          </p:nvSpPr>
          <p:spPr bwMode="gray">
            <a:xfrm>
              <a:off x="5168900" y="3639345"/>
              <a:ext cx="141288" cy="122237"/>
            </a:xfrm>
            <a:custGeom>
              <a:avLst/>
              <a:gdLst>
                <a:gd name="T0" fmla="*/ 2147483647 w 98"/>
                <a:gd name="T1" fmla="*/ 2147483647 h 84"/>
                <a:gd name="T2" fmla="*/ 2147483647 w 98"/>
                <a:gd name="T3" fmla="*/ 2147483647 h 84"/>
                <a:gd name="T4" fmla="*/ 2147483647 w 98"/>
                <a:gd name="T5" fmla="*/ 2147483647 h 84"/>
                <a:gd name="T6" fmla="*/ 2147483647 w 98"/>
                <a:gd name="T7" fmla="*/ 2147483647 h 84"/>
                <a:gd name="T8" fmla="*/ 2147483647 w 98"/>
                <a:gd name="T9" fmla="*/ 2147483647 h 84"/>
                <a:gd name="T10" fmla="*/ 2147483647 w 98"/>
                <a:gd name="T11" fmla="*/ 2147483647 h 84"/>
                <a:gd name="T12" fmla="*/ 2147483647 w 98"/>
                <a:gd name="T13" fmla="*/ 2147483647 h 84"/>
                <a:gd name="T14" fmla="*/ 2147483647 w 98"/>
                <a:gd name="T15" fmla="*/ 2147483647 h 84"/>
                <a:gd name="T16" fmla="*/ 2147483647 w 98"/>
                <a:gd name="T17" fmla="*/ 2147483647 h 84"/>
                <a:gd name="T18" fmla="*/ 2147483647 w 98"/>
                <a:gd name="T19" fmla="*/ 2147483647 h 84"/>
                <a:gd name="T20" fmla="*/ 2147483647 w 98"/>
                <a:gd name="T21" fmla="*/ 2147483647 h 84"/>
                <a:gd name="T22" fmla="*/ 2147483647 w 98"/>
                <a:gd name="T23" fmla="*/ 2147483647 h 84"/>
                <a:gd name="T24" fmla="*/ 2147483647 w 98"/>
                <a:gd name="T25" fmla="*/ 2147483647 h 84"/>
                <a:gd name="T26" fmla="*/ 2147483647 w 98"/>
                <a:gd name="T27" fmla="*/ 0 h 84"/>
                <a:gd name="T28" fmla="*/ 2147483647 w 98"/>
                <a:gd name="T29" fmla="*/ 2147483647 h 84"/>
                <a:gd name="T30" fmla="*/ 2147483647 w 98"/>
                <a:gd name="T31" fmla="*/ 2147483647 h 84"/>
                <a:gd name="T32" fmla="*/ 2147483647 w 98"/>
                <a:gd name="T33" fmla="*/ 2147483647 h 84"/>
                <a:gd name="T34" fmla="*/ 2147483647 w 98"/>
                <a:gd name="T35" fmla="*/ 2147483647 h 84"/>
                <a:gd name="T36" fmla="*/ 2147483647 w 98"/>
                <a:gd name="T37" fmla="*/ 2147483647 h 84"/>
                <a:gd name="T38" fmla="*/ 2147483647 w 98"/>
                <a:gd name="T39" fmla="*/ 2147483647 h 84"/>
                <a:gd name="T40" fmla="*/ 2147483647 w 98"/>
                <a:gd name="T41" fmla="*/ 2147483647 h 84"/>
                <a:gd name="T42" fmla="*/ 2147483647 w 98"/>
                <a:gd name="T43" fmla="*/ 2147483647 h 84"/>
                <a:gd name="T44" fmla="*/ 2147483647 w 98"/>
                <a:gd name="T45" fmla="*/ 2147483647 h 84"/>
                <a:gd name="T46" fmla="*/ 2147483647 w 98"/>
                <a:gd name="T47" fmla="*/ 2147483647 h 84"/>
                <a:gd name="T48" fmla="*/ 2147483647 w 98"/>
                <a:gd name="T49" fmla="*/ 2147483647 h 84"/>
                <a:gd name="T50" fmla="*/ 2147483647 w 98"/>
                <a:gd name="T51" fmla="*/ 2147483647 h 84"/>
                <a:gd name="T52" fmla="*/ 2147483647 w 98"/>
                <a:gd name="T53" fmla="*/ 2147483647 h 84"/>
                <a:gd name="T54" fmla="*/ 2147483647 w 98"/>
                <a:gd name="T55" fmla="*/ 2147483647 h 84"/>
                <a:gd name="T56" fmla="*/ 2147483647 w 98"/>
                <a:gd name="T57" fmla="*/ 2147483647 h 84"/>
                <a:gd name="T58" fmla="*/ 2147483647 w 98"/>
                <a:gd name="T59" fmla="*/ 2147483647 h 84"/>
                <a:gd name="T60" fmla="*/ 0 w 98"/>
                <a:gd name="T61" fmla="*/ 2147483647 h 84"/>
                <a:gd name="T62" fmla="*/ 0 w 98"/>
                <a:gd name="T63" fmla="*/ 2147483647 h 84"/>
                <a:gd name="T64" fmla="*/ 2147483647 w 98"/>
                <a:gd name="T65" fmla="*/ 2147483647 h 84"/>
                <a:gd name="T66" fmla="*/ 2147483647 w 98"/>
                <a:gd name="T67" fmla="*/ 2147483647 h 84"/>
                <a:gd name="T68" fmla="*/ 2147483647 w 98"/>
                <a:gd name="T69" fmla="*/ 2147483647 h 84"/>
                <a:gd name="T70" fmla="*/ 2147483647 w 98"/>
                <a:gd name="T71" fmla="*/ 2147483647 h 84"/>
                <a:gd name="T72" fmla="*/ 2147483647 w 98"/>
                <a:gd name="T73" fmla="*/ 2147483647 h 84"/>
                <a:gd name="T74" fmla="*/ 2147483647 w 98"/>
                <a:gd name="T75" fmla="*/ 2147483647 h 84"/>
                <a:gd name="T76" fmla="*/ 2147483647 w 98"/>
                <a:gd name="T77" fmla="*/ 2147483647 h 84"/>
                <a:gd name="T78" fmla="*/ 2147483647 w 98"/>
                <a:gd name="T79" fmla="*/ 2147483647 h 84"/>
                <a:gd name="T80" fmla="*/ 2147483647 w 98"/>
                <a:gd name="T81" fmla="*/ 2147483647 h 84"/>
                <a:gd name="T82" fmla="*/ 2147483647 w 98"/>
                <a:gd name="T83" fmla="*/ 2147483647 h 84"/>
                <a:gd name="T84" fmla="*/ 2147483647 w 98"/>
                <a:gd name="T85" fmla="*/ 2147483647 h 84"/>
                <a:gd name="T86" fmla="*/ 2147483647 w 98"/>
                <a:gd name="T87" fmla="*/ 2147483647 h 84"/>
                <a:gd name="T88" fmla="*/ 2147483647 w 98"/>
                <a:gd name="T89" fmla="*/ 2147483647 h 84"/>
                <a:gd name="T90" fmla="*/ 2147483647 w 98"/>
                <a:gd name="T91" fmla="*/ 2147483647 h 84"/>
                <a:gd name="T92" fmla="*/ 2147483647 w 98"/>
                <a:gd name="T93" fmla="*/ 2147483647 h 84"/>
                <a:gd name="T94" fmla="*/ 2147483647 w 98"/>
                <a:gd name="T95" fmla="*/ 2147483647 h 84"/>
                <a:gd name="T96" fmla="*/ 2147483647 w 98"/>
                <a:gd name="T97" fmla="*/ 2147483647 h 84"/>
                <a:gd name="T98" fmla="*/ 2147483647 w 98"/>
                <a:gd name="T99" fmla="*/ 2147483647 h 8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8"/>
                <a:gd name="T151" fmla="*/ 0 h 84"/>
                <a:gd name="T152" fmla="*/ 98 w 98"/>
                <a:gd name="T153" fmla="*/ 84 h 8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8" h="84">
                  <a:moveTo>
                    <a:pt x="74" y="62"/>
                  </a:moveTo>
                  <a:lnTo>
                    <a:pt x="88" y="62"/>
                  </a:lnTo>
                  <a:lnTo>
                    <a:pt x="92" y="60"/>
                  </a:lnTo>
                  <a:lnTo>
                    <a:pt x="96" y="56"/>
                  </a:lnTo>
                  <a:lnTo>
                    <a:pt x="98" y="50"/>
                  </a:lnTo>
                  <a:lnTo>
                    <a:pt x="98" y="44"/>
                  </a:lnTo>
                  <a:lnTo>
                    <a:pt x="98" y="40"/>
                  </a:lnTo>
                  <a:lnTo>
                    <a:pt x="96" y="38"/>
                  </a:lnTo>
                  <a:lnTo>
                    <a:pt x="94" y="34"/>
                  </a:lnTo>
                  <a:lnTo>
                    <a:pt x="92" y="30"/>
                  </a:lnTo>
                  <a:lnTo>
                    <a:pt x="90" y="20"/>
                  </a:lnTo>
                  <a:lnTo>
                    <a:pt x="86" y="14"/>
                  </a:lnTo>
                  <a:lnTo>
                    <a:pt x="82" y="8"/>
                  </a:lnTo>
                  <a:lnTo>
                    <a:pt x="76" y="0"/>
                  </a:lnTo>
                  <a:lnTo>
                    <a:pt x="70" y="4"/>
                  </a:lnTo>
                  <a:lnTo>
                    <a:pt x="64" y="8"/>
                  </a:lnTo>
                  <a:lnTo>
                    <a:pt x="58" y="12"/>
                  </a:lnTo>
                  <a:lnTo>
                    <a:pt x="52" y="14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4" y="10"/>
                  </a:lnTo>
                  <a:lnTo>
                    <a:pt x="34" y="14"/>
                  </a:lnTo>
                  <a:lnTo>
                    <a:pt x="24" y="20"/>
                  </a:lnTo>
                  <a:lnTo>
                    <a:pt x="16" y="28"/>
                  </a:lnTo>
                  <a:lnTo>
                    <a:pt x="14" y="32"/>
                  </a:lnTo>
                  <a:lnTo>
                    <a:pt x="14" y="38"/>
                  </a:lnTo>
                  <a:lnTo>
                    <a:pt x="16" y="46"/>
                  </a:lnTo>
                  <a:lnTo>
                    <a:pt x="14" y="48"/>
                  </a:lnTo>
                  <a:lnTo>
                    <a:pt x="12" y="52"/>
                  </a:lnTo>
                  <a:lnTo>
                    <a:pt x="4" y="56"/>
                  </a:lnTo>
                  <a:lnTo>
                    <a:pt x="0" y="60"/>
                  </a:lnTo>
                  <a:lnTo>
                    <a:pt x="0" y="68"/>
                  </a:lnTo>
                  <a:lnTo>
                    <a:pt x="2" y="74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8" y="76"/>
                  </a:lnTo>
                  <a:lnTo>
                    <a:pt x="14" y="74"/>
                  </a:lnTo>
                  <a:lnTo>
                    <a:pt x="20" y="76"/>
                  </a:lnTo>
                  <a:lnTo>
                    <a:pt x="24" y="78"/>
                  </a:lnTo>
                  <a:lnTo>
                    <a:pt x="28" y="82"/>
                  </a:lnTo>
                  <a:lnTo>
                    <a:pt x="34" y="84"/>
                  </a:lnTo>
                  <a:lnTo>
                    <a:pt x="40" y="82"/>
                  </a:lnTo>
                  <a:lnTo>
                    <a:pt x="46" y="80"/>
                  </a:lnTo>
                  <a:lnTo>
                    <a:pt x="50" y="76"/>
                  </a:lnTo>
                  <a:lnTo>
                    <a:pt x="52" y="72"/>
                  </a:lnTo>
                  <a:lnTo>
                    <a:pt x="58" y="62"/>
                  </a:lnTo>
                  <a:lnTo>
                    <a:pt x="64" y="60"/>
                  </a:lnTo>
                  <a:lnTo>
                    <a:pt x="70" y="60"/>
                  </a:lnTo>
                  <a:lnTo>
                    <a:pt x="76" y="60"/>
                  </a:lnTo>
                  <a:lnTo>
                    <a:pt x="74" y="62"/>
                  </a:lnTo>
                  <a:close/>
                </a:path>
              </a:pathLst>
            </a:custGeom>
            <a:noFill/>
            <a:ln w="6350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700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5167313" y="5309395"/>
              <a:ext cx="131762" cy="131762"/>
            </a:xfrm>
            <a:custGeom>
              <a:avLst/>
              <a:gdLst>
                <a:gd name="T0" fmla="*/ 2147483647 w 68"/>
                <a:gd name="T1" fmla="*/ 2147483647 h 78"/>
                <a:gd name="T2" fmla="*/ 2147483647 w 68"/>
                <a:gd name="T3" fmla="*/ 2147483647 h 78"/>
                <a:gd name="T4" fmla="*/ 2147483647 w 68"/>
                <a:gd name="T5" fmla="*/ 2147483647 h 78"/>
                <a:gd name="T6" fmla="*/ 2147483647 w 68"/>
                <a:gd name="T7" fmla="*/ 2147483647 h 78"/>
                <a:gd name="T8" fmla="*/ 2147483647 w 68"/>
                <a:gd name="T9" fmla="*/ 2147483647 h 78"/>
                <a:gd name="T10" fmla="*/ 2147483647 w 68"/>
                <a:gd name="T11" fmla="*/ 2147483647 h 78"/>
                <a:gd name="T12" fmla="*/ 2147483647 w 68"/>
                <a:gd name="T13" fmla="*/ 2147483647 h 78"/>
                <a:gd name="T14" fmla="*/ 2147483647 w 68"/>
                <a:gd name="T15" fmla="*/ 2147483647 h 78"/>
                <a:gd name="T16" fmla="*/ 2147483647 w 68"/>
                <a:gd name="T17" fmla="*/ 2147483647 h 78"/>
                <a:gd name="T18" fmla="*/ 2147483647 w 68"/>
                <a:gd name="T19" fmla="*/ 2147483647 h 78"/>
                <a:gd name="T20" fmla="*/ 2147483647 w 68"/>
                <a:gd name="T21" fmla="*/ 2147483647 h 78"/>
                <a:gd name="T22" fmla="*/ 2147483647 w 68"/>
                <a:gd name="T23" fmla="*/ 2147483647 h 78"/>
                <a:gd name="T24" fmla="*/ 2147483647 w 68"/>
                <a:gd name="T25" fmla="*/ 2147483647 h 78"/>
                <a:gd name="T26" fmla="*/ 2147483647 w 68"/>
                <a:gd name="T27" fmla="*/ 2147483647 h 78"/>
                <a:gd name="T28" fmla="*/ 2147483647 w 68"/>
                <a:gd name="T29" fmla="*/ 2147483647 h 78"/>
                <a:gd name="T30" fmla="*/ 2147483647 w 68"/>
                <a:gd name="T31" fmla="*/ 2147483647 h 78"/>
                <a:gd name="T32" fmla="*/ 2147483647 w 68"/>
                <a:gd name="T33" fmla="*/ 2147483647 h 78"/>
                <a:gd name="T34" fmla="*/ 2147483647 w 68"/>
                <a:gd name="T35" fmla="*/ 2147483647 h 78"/>
                <a:gd name="T36" fmla="*/ 0 w 68"/>
                <a:gd name="T37" fmla="*/ 2147483647 h 78"/>
                <a:gd name="T38" fmla="*/ 2147483647 w 68"/>
                <a:gd name="T39" fmla="*/ 2147483647 h 78"/>
                <a:gd name="T40" fmla="*/ 2147483647 w 68"/>
                <a:gd name="T41" fmla="*/ 2147483647 h 78"/>
                <a:gd name="T42" fmla="*/ 2147483647 w 68"/>
                <a:gd name="T43" fmla="*/ 2147483647 h 78"/>
                <a:gd name="T44" fmla="*/ 2147483647 w 68"/>
                <a:gd name="T45" fmla="*/ 2147483647 h 78"/>
                <a:gd name="T46" fmla="*/ 2147483647 w 68"/>
                <a:gd name="T47" fmla="*/ 2147483647 h 78"/>
                <a:gd name="T48" fmla="*/ 2147483647 w 68"/>
                <a:gd name="T49" fmla="*/ 0 h 78"/>
                <a:gd name="T50" fmla="*/ 2147483647 w 68"/>
                <a:gd name="T51" fmla="*/ 0 h 78"/>
                <a:gd name="T52" fmla="*/ 2147483647 w 68"/>
                <a:gd name="T53" fmla="*/ 0 h 78"/>
                <a:gd name="T54" fmla="*/ 2147483647 w 68"/>
                <a:gd name="T55" fmla="*/ 2147483647 h 78"/>
                <a:gd name="T56" fmla="*/ 2147483647 w 68"/>
                <a:gd name="T57" fmla="*/ 2147483647 h 78"/>
                <a:gd name="T58" fmla="*/ 2147483647 w 68"/>
                <a:gd name="T59" fmla="*/ 2147483647 h 78"/>
                <a:gd name="T60" fmla="*/ 2147483647 w 68"/>
                <a:gd name="T61" fmla="*/ 2147483647 h 78"/>
                <a:gd name="T62" fmla="*/ 2147483647 w 68"/>
                <a:gd name="T63" fmla="*/ 2147483647 h 7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8"/>
                <a:gd name="T97" fmla="*/ 0 h 78"/>
                <a:gd name="T98" fmla="*/ 68 w 68"/>
                <a:gd name="T99" fmla="*/ 78 h 7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8" h="78">
                  <a:moveTo>
                    <a:pt x="60" y="2"/>
                  </a:moveTo>
                  <a:lnTo>
                    <a:pt x="56" y="6"/>
                  </a:lnTo>
                  <a:lnTo>
                    <a:pt x="60" y="14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2" y="34"/>
                  </a:lnTo>
                  <a:lnTo>
                    <a:pt x="64" y="46"/>
                  </a:lnTo>
                  <a:lnTo>
                    <a:pt x="66" y="50"/>
                  </a:lnTo>
                  <a:lnTo>
                    <a:pt x="68" y="54"/>
                  </a:lnTo>
                  <a:lnTo>
                    <a:pt x="58" y="70"/>
                  </a:lnTo>
                  <a:lnTo>
                    <a:pt x="52" y="76"/>
                  </a:lnTo>
                  <a:lnTo>
                    <a:pt x="48" y="78"/>
                  </a:lnTo>
                  <a:lnTo>
                    <a:pt x="42" y="78"/>
                  </a:lnTo>
                  <a:lnTo>
                    <a:pt x="26" y="76"/>
                  </a:lnTo>
                  <a:lnTo>
                    <a:pt x="14" y="72"/>
                  </a:lnTo>
                  <a:lnTo>
                    <a:pt x="8" y="68"/>
                  </a:lnTo>
                  <a:lnTo>
                    <a:pt x="4" y="62"/>
                  </a:lnTo>
                  <a:lnTo>
                    <a:pt x="2" y="56"/>
                  </a:lnTo>
                  <a:lnTo>
                    <a:pt x="0" y="50"/>
                  </a:lnTo>
                  <a:lnTo>
                    <a:pt x="2" y="42"/>
                  </a:lnTo>
                  <a:lnTo>
                    <a:pt x="4" y="34"/>
                  </a:lnTo>
                  <a:lnTo>
                    <a:pt x="12" y="18"/>
                  </a:lnTo>
                  <a:lnTo>
                    <a:pt x="18" y="10"/>
                  </a:lnTo>
                  <a:lnTo>
                    <a:pt x="24" y="4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6" y="4"/>
                  </a:lnTo>
                  <a:lnTo>
                    <a:pt x="50" y="8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60" y="2"/>
                  </a:lnTo>
                  <a:close/>
                </a:path>
              </a:pathLst>
            </a:custGeom>
            <a:noFill/>
            <a:ln w="6350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700"/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gray">
            <a:xfrm>
              <a:off x="5178425" y="3726657"/>
              <a:ext cx="130175" cy="147638"/>
            </a:xfrm>
            <a:custGeom>
              <a:avLst/>
              <a:gdLst>
                <a:gd name="T0" fmla="*/ 2147483647 w 90"/>
                <a:gd name="T1" fmla="*/ 2147483647 h 102"/>
                <a:gd name="T2" fmla="*/ 2147483647 w 90"/>
                <a:gd name="T3" fmla="*/ 2147483647 h 102"/>
                <a:gd name="T4" fmla="*/ 2147483647 w 90"/>
                <a:gd name="T5" fmla="*/ 2147483647 h 102"/>
                <a:gd name="T6" fmla="*/ 2147483647 w 90"/>
                <a:gd name="T7" fmla="*/ 2147483647 h 102"/>
                <a:gd name="T8" fmla="*/ 2147483647 w 90"/>
                <a:gd name="T9" fmla="*/ 2147483647 h 102"/>
                <a:gd name="T10" fmla="*/ 2147483647 w 90"/>
                <a:gd name="T11" fmla="*/ 2147483647 h 102"/>
                <a:gd name="T12" fmla="*/ 2147483647 w 90"/>
                <a:gd name="T13" fmla="*/ 2147483647 h 102"/>
                <a:gd name="T14" fmla="*/ 2147483647 w 90"/>
                <a:gd name="T15" fmla="*/ 2147483647 h 102"/>
                <a:gd name="T16" fmla="*/ 0 w 90"/>
                <a:gd name="T17" fmla="*/ 2147483647 h 102"/>
                <a:gd name="T18" fmla="*/ 0 w 90"/>
                <a:gd name="T19" fmla="*/ 2147483647 h 102"/>
                <a:gd name="T20" fmla="*/ 0 w 90"/>
                <a:gd name="T21" fmla="*/ 2147483647 h 102"/>
                <a:gd name="T22" fmla="*/ 2147483647 w 90"/>
                <a:gd name="T23" fmla="*/ 2147483647 h 102"/>
                <a:gd name="T24" fmla="*/ 2147483647 w 90"/>
                <a:gd name="T25" fmla="*/ 2147483647 h 102"/>
                <a:gd name="T26" fmla="*/ 2147483647 w 90"/>
                <a:gd name="T27" fmla="*/ 2147483647 h 102"/>
                <a:gd name="T28" fmla="*/ 2147483647 w 90"/>
                <a:gd name="T29" fmla="*/ 2147483647 h 102"/>
                <a:gd name="T30" fmla="*/ 2147483647 w 90"/>
                <a:gd name="T31" fmla="*/ 2147483647 h 102"/>
                <a:gd name="T32" fmla="*/ 2147483647 w 90"/>
                <a:gd name="T33" fmla="*/ 2147483647 h 102"/>
                <a:gd name="T34" fmla="*/ 2147483647 w 90"/>
                <a:gd name="T35" fmla="*/ 2147483647 h 102"/>
                <a:gd name="T36" fmla="*/ 2147483647 w 90"/>
                <a:gd name="T37" fmla="*/ 2147483647 h 102"/>
                <a:gd name="T38" fmla="*/ 2147483647 w 90"/>
                <a:gd name="T39" fmla="*/ 2147483647 h 102"/>
                <a:gd name="T40" fmla="*/ 2147483647 w 90"/>
                <a:gd name="T41" fmla="*/ 2147483647 h 102"/>
                <a:gd name="T42" fmla="*/ 2147483647 w 90"/>
                <a:gd name="T43" fmla="*/ 2147483647 h 102"/>
                <a:gd name="T44" fmla="*/ 2147483647 w 90"/>
                <a:gd name="T45" fmla="*/ 0 h 102"/>
                <a:gd name="T46" fmla="*/ 2147483647 w 90"/>
                <a:gd name="T47" fmla="*/ 0 h 102"/>
                <a:gd name="T48" fmla="*/ 2147483647 w 90"/>
                <a:gd name="T49" fmla="*/ 0 h 102"/>
                <a:gd name="T50" fmla="*/ 2147483647 w 90"/>
                <a:gd name="T51" fmla="*/ 2147483647 h 102"/>
                <a:gd name="T52" fmla="*/ 2147483647 w 90"/>
                <a:gd name="T53" fmla="*/ 2147483647 h 102"/>
                <a:gd name="T54" fmla="*/ 2147483647 w 90"/>
                <a:gd name="T55" fmla="*/ 2147483647 h 102"/>
                <a:gd name="T56" fmla="*/ 2147483647 w 90"/>
                <a:gd name="T57" fmla="*/ 2147483647 h 102"/>
                <a:gd name="T58" fmla="*/ 2147483647 w 90"/>
                <a:gd name="T59" fmla="*/ 2147483647 h 102"/>
                <a:gd name="T60" fmla="*/ 2147483647 w 90"/>
                <a:gd name="T61" fmla="*/ 2147483647 h 102"/>
                <a:gd name="T62" fmla="*/ 2147483647 w 90"/>
                <a:gd name="T63" fmla="*/ 2147483647 h 102"/>
                <a:gd name="T64" fmla="*/ 2147483647 w 90"/>
                <a:gd name="T65" fmla="*/ 2147483647 h 102"/>
                <a:gd name="T66" fmla="*/ 2147483647 w 90"/>
                <a:gd name="T67" fmla="*/ 2147483647 h 102"/>
                <a:gd name="T68" fmla="*/ 2147483647 w 90"/>
                <a:gd name="T69" fmla="*/ 2147483647 h 102"/>
                <a:gd name="T70" fmla="*/ 2147483647 w 90"/>
                <a:gd name="T71" fmla="*/ 2147483647 h 102"/>
                <a:gd name="T72" fmla="*/ 2147483647 w 90"/>
                <a:gd name="T73" fmla="*/ 2147483647 h 102"/>
                <a:gd name="T74" fmla="*/ 2147483647 w 90"/>
                <a:gd name="T75" fmla="*/ 2147483647 h 102"/>
                <a:gd name="T76" fmla="*/ 2147483647 w 90"/>
                <a:gd name="T77" fmla="*/ 2147483647 h 102"/>
                <a:gd name="T78" fmla="*/ 2147483647 w 90"/>
                <a:gd name="T79" fmla="*/ 2147483647 h 102"/>
                <a:gd name="T80" fmla="*/ 2147483647 w 90"/>
                <a:gd name="T81" fmla="*/ 2147483647 h 102"/>
                <a:gd name="T82" fmla="*/ 2147483647 w 90"/>
                <a:gd name="T83" fmla="*/ 2147483647 h 102"/>
                <a:gd name="T84" fmla="*/ 2147483647 w 90"/>
                <a:gd name="T85" fmla="*/ 2147483647 h 102"/>
                <a:gd name="T86" fmla="*/ 2147483647 w 90"/>
                <a:gd name="T87" fmla="*/ 2147483647 h 102"/>
                <a:gd name="T88" fmla="*/ 2147483647 w 90"/>
                <a:gd name="T89" fmla="*/ 2147483647 h 102"/>
                <a:gd name="T90" fmla="*/ 2147483647 w 90"/>
                <a:gd name="T91" fmla="*/ 2147483647 h 102"/>
                <a:gd name="T92" fmla="*/ 2147483647 w 90"/>
                <a:gd name="T93" fmla="*/ 2147483647 h 102"/>
                <a:gd name="T94" fmla="*/ 2147483647 w 90"/>
                <a:gd name="T95" fmla="*/ 2147483647 h 102"/>
                <a:gd name="T96" fmla="*/ 2147483647 w 90"/>
                <a:gd name="T97" fmla="*/ 2147483647 h 102"/>
                <a:gd name="T98" fmla="*/ 2147483647 w 90"/>
                <a:gd name="T99" fmla="*/ 2147483647 h 102"/>
                <a:gd name="T100" fmla="*/ 2147483647 w 90"/>
                <a:gd name="T101" fmla="*/ 2147483647 h 102"/>
                <a:gd name="T102" fmla="*/ 2147483647 w 90"/>
                <a:gd name="T103" fmla="*/ 2147483647 h 102"/>
                <a:gd name="T104" fmla="*/ 2147483647 w 90"/>
                <a:gd name="T105" fmla="*/ 2147483647 h 102"/>
                <a:gd name="T106" fmla="*/ 2147483647 w 90"/>
                <a:gd name="T107" fmla="*/ 2147483647 h 102"/>
                <a:gd name="T108" fmla="*/ 2147483647 w 90"/>
                <a:gd name="T109" fmla="*/ 2147483647 h 10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"/>
                <a:gd name="T166" fmla="*/ 0 h 102"/>
                <a:gd name="T167" fmla="*/ 90 w 90"/>
                <a:gd name="T168" fmla="*/ 102 h 10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" h="102">
                  <a:moveTo>
                    <a:pt x="12" y="76"/>
                  </a:moveTo>
                  <a:lnTo>
                    <a:pt x="10" y="70"/>
                  </a:lnTo>
                  <a:lnTo>
                    <a:pt x="10" y="62"/>
                  </a:lnTo>
                  <a:lnTo>
                    <a:pt x="10" y="50"/>
                  </a:lnTo>
                  <a:lnTo>
                    <a:pt x="10" y="44"/>
                  </a:lnTo>
                  <a:lnTo>
                    <a:pt x="10" y="38"/>
                  </a:lnTo>
                  <a:lnTo>
                    <a:pt x="6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8" y="14"/>
                  </a:lnTo>
                  <a:lnTo>
                    <a:pt x="14" y="16"/>
                  </a:lnTo>
                  <a:lnTo>
                    <a:pt x="18" y="18"/>
                  </a:lnTo>
                  <a:lnTo>
                    <a:pt x="22" y="22"/>
                  </a:lnTo>
                  <a:lnTo>
                    <a:pt x="28" y="24"/>
                  </a:lnTo>
                  <a:lnTo>
                    <a:pt x="34" y="22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6" y="12"/>
                  </a:lnTo>
                  <a:lnTo>
                    <a:pt x="52" y="2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70" y="0"/>
                  </a:lnTo>
                  <a:lnTo>
                    <a:pt x="74" y="4"/>
                  </a:lnTo>
                  <a:lnTo>
                    <a:pt x="76" y="10"/>
                  </a:lnTo>
                  <a:lnTo>
                    <a:pt x="76" y="14"/>
                  </a:lnTo>
                  <a:lnTo>
                    <a:pt x="76" y="20"/>
                  </a:lnTo>
                  <a:lnTo>
                    <a:pt x="78" y="26"/>
                  </a:lnTo>
                  <a:lnTo>
                    <a:pt x="82" y="30"/>
                  </a:lnTo>
                  <a:lnTo>
                    <a:pt x="90" y="30"/>
                  </a:lnTo>
                  <a:lnTo>
                    <a:pt x="90" y="34"/>
                  </a:lnTo>
                  <a:lnTo>
                    <a:pt x="86" y="32"/>
                  </a:lnTo>
                  <a:lnTo>
                    <a:pt x="88" y="34"/>
                  </a:lnTo>
                  <a:lnTo>
                    <a:pt x="90" y="38"/>
                  </a:lnTo>
                  <a:lnTo>
                    <a:pt x="88" y="42"/>
                  </a:lnTo>
                  <a:lnTo>
                    <a:pt x="86" y="46"/>
                  </a:lnTo>
                  <a:lnTo>
                    <a:pt x="78" y="54"/>
                  </a:lnTo>
                  <a:lnTo>
                    <a:pt x="68" y="62"/>
                  </a:lnTo>
                  <a:lnTo>
                    <a:pt x="66" y="66"/>
                  </a:lnTo>
                  <a:lnTo>
                    <a:pt x="64" y="72"/>
                  </a:lnTo>
                  <a:lnTo>
                    <a:pt x="60" y="80"/>
                  </a:lnTo>
                  <a:lnTo>
                    <a:pt x="54" y="90"/>
                  </a:lnTo>
                  <a:lnTo>
                    <a:pt x="46" y="9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0" y="102"/>
                  </a:lnTo>
                  <a:lnTo>
                    <a:pt x="24" y="90"/>
                  </a:lnTo>
                  <a:lnTo>
                    <a:pt x="20" y="86"/>
                  </a:lnTo>
                  <a:lnTo>
                    <a:pt x="16" y="82"/>
                  </a:lnTo>
                  <a:lnTo>
                    <a:pt x="14" y="78"/>
                  </a:lnTo>
                  <a:lnTo>
                    <a:pt x="12" y="74"/>
                  </a:lnTo>
                  <a:lnTo>
                    <a:pt x="6" y="74"/>
                  </a:lnTo>
                  <a:lnTo>
                    <a:pt x="12" y="76"/>
                  </a:lnTo>
                  <a:close/>
                </a:path>
              </a:pathLst>
            </a:custGeom>
            <a:noFill/>
            <a:ln w="6350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sz="700"/>
            </a:p>
          </p:txBody>
        </p:sp>
        <p:sp>
          <p:nvSpPr>
            <p:cNvPr id="24" name="Freeform 47"/>
            <p:cNvSpPr>
              <a:spLocks/>
            </p:cNvSpPr>
            <p:nvPr/>
          </p:nvSpPr>
          <p:spPr bwMode="gray">
            <a:xfrm>
              <a:off x="4154488" y="5123657"/>
              <a:ext cx="28575" cy="66675"/>
            </a:xfrm>
            <a:custGeom>
              <a:avLst/>
              <a:gdLst>
                <a:gd name="T0" fmla="*/ 0 w 20"/>
                <a:gd name="T1" fmla="*/ 0 h 46"/>
                <a:gd name="T2" fmla="*/ 2147483647 w 20"/>
                <a:gd name="T3" fmla="*/ 2147483647 h 46"/>
                <a:gd name="T4" fmla="*/ 2147483647 w 20"/>
                <a:gd name="T5" fmla="*/ 2147483647 h 46"/>
                <a:gd name="T6" fmla="*/ 2147483647 w 20"/>
                <a:gd name="T7" fmla="*/ 2147483647 h 46"/>
                <a:gd name="T8" fmla="*/ 2147483647 w 20"/>
                <a:gd name="T9" fmla="*/ 2147483647 h 46"/>
                <a:gd name="T10" fmla="*/ 2147483647 w 20"/>
                <a:gd name="T11" fmla="*/ 2147483647 h 46"/>
                <a:gd name="T12" fmla="*/ 2147483647 w 20"/>
                <a:gd name="T13" fmla="*/ 2147483647 h 46"/>
                <a:gd name="T14" fmla="*/ 2147483647 w 20"/>
                <a:gd name="T15" fmla="*/ 2147483647 h 46"/>
                <a:gd name="T16" fmla="*/ 2147483647 w 20"/>
                <a:gd name="T17" fmla="*/ 2147483647 h 46"/>
                <a:gd name="T18" fmla="*/ 0 w 20"/>
                <a:gd name="T19" fmla="*/ 0 h 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6"/>
                <a:gd name="T32" fmla="*/ 20 w 20"/>
                <a:gd name="T33" fmla="*/ 46 h 4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6">
                  <a:moveTo>
                    <a:pt x="0" y="0"/>
                  </a:moveTo>
                  <a:lnTo>
                    <a:pt x="6" y="4"/>
                  </a:lnTo>
                  <a:lnTo>
                    <a:pt x="12" y="10"/>
                  </a:lnTo>
                  <a:lnTo>
                    <a:pt x="18" y="16"/>
                  </a:lnTo>
                  <a:lnTo>
                    <a:pt x="20" y="24"/>
                  </a:lnTo>
                  <a:lnTo>
                    <a:pt x="20" y="32"/>
                  </a:lnTo>
                  <a:lnTo>
                    <a:pt x="18" y="36"/>
                  </a:lnTo>
                  <a:lnTo>
                    <a:pt x="14" y="40"/>
                  </a:lnTo>
                  <a:lnTo>
                    <a:pt x="2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BE0E3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700"/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2328863" y="1761332"/>
              <a:ext cx="4357687" cy="3679825"/>
              <a:chOff x="2328863" y="1761332"/>
              <a:chExt cx="4357687" cy="3679825"/>
            </a:xfrm>
          </p:grpSpPr>
          <p:sp>
            <p:nvSpPr>
              <p:cNvPr id="181" name="Freeform 13"/>
              <p:cNvSpPr>
                <a:spLocks/>
              </p:cNvSpPr>
              <p:nvPr/>
            </p:nvSpPr>
            <p:spPr bwMode="gray">
              <a:xfrm>
                <a:off x="5167313" y="3601245"/>
                <a:ext cx="788987" cy="788987"/>
              </a:xfrm>
              <a:custGeom>
                <a:avLst/>
                <a:gdLst>
                  <a:gd name="T0" fmla="*/ 2147483647 w 504"/>
                  <a:gd name="T1" fmla="*/ 2147483647 h 516"/>
                  <a:gd name="T2" fmla="*/ 2147483647 w 504"/>
                  <a:gd name="T3" fmla="*/ 2147483647 h 516"/>
                  <a:gd name="T4" fmla="*/ 2147483647 w 504"/>
                  <a:gd name="T5" fmla="*/ 2147483647 h 516"/>
                  <a:gd name="T6" fmla="*/ 2147483647 w 504"/>
                  <a:gd name="T7" fmla="*/ 2147483647 h 516"/>
                  <a:gd name="T8" fmla="*/ 2147483647 w 504"/>
                  <a:gd name="T9" fmla="*/ 2147483647 h 516"/>
                  <a:gd name="T10" fmla="*/ 2147483647 w 504"/>
                  <a:gd name="T11" fmla="*/ 2147483647 h 516"/>
                  <a:gd name="T12" fmla="*/ 2147483647 w 504"/>
                  <a:gd name="T13" fmla="*/ 2147483647 h 516"/>
                  <a:gd name="T14" fmla="*/ 2147483647 w 504"/>
                  <a:gd name="T15" fmla="*/ 2147483647 h 516"/>
                  <a:gd name="T16" fmla="*/ 2147483647 w 504"/>
                  <a:gd name="T17" fmla="*/ 2147483647 h 516"/>
                  <a:gd name="T18" fmla="*/ 2147483647 w 504"/>
                  <a:gd name="T19" fmla="*/ 2147483647 h 516"/>
                  <a:gd name="T20" fmla="*/ 2147483647 w 504"/>
                  <a:gd name="T21" fmla="*/ 2147483647 h 516"/>
                  <a:gd name="T22" fmla="*/ 2147483647 w 504"/>
                  <a:gd name="T23" fmla="*/ 2147483647 h 516"/>
                  <a:gd name="T24" fmla="*/ 2147483647 w 504"/>
                  <a:gd name="T25" fmla="*/ 2147483647 h 516"/>
                  <a:gd name="T26" fmla="*/ 2147483647 w 504"/>
                  <a:gd name="T27" fmla="*/ 2147483647 h 516"/>
                  <a:gd name="T28" fmla="*/ 2147483647 w 504"/>
                  <a:gd name="T29" fmla="*/ 2147483647 h 516"/>
                  <a:gd name="T30" fmla="*/ 2147483647 w 504"/>
                  <a:gd name="T31" fmla="*/ 2147483647 h 516"/>
                  <a:gd name="T32" fmla="*/ 2147483647 w 504"/>
                  <a:gd name="T33" fmla="*/ 2147483647 h 516"/>
                  <a:gd name="T34" fmla="*/ 2147483647 w 504"/>
                  <a:gd name="T35" fmla="*/ 2147483647 h 516"/>
                  <a:gd name="T36" fmla="*/ 2147483647 w 504"/>
                  <a:gd name="T37" fmla="*/ 2147483647 h 516"/>
                  <a:gd name="T38" fmla="*/ 2147483647 w 504"/>
                  <a:gd name="T39" fmla="*/ 2147483647 h 516"/>
                  <a:gd name="T40" fmla="*/ 2147483647 w 504"/>
                  <a:gd name="T41" fmla="*/ 2147483647 h 516"/>
                  <a:gd name="T42" fmla="*/ 2147483647 w 504"/>
                  <a:gd name="T43" fmla="*/ 2147483647 h 516"/>
                  <a:gd name="T44" fmla="*/ 2147483647 w 504"/>
                  <a:gd name="T45" fmla="*/ 2147483647 h 516"/>
                  <a:gd name="T46" fmla="*/ 2147483647 w 504"/>
                  <a:gd name="T47" fmla="*/ 2147483647 h 516"/>
                  <a:gd name="T48" fmla="*/ 2147483647 w 504"/>
                  <a:gd name="T49" fmla="*/ 2147483647 h 516"/>
                  <a:gd name="T50" fmla="*/ 2147483647 w 504"/>
                  <a:gd name="T51" fmla="*/ 2147483647 h 516"/>
                  <a:gd name="T52" fmla="*/ 2147483647 w 504"/>
                  <a:gd name="T53" fmla="*/ 2147483647 h 516"/>
                  <a:gd name="T54" fmla="*/ 2147483647 w 504"/>
                  <a:gd name="T55" fmla="*/ 2147483647 h 516"/>
                  <a:gd name="T56" fmla="*/ 2147483647 w 504"/>
                  <a:gd name="T57" fmla="*/ 2147483647 h 516"/>
                  <a:gd name="T58" fmla="*/ 2147483647 w 504"/>
                  <a:gd name="T59" fmla="*/ 2147483647 h 516"/>
                  <a:gd name="T60" fmla="*/ 2147483647 w 504"/>
                  <a:gd name="T61" fmla="*/ 2147483647 h 516"/>
                  <a:gd name="T62" fmla="*/ 2147483647 w 504"/>
                  <a:gd name="T63" fmla="*/ 2147483647 h 516"/>
                  <a:gd name="T64" fmla="*/ 2147483647 w 504"/>
                  <a:gd name="T65" fmla="*/ 2147483647 h 516"/>
                  <a:gd name="T66" fmla="*/ 2147483647 w 504"/>
                  <a:gd name="T67" fmla="*/ 2147483647 h 516"/>
                  <a:gd name="T68" fmla="*/ 2147483647 w 504"/>
                  <a:gd name="T69" fmla="*/ 2147483647 h 516"/>
                  <a:gd name="T70" fmla="*/ 2147483647 w 504"/>
                  <a:gd name="T71" fmla="*/ 2147483647 h 516"/>
                  <a:gd name="T72" fmla="*/ 2147483647 w 504"/>
                  <a:gd name="T73" fmla="*/ 2147483647 h 516"/>
                  <a:gd name="T74" fmla="*/ 2147483647 w 504"/>
                  <a:gd name="T75" fmla="*/ 2147483647 h 516"/>
                  <a:gd name="T76" fmla="*/ 2147483647 w 504"/>
                  <a:gd name="T77" fmla="*/ 2147483647 h 516"/>
                  <a:gd name="T78" fmla="*/ 2147483647 w 504"/>
                  <a:gd name="T79" fmla="*/ 2147483647 h 516"/>
                  <a:gd name="T80" fmla="*/ 2147483647 w 504"/>
                  <a:gd name="T81" fmla="*/ 2147483647 h 516"/>
                  <a:gd name="T82" fmla="*/ 2147483647 w 504"/>
                  <a:gd name="T83" fmla="*/ 2147483647 h 516"/>
                  <a:gd name="T84" fmla="*/ 2147483647 w 504"/>
                  <a:gd name="T85" fmla="*/ 2147483647 h 516"/>
                  <a:gd name="T86" fmla="*/ 2147483647 w 504"/>
                  <a:gd name="T87" fmla="*/ 2147483647 h 516"/>
                  <a:gd name="T88" fmla="*/ 2147483647 w 504"/>
                  <a:gd name="T89" fmla="*/ 2147483647 h 516"/>
                  <a:gd name="T90" fmla="*/ 2147483647 w 504"/>
                  <a:gd name="T91" fmla="*/ 2147483647 h 516"/>
                  <a:gd name="T92" fmla="*/ 2147483647 w 504"/>
                  <a:gd name="T93" fmla="*/ 2147483647 h 516"/>
                  <a:gd name="T94" fmla="*/ 2147483647 w 504"/>
                  <a:gd name="T95" fmla="*/ 2147483647 h 516"/>
                  <a:gd name="T96" fmla="*/ 2147483647 w 504"/>
                  <a:gd name="T97" fmla="*/ 2147483647 h 51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4"/>
                  <a:gd name="T148" fmla="*/ 0 h 516"/>
                  <a:gd name="T149" fmla="*/ 504 w 504"/>
                  <a:gd name="T150" fmla="*/ 516 h 51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4" h="516">
                    <a:moveTo>
                      <a:pt x="462" y="182"/>
                    </a:moveTo>
                    <a:lnTo>
                      <a:pt x="388" y="124"/>
                    </a:lnTo>
                    <a:lnTo>
                      <a:pt x="394" y="102"/>
                    </a:lnTo>
                    <a:lnTo>
                      <a:pt x="216" y="2"/>
                    </a:lnTo>
                    <a:lnTo>
                      <a:pt x="214" y="0"/>
                    </a:lnTo>
                    <a:lnTo>
                      <a:pt x="192" y="40"/>
                    </a:lnTo>
                    <a:lnTo>
                      <a:pt x="186" y="46"/>
                    </a:lnTo>
                    <a:lnTo>
                      <a:pt x="180" y="50"/>
                    </a:lnTo>
                    <a:lnTo>
                      <a:pt x="174" y="52"/>
                    </a:lnTo>
                    <a:lnTo>
                      <a:pt x="172" y="58"/>
                    </a:lnTo>
                    <a:lnTo>
                      <a:pt x="200" y="58"/>
                    </a:lnTo>
                    <a:lnTo>
                      <a:pt x="198" y="64"/>
                    </a:lnTo>
                    <a:lnTo>
                      <a:pt x="194" y="70"/>
                    </a:lnTo>
                    <a:lnTo>
                      <a:pt x="188" y="76"/>
                    </a:lnTo>
                    <a:lnTo>
                      <a:pt x="186" y="80"/>
                    </a:lnTo>
                    <a:lnTo>
                      <a:pt x="180" y="78"/>
                    </a:lnTo>
                    <a:lnTo>
                      <a:pt x="178" y="74"/>
                    </a:lnTo>
                    <a:lnTo>
                      <a:pt x="174" y="72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0" y="74"/>
                    </a:lnTo>
                    <a:lnTo>
                      <a:pt x="158" y="78"/>
                    </a:lnTo>
                    <a:lnTo>
                      <a:pt x="156" y="78"/>
                    </a:lnTo>
                    <a:lnTo>
                      <a:pt x="150" y="76"/>
                    </a:lnTo>
                    <a:lnTo>
                      <a:pt x="144" y="72"/>
                    </a:lnTo>
                    <a:lnTo>
                      <a:pt x="138" y="70"/>
                    </a:lnTo>
                    <a:lnTo>
                      <a:pt x="132" y="68"/>
                    </a:lnTo>
                    <a:lnTo>
                      <a:pt x="124" y="70"/>
                    </a:lnTo>
                    <a:lnTo>
                      <a:pt x="120" y="74"/>
                    </a:lnTo>
                    <a:lnTo>
                      <a:pt x="112" y="84"/>
                    </a:lnTo>
                    <a:lnTo>
                      <a:pt x="110" y="80"/>
                    </a:lnTo>
                    <a:lnTo>
                      <a:pt x="110" y="76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4" y="68"/>
                    </a:lnTo>
                    <a:lnTo>
                      <a:pt x="112" y="64"/>
                    </a:lnTo>
                    <a:lnTo>
                      <a:pt x="110" y="64"/>
                    </a:lnTo>
                    <a:lnTo>
                      <a:pt x="106" y="64"/>
                    </a:lnTo>
                    <a:lnTo>
                      <a:pt x="104" y="56"/>
                    </a:lnTo>
                    <a:lnTo>
                      <a:pt x="104" y="48"/>
                    </a:lnTo>
                    <a:lnTo>
                      <a:pt x="106" y="38"/>
                    </a:lnTo>
                    <a:lnTo>
                      <a:pt x="108" y="30"/>
                    </a:lnTo>
                    <a:lnTo>
                      <a:pt x="112" y="22"/>
                    </a:lnTo>
                    <a:lnTo>
                      <a:pt x="114" y="14"/>
                    </a:lnTo>
                    <a:lnTo>
                      <a:pt x="112" y="8"/>
                    </a:lnTo>
                    <a:lnTo>
                      <a:pt x="110" y="4"/>
                    </a:lnTo>
                    <a:lnTo>
                      <a:pt x="46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0" y="12"/>
                    </a:lnTo>
                    <a:lnTo>
                      <a:pt x="46" y="20"/>
                    </a:lnTo>
                    <a:lnTo>
                      <a:pt x="50" y="26"/>
                    </a:lnTo>
                    <a:lnTo>
                      <a:pt x="54" y="32"/>
                    </a:lnTo>
                    <a:lnTo>
                      <a:pt x="56" y="42"/>
                    </a:lnTo>
                    <a:lnTo>
                      <a:pt x="58" y="46"/>
                    </a:lnTo>
                    <a:lnTo>
                      <a:pt x="60" y="50"/>
                    </a:lnTo>
                    <a:lnTo>
                      <a:pt x="62" y="52"/>
                    </a:lnTo>
                    <a:lnTo>
                      <a:pt x="62" y="56"/>
                    </a:lnTo>
                    <a:lnTo>
                      <a:pt x="62" y="62"/>
                    </a:lnTo>
                    <a:lnTo>
                      <a:pt x="60" y="68"/>
                    </a:lnTo>
                    <a:lnTo>
                      <a:pt x="56" y="72"/>
                    </a:lnTo>
                    <a:lnTo>
                      <a:pt x="52" y="74"/>
                    </a:lnTo>
                    <a:lnTo>
                      <a:pt x="38" y="74"/>
                    </a:lnTo>
                    <a:lnTo>
                      <a:pt x="40" y="72"/>
                    </a:lnTo>
                    <a:lnTo>
                      <a:pt x="44" y="76"/>
                    </a:lnTo>
                    <a:lnTo>
                      <a:pt x="44" y="80"/>
                    </a:lnTo>
                    <a:lnTo>
                      <a:pt x="46" y="90"/>
                    </a:lnTo>
                    <a:lnTo>
                      <a:pt x="46" y="94"/>
                    </a:lnTo>
                    <a:lnTo>
                      <a:pt x="48" y="98"/>
                    </a:lnTo>
                    <a:lnTo>
                      <a:pt x="52" y="102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56" y="104"/>
                    </a:lnTo>
                    <a:lnTo>
                      <a:pt x="58" y="106"/>
                    </a:lnTo>
                    <a:lnTo>
                      <a:pt x="60" y="110"/>
                    </a:lnTo>
                    <a:lnTo>
                      <a:pt x="58" y="114"/>
                    </a:lnTo>
                    <a:lnTo>
                      <a:pt x="56" y="118"/>
                    </a:lnTo>
                    <a:lnTo>
                      <a:pt x="48" y="126"/>
                    </a:lnTo>
                    <a:lnTo>
                      <a:pt x="38" y="134"/>
                    </a:lnTo>
                    <a:lnTo>
                      <a:pt x="36" y="138"/>
                    </a:lnTo>
                    <a:lnTo>
                      <a:pt x="34" y="144"/>
                    </a:lnTo>
                    <a:lnTo>
                      <a:pt x="30" y="152"/>
                    </a:lnTo>
                    <a:lnTo>
                      <a:pt x="24" y="162"/>
                    </a:lnTo>
                    <a:lnTo>
                      <a:pt x="16" y="170"/>
                    </a:lnTo>
                    <a:lnTo>
                      <a:pt x="12" y="174"/>
                    </a:lnTo>
                    <a:lnTo>
                      <a:pt x="6" y="174"/>
                    </a:lnTo>
                    <a:lnTo>
                      <a:pt x="0" y="174"/>
                    </a:lnTo>
                    <a:lnTo>
                      <a:pt x="4" y="188"/>
                    </a:lnTo>
                    <a:lnTo>
                      <a:pt x="8" y="202"/>
                    </a:lnTo>
                    <a:lnTo>
                      <a:pt x="10" y="214"/>
                    </a:lnTo>
                    <a:lnTo>
                      <a:pt x="10" y="222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8" y="236"/>
                    </a:lnTo>
                    <a:lnTo>
                      <a:pt x="14" y="242"/>
                    </a:lnTo>
                    <a:lnTo>
                      <a:pt x="12" y="248"/>
                    </a:lnTo>
                    <a:lnTo>
                      <a:pt x="10" y="25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0" y="264"/>
                    </a:lnTo>
                    <a:lnTo>
                      <a:pt x="18" y="270"/>
                    </a:lnTo>
                    <a:lnTo>
                      <a:pt x="24" y="272"/>
                    </a:lnTo>
                    <a:lnTo>
                      <a:pt x="30" y="276"/>
                    </a:lnTo>
                    <a:lnTo>
                      <a:pt x="38" y="286"/>
                    </a:lnTo>
                    <a:lnTo>
                      <a:pt x="42" y="294"/>
                    </a:lnTo>
                    <a:lnTo>
                      <a:pt x="44" y="304"/>
                    </a:lnTo>
                    <a:lnTo>
                      <a:pt x="48" y="314"/>
                    </a:lnTo>
                    <a:lnTo>
                      <a:pt x="56" y="334"/>
                    </a:lnTo>
                    <a:lnTo>
                      <a:pt x="64" y="354"/>
                    </a:lnTo>
                    <a:lnTo>
                      <a:pt x="68" y="360"/>
                    </a:lnTo>
                    <a:lnTo>
                      <a:pt x="74" y="366"/>
                    </a:lnTo>
                    <a:lnTo>
                      <a:pt x="76" y="372"/>
                    </a:lnTo>
                    <a:lnTo>
                      <a:pt x="78" y="380"/>
                    </a:lnTo>
                    <a:lnTo>
                      <a:pt x="84" y="378"/>
                    </a:lnTo>
                    <a:lnTo>
                      <a:pt x="88" y="378"/>
                    </a:lnTo>
                    <a:lnTo>
                      <a:pt x="94" y="384"/>
                    </a:lnTo>
                    <a:lnTo>
                      <a:pt x="100" y="390"/>
                    </a:lnTo>
                    <a:lnTo>
                      <a:pt x="118" y="396"/>
                    </a:lnTo>
                    <a:lnTo>
                      <a:pt x="134" y="402"/>
                    </a:lnTo>
                    <a:lnTo>
                      <a:pt x="152" y="410"/>
                    </a:lnTo>
                    <a:lnTo>
                      <a:pt x="168" y="418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4" y="422"/>
                    </a:lnTo>
                    <a:lnTo>
                      <a:pt x="204" y="420"/>
                    </a:lnTo>
                    <a:lnTo>
                      <a:pt x="208" y="420"/>
                    </a:lnTo>
                    <a:lnTo>
                      <a:pt x="218" y="428"/>
                    </a:lnTo>
                    <a:lnTo>
                      <a:pt x="224" y="436"/>
                    </a:lnTo>
                    <a:lnTo>
                      <a:pt x="234" y="458"/>
                    </a:lnTo>
                    <a:lnTo>
                      <a:pt x="234" y="480"/>
                    </a:lnTo>
                    <a:lnTo>
                      <a:pt x="236" y="490"/>
                    </a:lnTo>
                    <a:lnTo>
                      <a:pt x="236" y="500"/>
                    </a:lnTo>
                    <a:lnTo>
                      <a:pt x="238" y="504"/>
                    </a:lnTo>
                    <a:lnTo>
                      <a:pt x="240" y="508"/>
                    </a:lnTo>
                    <a:lnTo>
                      <a:pt x="246" y="516"/>
                    </a:lnTo>
                    <a:lnTo>
                      <a:pt x="268" y="508"/>
                    </a:lnTo>
                    <a:lnTo>
                      <a:pt x="280" y="504"/>
                    </a:lnTo>
                    <a:lnTo>
                      <a:pt x="288" y="502"/>
                    </a:lnTo>
                    <a:lnTo>
                      <a:pt x="294" y="504"/>
                    </a:lnTo>
                    <a:lnTo>
                      <a:pt x="300" y="506"/>
                    </a:lnTo>
                    <a:lnTo>
                      <a:pt x="308" y="512"/>
                    </a:lnTo>
                    <a:lnTo>
                      <a:pt x="326" y="516"/>
                    </a:lnTo>
                    <a:lnTo>
                      <a:pt x="344" y="516"/>
                    </a:lnTo>
                    <a:lnTo>
                      <a:pt x="352" y="516"/>
                    </a:lnTo>
                    <a:lnTo>
                      <a:pt x="360" y="514"/>
                    </a:lnTo>
                    <a:lnTo>
                      <a:pt x="374" y="506"/>
                    </a:lnTo>
                    <a:lnTo>
                      <a:pt x="386" y="500"/>
                    </a:lnTo>
                    <a:lnTo>
                      <a:pt x="392" y="498"/>
                    </a:lnTo>
                    <a:lnTo>
                      <a:pt x="398" y="498"/>
                    </a:lnTo>
                    <a:lnTo>
                      <a:pt x="416" y="498"/>
                    </a:lnTo>
                    <a:lnTo>
                      <a:pt x="428" y="496"/>
                    </a:lnTo>
                    <a:lnTo>
                      <a:pt x="440" y="494"/>
                    </a:lnTo>
                    <a:lnTo>
                      <a:pt x="454" y="488"/>
                    </a:lnTo>
                    <a:lnTo>
                      <a:pt x="466" y="484"/>
                    </a:lnTo>
                    <a:lnTo>
                      <a:pt x="480" y="476"/>
                    </a:lnTo>
                    <a:lnTo>
                      <a:pt x="490" y="468"/>
                    </a:lnTo>
                    <a:lnTo>
                      <a:pt x="498" y="460"/>
                    </a:lnTo>
                    <a:lnTo>
                      <a:pt x="504" y="452"/>
                    </a:lnTo>
                    <a:lnTo>
                      <a:pt x="498" y="452"/>
                    </a:lnTo>
                    <a:lnTo>
                      <a:pt x="492" y="448"/>
                    </a:lnTo>
                    <a:lnTo>
                      <a:pt x="488" y="442"/>
                    </a:lnTo>
                    <a:lnTo>
                      <a:pt x="484" y="436"/>
                    </a:lnTo>
                    <a:lnTo>
                      <a:pt x="480" y="422"/>
                    </a:lnTo>
                    <a:lnTo>
                      <a:pt x="478" y="408"/>
                    </a:lnTo>
                    <a:lnTo>
                      <a:pt x="476" y="398"/>
                    </a:lnTo>
                    <a:lnTo>
                      <a:pt x="472" y="388"/>
                    </a:lnTo>
                    <a:lnTo>
                      <a:pt x="468" y="378"/>
                    </a:lnTo>
                    <a:lnTo>
                      <a:pt x="466" y="368"/>
                    </a:lnTo>
                    <a:lnTo>
                      <a:pt x="466" y="362"/>
                    </a:lnTo>
                    <a:lnTo>
                      <a:pt x="468" y="356"/>
                    </a:lnTo>
                    <a:lnTo>
                      <a:pt x="470" y="350"/>
                    </a:lnTo>
                    <a:lnTo>
                      <a:pt x="470" y="344"/>
                    </a:lnTo>
                    <a:lnTo>
                      <a:pt x="470" y="336"/>
                    </a:lnTo>
                    <a:lnTo>
                      <a:pt x="468" y="332"/>
                    </a:lnTo>
                    <a:lnTo>
                      <a:pt x="466" y="328"/>
                    </a:lnTo>
                    <a:lnTo>
                      <a:pt x="466" y="322"/>
                    </a:lnTo>
                    <a:lnTo>
                      <a:pt x="466" y="318"/>
                    </a:lnTo>
                    <a:lnTo>
                      <a:pt x="468" y="314"/>
                    </a:lnTo>
                    <a:lnTo>
                      <a:pt x="472" y="310"/>
                    </a:lnTo>
                    <a:lnTo>
                      <a:pt x="476" y="306"/>
                    </a:lnTo>
                    <a:lnTo>
                      <a:pt x="478" y="300"/>
                    </a:lnTo>
                    <a:lnTo>
                      <a:pt x="478" y="294"/>
                    </a:lnTo>
                    <a:lnTo>
                      <a:pt x="478" y="290"/>
                    </a:lnTo>
                    <a:lnTo>
                      <a:pt x="474" y="286"/>
                    </a:lnTo>
                    <a:lnTo>
                      <a:pt x="470" y="282"/>
                    </a:lnTo>
                    <a:lnTo>
                      <a:pt x="458" y="274"/>
                    </a:lnTo>
                    <a:lnTo>
                      <a:pt x="452" y="270"/>
                    </a:lnTo>
                    <a:lnTo>
                      <a:pt x="448" y="264"/>
                    </a:lnTo>
                    <a:lnTo>
                      <a:pt x="446" y="258"/>
                    </a:lnTo>
                    <a:lnTo>
                      <a:pt x="444" y="248"/>
                    </a:lnTo>
                    <a:lnTo>
                      <a:pt x="444" y="240"/>
                    </a:lnTo>
                    <a:lnTo>
                      <a:pt x="448" y="230"/>
                    </a:lnTo>
                    <a:lnTo>
                      <a:pt x="454" y="216"/>
                    </a:lnTo>
                    <a:lnTo>
                      <a:pt x="460" y="200"/>
                    </a:lnTo>
                    <a:lnTo>
                      <a:pt x="462" y="190"/>
                    </a:lnTo>
                    <a:lnTo>
                      <a:pt x="462" y="184"/>
                    </a:lnTo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82" name="Freeform 14"/>
              <p:cNvSpPr>
                <a:spLocks/>
              </p:cNvSpPr>
              <p:nvPr/>
            </p:nvSpPr>
            <p:spPr bwMode="gray">
              <a:xfrm>
                <a:off x="6153150" y="4390232"/>
                <a:ext cx="533400" cy="965200"/>
              </a:xfrm>
              <a:custGeom>
                <a:avLst/>
                <a:gdLst>
                  <a:gd name="T0" fmla="*/ 0 w 368"/>
                  <a:gd name="T1" fmla="*/ 2147483647 h 666"/>
                  <a:gd name="T2" fmla="*/ 2147483647 w 368"/>
                  <a:gd name="T3" fmla="*/ 2147483647 h 666"/>
                  <a:gd name="T4" fmla="*/ 2147483647 w 368"/>
                  <a:gd name="T5" fmla="*/ 2147483647 h 666"/>
                  <a:gd name="T6" fmla="*/ 2147483647 w 368"/>
                  <a:gd name="T7" fmla="*/ 2147483647 h 666"/>
                  <a:gd name="T8" fmla="*/ 2147483647 w 368"/>
                  <a:gd name="T9" fmla="*/ 2147483647 h 666"/>
                  <a:gd name="T10" fmla="*/ 2147483647 w 368"/>
                  <a:gd name="T11" fmla="*/ 2147483647 h 666"/>
                  <a:gd name="T12" fmla="*/ 2147483647 w 368"/>
                  <a:gd name="T13" fmla="*/ 2147483647 h 666"/>
                  <a:gd name="T14" fmla="*/ 2147483647 w 368"/>
                  <a:gd name="T15" fmla="*/ 2147483647 h 666"/>
                  <a:gd name="T16" fmla="*/ 2147483647 w 368"/>
                  <a:gd name="T17" fmla="*/ 2147483647 h 666"/>
                  <a:gd name="T18" fmla="*/ 2147483647 w 368"/>
                  <a:gd name="T19" fmla="*/ 2147483647 h 666"/>
                  <a:gd name="T20" fmla="*/ 2147483647 w 368"/>
                  <a:gd name="T21" fmla="*/ 2147483647 h 666"/>
                  <a:gd name="T22" fmla="*/ 2147483647 w 368"/>
                  <a:gd name="T23" fmla="*/ 2147483647 h 666"/>
                  <a:gd name="T24" fmla="*/ 2147483647 w 368"/>
                  <a:gd name="T25" fmla="*/ 2147483647 h 666"/>
                  <a:gd name="T26" fmla="*/ 2147483647 w 368"/>
                  <a:gd name="T27" fmla="*/ 2147483647 h 666"/>
                  <a:gd name="T28" fmla="*/ 2147483647 w 368"/>
                  <a:gd name="T29" fmla="*/ 2147483647 h 666"/>
                  <a:gd name="T30" fmla="*/ 2147483647 w 368"/>
                  <a:gd name="T31" fmla="*/ 2147483647 h 666"/>
                  <a:gd name="T32" fmla="*/ 2147483647 w 368"/>
                  <a:gd name="T33" fmla="*/ 2147483647 h 666"/>
                  <a:gd name="T34" fmla="*/ 2147483647 w 368"/>
                  <a:gd name="T35" fmla="*/ 2147483647 h 666"/>
                  <a:gd name="T36" fmla="*/ 2147483647 w 368"/>
                  <a:gd name="T37" fmla="*/ 2147483647 h 666"/>
                  <a:gd name="T38" fmla="*/ 2147483647 w 368"/>
                  <a:gd name="T39" fmla="*/ 2147483647 h 666"/>
                  <a:gd name="T40" fmla="*/ 2147483647 w 368"/>
                  <a:gd name="T41" fmla="*/ 2147483647 h 666"/>
                  <a:gd name="T42" fmla="*/ 2147483647 w 368"/>
                  <a:gd name="T43" fmla="*/ 2147483647 h 666"/>
                  <a:gd name="T44" fmla="*/ 2147483647 w 368"/>
                  <a:gd name="T45" fmla="*/ 2147483647 h 666"/>
                  <a:gd name="T46" fmla="*/ 2147483647 w 368"/>
                  <a:gd name="T47" fmla="*/ 2147483647 h 666"/>
                  <a:gd name="T48" fmla="*/ 2147483647 w 368"/>
                  <a:gd name="T49" fmla="*/ 2147483647 h 666"/>
                  <a:gd name="T50" fmla="*/ 2147483647 w 368"/>
                  <a:gd name="T51" fmla="*/ 2147483647 h 666"/>
                  <a:gd name="T52" fmla="*/ 2147483647 w 368"/>
                  <a:gd name="T53" fmla="*/ 2147483647 h 666"/>
                  <a:gd name="T54" fmla="*/ 2147483647 w 368"/>
                  <a:gd name="T55" fmla="*/ 2147483647 h 666"/>
                  <a:gd name="T56" fmla="*/ 2147483647 w 368"/>
                  <a:gd name="T57" fmla="*/ 2147483647 h 666"/>
                  <a:gd name="T58" fmla="*/ 2147483647 w 368"/>
                  <a:gd name="T59" fmla="*/ 2147483647 h 666"/>
                  <a:gd name="T60" fmla="*/ 2147483647 w 368"/>
                  <a:gd name="T61" fmla="*/ 2147483647 h 666"/>
                  <a:gd name="T62" fmla="*/ 2147483647 w 368"/>
                  <a:gd name="T63" fmla="*/ 2147483647 h 666"/>
                  <a:gd name="T64" fmla="*/ 2147483647 w 368"/>
                  <a:gd name="T65" fmla="*/ 2147483647 h 666"/>
                  <a:gd name="T66" fmla="*/ 2147483647 w 368"/>
                  <a:gd name="T67" fmla="*/ 2147483647 h 666"/>
                  <a:gd name="T68" fmla="*/ 2147483647 w 368"/>
                  <a:gd name="T69" fmla="*/ 2147483647 h 666"/>
                  <a:gd name="T70" fmla="*/ 2147483647 w 368"/>
                  <a:gd name="T71" fmla="*/ 2147483647 h 666"/>
                  <a:gd name="T72" fmla="*/ 2147483647 w 368"/>
                  <a:gd name="T73" fmla="*/ 2147483647 h 666"/>
                  <a:gd name="T74" fmla="*/ 2147483647 w 368"/>
                  <a:gd name="T75" fmla="*/ 2147483647 h 666"/>
                  <a:gd name="T76" fmla="*/ 2147483647 w 368"/>
                  <a:gd name="T77" fmla="*/ 2147483647 h 666"/>
                  <a:gd name="T78" fmla="*/ 2147483647 w 368"/>
                  <a:gd name="T79" fmla="*/ 2147483647 h 666"/>
                  <a:gd name="T80" fmla="*/ 2147483647 w 368"/>
                  <a:gd name="T81" fmla="*/ 2147483647 h 666"/>
                  <a:gd name="T82" fmla="*/ 2147483647 w 368"/>
                  <a:gd name="T83" fmla="*/ 2147483647 h 666"/>
                  <a:gd name="T84" fmla="*/ 2147483647 w 368"/>
                  <a:gd name="T85" fmla="*/ 2147483647 h 666"/>
                  <a:gd name="T86" fmla="*/ 2147483647 w 368"/>
                  <a:gd name="T87" fmla="*/ 2147483647 h 666"/>
                  <a:gd name="T88" fmla="*/ 2147483647 w 368"/>
                  <a:gd name="T89" fmla="*/ 2147483647 h 666"/>
                  <a:gd name="T90" fmla="*/ 2147483647 w 368"/>
                  <a:gd name="T91" fmla="*/ 2147483647 h 666"/>
                  <a:gd name="T92" fmla="*/ 2147483647 w 368"/>
                  <a:gd name="T93" fmla="*/ 2147483647 h 666"/>
                  <a:gd name="T94" fmla="*/ 2147483647 w 368"/>
                  <a:gd name="T95" fmla="*/ 2147483647 h 666"/>
                  <a:gd name="T96" fmla="*/ 2147483647 w 368"/>
                  <a:gd name="T97" fmla="*/ 2147483647 h 666"/>
                  <a:gd name="T98" fmla="*/ 2147483647 w 368"/>
                  <a:gd name="T99" fmla="*/ 2147483647 h 666"/>
                  <a:gd name="T100" fmla="*/ 2147483647 w 368"/>
                  <a:gd name="T101" fmla="*/ 2147483647 h 666"/>
                  <a:gd name="T102" fmla="*/ 2147483647 w 368"/>
                  <a:gd name="T103" fmla="*/ 2147483647 h 666"/>
                  <a:gd name="T104" fmla="*/ 2147483647 w 368"/>
                  <a:gd name="T105" fmla="*/ 2147483647 h 666"/>
                  <a:gd name="T106" fmla="*/ 2147483647 w 368"/>
                  <a:gd name="T107" fmla="*/ 2147483647 h 666"/>
                  <a:gd name="T108" fmla="*/ 2147483647 w 368"/>
                  <a:gd name="T109" fmla="*/ 2147483647 h 666"/>
                  <a:gd name="T110" fmla="*/ 2147483647 w 368"/>
                  <a:gd name="T111" fmla="*/ 2147483647 h 666"/>
                  <a:gd name="T112" fmla="*/ 0 w 368"/>
                  <a:gd name="T113" fmla="*/ 2147483647 h 66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68"/>
                  <a:gd name="T172" fmla="*/ 0 h 666"/>
                  <a:gd name="T173" fmla="*/ 368 w 368"/>
                  <a:gd name="T174" fmla="*/ 666 h 66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68" h="666">
                    <a:moveTo>
                      <a:pt x="0" y="494"/>
                    </a:moveTo>
                    <a:lnTo>
                      <a:pt x="0" y="484"/>
                    </a:lnTo>
                    <a:lnTo>
                      <a:pt x="4" y="476"/>
                    </a:lnTo>
                    <a:lnTo>
                      <a:pt x="12" y="460"/>
                    </a:lnTo>
                    <a:lnTo>
                      <a:pt x="24" y="446"/>
                    </a:lnTo>
                    <a:lnTo>
                      <a:pt x="36" y="434"/>
                    </a:lnTo>
                    <a:lnTo>
                      <a:pt x="50" y="420"/>
                    </a:lnTo>
                    <a:lnTo>
                      <a:pt x="60" y="406"/>
                    </a:lnTo>
                    <a:lnTo>
                      <a:pt x="64" y="398"/>
                    </a:lnTo>
                    <a:lnTo>
                      <a:pt x="68" y="388"/>
                    </a:lnTo>
                    <a:lnTo>
                      <a:pt x="70" y="378"/>
                    </a:lnTo>
                    <a:lnTo>
                      <a:pt x="72" y="368"/>
                    </a:lnTo>
                    <a:lnTo>
                      <a:pt x="70" y="346"/>
                    </a:lnTo>
                    <a:lnTo>
                      <a:pt x="66" y="326"/>
                    </a:lnTo>
                    <a:lnTo>
                      <a:pt x="64" y="306"/>
                    </a:lnTo>
                    <a:lnTo>
                      <a:pt x="62" y="284"/>
                    </a:lnTo>
                    <a:lnTo>
                      <a:pt x="64" y="274"/>
                    </a:lnTo>
                    <a:lnTo>
                      <a:pt x="68" y="264"/>
                    </a:lnTo>
                    <a:lnTo>
                      <a:pt x="78" y="248"/>
                    </a:lnTo>
                    <a:lnTo>
                      <a:pt x="82" y="240"/>
                    </a:lnTo>
                    <a:lnTo>
                      <a:pt x="86" y="230"/>
                    </a:lnTo>
                    <a:lnTo>
                      <a:pt x="88" y="222"/>
                    </a:lnTo>
                    <a:lnTo>
                      <a:pt x="94" y="216"/>
                    </a:lnTo>
                    <a:lnTo>
                      <a:pt x="112" y="204"/>
                    </a:lnTo>
                    <a:lnTo>
                      <a:pt x="128" y="198"/>
                    </a:lnTo>
                    <a:lnTo>
                      <a:pt x="146" y="192"/>
                    </a:lnTo>
                    <a:lnTo>
                      <a:pt x="164" y="186"/>
                    </a:lnTo>
                    <a:lnTo>
                      <a:pt x="180" y="178"/>
                    </a:lnTo>
                    <a:lnTo>
                      <a:pt x="192" y="170"/>
                    </a:lnTo>
                    <a:lnTo>
                      <a:pt x="202" y="160"/>
                    </a:lnTo>
                    <a:lnTo>
                      <a:pt x="216" y="150"/>
                    </a:lnTo>
                    <a:lnTo>
                      <a:pt x="234" y="140"/>
                    </a:lnTo>
                    <a:lnTo>
                      <a:pt x="242" y="134"/>
                    </a:lnTo>
                    <a:lnTo>
                      <a:pt x="248" y="128"/>
                    </a:lnTo>
                    <a:lnTo>
                      <a:pt x="258" y="106"/>
                    </a:lnTo>
                    <a:lnTo>
                      <a:pt x="262" y="96"/>
                    </a:lnTo>
                    <a:lnTo>
                      <a:pt x="270" y="86"/>
                    </a:lnTo>
                    <a:lnTo>
                      <a:pt x="280" y="80"/>
                    </a:lnTo>
                    <a:lnTo>
                      <a:pt x="290" y="74"/>
                    </a:lnTo>
                    <a:lnTo>
                      <a:pt x="298" y="68"/>
                    </a:lnTo>
                    <a:lnTo>
                      <a:pt x="306" y="60"/>
                    </a:lnTo>
                    <a:lnTo>
                      <a:pt x="308" y="50"/>
                    </a:lnTo>
                    <a:lnTo>
                      <a:pt x="308" y="40"/>
                    </a:lnTo>
                    <a:lnTo>
                      <a:pt x="306" y="24"/>
                    </a:lnTo>
                    <a:lnTo>
                      <a:pt x="310" y="20"/>
                    </a:lnTo>
                    <a:lnTo>
                      <a:pt x="318" y="12"/>
                    </a:lnTo>
                    <a:lnTo>
                      <a:pt x="332" y="0"/>
                    </a:lnTo>
                    <a:lnTo>
                      <a:pt x="346" y="36"/>
                    </a:lnTo>
                    <a:lnTo>
                      <a:pt x="356" y="80"/>
                    </a:lnTo>
                    <a:lnTo>
                      <a:pt x="364" y="124"/>
                    </a:lnTo>
                    <a:lnTo>
                      <a:pt x="366" y="148"/>
                    </a:lnTo>
                    <a:lnTo>
                      <a:pt x="368" y="170"/>
                    </a:lnTo>
                    <a:lnTo>
                      <a:pt x="366" y="178"/>
                    </a:lnTo>
                    <a:lnTo>
                      <a:pt x="362" y="186"/>
                    </a:lnTo>
                    <a:lnTo>
                      <a:pt x="358" y="192"/>
                    </a:lnTo>
                    <a:lnTo>
                      <a:pt x="354" y="194"/>
                    </a:lnTo>
                    <a:lnTo>
                      <a:pt x="350" y="194"/>
                    </a:lnTo>
                    <a:lnTo>
                      <a:pt x="348" y="188"/>
                    </a:lnTo>
                    <a:lnTo>
                      <a:pt x="346" y="182"/>
                    </a:lnTo>
                    <a:lnTo>
                      <a:pt x="338" y="176"/>
                    </a:lnTo>
                    <a:lnTo>
                      <a:pt x="336" y="180"/>
                    </a:lnTo>
                    <a:lnTo>
                      <a:pt x="334" y="186"/>
                    </a:lnTo>
                    <a:lnTo>
                      <a:pt x="334" y="198"/>
                    </a:lnTo>
                    <a:lnTo>
                      <a:pt x="336" y="212"/>
                    </a:lnTo>
                    <a:lnTo>
                      <a:pt x="336" y="226"/>
                    </a:lnTo>
                    <a:lnTo>
                      <a:pt x="332" y="234"/>
                    </a:lnTo>
                    <a:lnTo>
                      <a:pt x="328" y="242"/>
                    </a:lnTo>
                    <a:lnTo>
                      <a:pt x="322" y="248"/>
                    </a:lnTo>
                    <a:lnTo>
                      <a:pt x="318" y="254"/>
                    </a:lnTo>
                    <a:lnTo>
                      <a:pt x="312" y="270"/>
                    </a:lnTo>
                    <a:lnTo>
                      <a:pt x="308" y="286"/>
                    </a:lnTo>
                    <a:lnTo>
                      <a:pt x="306" y="302"/>
                    </a:lnTo>
                    <a:lnTo>
                      <a:pt x="302" y="320"/>
                    </a:lnTo>
                    <a:lnTo>
                      <a:pt x="296" y="336"/>
                    </a:lnTo>
                    <a:lnTo>
                      <a:pt x="288" y="352"/>
                    </a:lnTo>
                    <a:lnTo>
                      <a:pt x="270" y="384"/>
                    </a:lnTo>
                    <a:lnTo>
                      <a:pt x="252" y="418"/>
                    </a:lnTo>
                    <a:lnTo>
                      <a:pt x="244" y="434"/>
                    </a:lnTo>
                    <a:lnTo>
                      <a:pt x="238" y="450"/>
                    </a:lnTo>
                    <a:lnTo>
                      <a:pt x="228" y="474"/>
                    </a:lnTo>
                    <a:lnTo>
                      <a:pt x="218" y="496"/>
                    </a:lnTo>
                    <a:lnTo>
                      <a:pt x="208" y="514"/>
                    </a:lnTo>
                    <a:lnTo>
                      <a:pt x="198" y="536"/>
                    </a:lnTo>
                    <a:lnTo>
                      <a:pt x="188" y="568"/>
                    </a:lnTo>
                    <a:lnTo>
                      <a:pt x="176" y="596"/>
                    </a:lnTo>
                    <a:lnTo>
                      <a:pt x="170" y="610"/>
                    </a:lnTo>
                    <a:lnTo>
                      <a:pt x="162" y="622"/>
                    </a:lnTo>
                    <a:lnTo>
                      <a:pt x="152" y="634"/>
                    </a:lnTo>
                    <a:lnTo>
                      <a:pt x="140" y="644"/>
                    </a:lnTo>
                    <a:lnTo>
                      <a:pt x="134" y="648"/>
                    </a:lnTo>
                    <a:lnTo>
                      <a:pt x="126" y="648"/>
                    </a:lnTo>
                    <a:lnTo>
                      <a:pt x="112" y="648"/>
                    </a:lnTo>
                    <a:lnTo>
                      <a:pt x="102" y="652"/>
                    </a:lnTo>
                    <a:lnTo>
                      <a:pt x="92" y="658"/>
                    </a:lnTo>
                    <a:lnTo>
                      <a:pt x="82" y="664"/>
                    </a:lnTo>
                    <a:lnTo>
                      <a:pt x="68" y="666"/>
                    </a:lnTo>
                    <a:lnTo>
                      <a:pt x="58" y="664"/>
                    </a:lnTo>
                    <a:lnTo>
                      <a:pt x="46" y="658"/>
                    </a:lnTo>
                    <a:lnTo>
                      <a:pt x="34" y="650"/>
                    </a:lnTo>
                    <a:lnTo>
                      <a:pt x="24" y="640"/>
                    </a:lnTo>
                    <a:lnTo>
                      <a:pt x="16" y="628"/>
                    </a:lnTo>
                    <a:lnTo>
                      <a:pt x="8" y="616"/>
                    </a:lnTo>
                    <a:lnTo>
                      <a:pt x="4" y="604"/>
                    </a:lnTo>
                    <a:lnTo>
                      <a:pt x="2" y="590"/>
                    </a:lnTo>
                    <a:lnTo>
                      <a:pt x="4" y="584"/>
                    </a:lnTo>
                    <a:lnTo>
                      <a:pt x="8" y="576"/>
                    </a:lnTo>
                    <a:lnTo>
                      <a:pt x="12" y="570"/>
                    </a:lnTo>
                    <a:lnTo>
                      <a:pt x="14" y="562"/>
                    </a:lnTo>
                    <a:lnTo>
                      <a:pt x="14" y="556"/>
                    </a:lnTo>
                    <a:lnTo>
                      <a:pt x="12" y="550"/>
                    </a:lnTo>
                    <a:lnTo>
                      <a:pt x="6" y="538"/>
                    </a:lnTo>
                    <a:lnTo>
                      <a:pt x="2" y="524"/>
                    </a:lnTo>
                    <a:lnTo>
                      <a:pt x="0" y="518"/>
                    </a:lnTo>
                    <a:lnTo>
                      <a:pt x="0" y="510"/>
                    </a:lnTo>
                    <a:lnTo>
                      <a:pt x="0" y="49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83" name="Freeform 17"/>
              <p:cNvSpPr>
                <a:spLocks/>
              </p:cNvSpPr>
              <p:nvPr/>
            </p:nvSpPr>
            <p:spPr bwMode="gray">
              <a:xfrm>
                <a:off x="5233988" y="4258470"/>
                <a:ext cx="722312" cy="1182687"/>
              </a:xfrm>
              <a:custGeom>
                <a:avLst/>
                <a:gdLst>
                  <a:gd name="T0" fmla="*/ 2147483647 w 510"/>
                  <a:gd name="T1" fmla="*/ 2147483647 h 810"/>
                  <a:gd name="T2" fmla="*/ 2147483647 w 510"/>
                  <a:gd name="T3" fmla="*/ 2147483647 h 810"/>
                  <a:gd name="T4" fmla="*/ 2147483647 w 510"/>
                  <a:gd name="T5" fmla="*/ 2147483647 h 810"/>
                  <a:gd name="T6" fmla="*/ 2147483647 w 510"/>
                  <a:gd name="T7" fmla="*/ 2147483647 h 810"/>
                  <a:gd name="T8" fmla="*/ 2147483647 w 510"/>
                  <a:gd name="T9" fmla="*/ 2147483647 h 810"/>
                  <a:gd name="T10" fmla="*/ 2147483647 w 510"/>
                  <a:gd name="T11" fmla="*/ 2147483647 h 810"/>
                  <a:gd name="T12" fmla="*/ 2147483647 w 510"/>
                  <a:gd name="T13" fmla="*/ 2147483647 h 810"/>
                  <a:gd name="T14" fmla="*/ 2147483647 w 510"/>
                  <a:gd name="T15" fmla="*/ 2147483647 h 810"/>
                  <a:gd name="T16" fmla="*/ 2147483647 w 510"/>
                  <a:gd name="T17" fmla="*/ 2147483647 h 810"/>
                  <a:gd name="T18" fmla="*/ 2147483647 w 510"/>
                  <a:gd name="T19" fmla="*/ 2147483647 h 810"/>
                  <a:gd name="T20" fmla="*/ 2147483647 w 510"/>
                  <a:gd name="T21" fmla="*/ 2147483647 h 810"/>
                  <a:gd name="T22" fmla="*/ 2147483647 w 510"/>
                  <a:gd name="T23" fmla="*/ 2147483647 h 810"/>
                  <a:gd name="T24" fmla="*/ 2147483647 w 510"/>
                  <a:gd name="T25" fmla="*/ 2147483647 h 810"/>
                  <a:gd name="T26" fmla="*/ 0 w 510"/>
                  <a:gd name="T27" fmla="*/ 2147483647 h 810"/>
                  <a:gd name="T28" fmla="*/ 2147483647 w 510"/>
                  <a:gd name="T29" fmla="*/ 2147483647 h 810"/>
                  <a:gd name="T30" fmla="*/ 2147483647 w 510"/>
                  <a:gd name="T31" fmla="*/ 2147483647 h 810"/>
                  <a:gd name="T32" fmla="*/ 2147483647 w 510"/>
                  <a:gd name="T33" fmla="*/ 2147483647 h 810"/>
                  <a:gd name="T34" fmla="*/ 2147483647 w 510"/>
                  <a:gd name="T35" fmla="*/ 2147483647 h 810"/>
                  <a:gd name="T36" fmla="*/ 2147483647 w 510"/>
                  <a:gd name="T37" fmla="*/ 2147483647 h 810"/>
                  <a:gd name="T38" fmla="*/ 2147483647 w 510"/>
                  <a:gd name="T39" fmla="*/ 2147483647 h 810"/>
                  <a:gd name="T40" fmla="*/ 2147483647 w 510"/>
                  <a:gd name="T41" fmla="*/ 2147483647 h 810"/>
                  <a:gd name="T42" fmla="*/ 2147483647 w 510"/>
                  <a:gd name="T43" fmla="*/ 2147483647 h 810"/>
                  <a:gd name="T44" fmla="*/ 2147483647 w 510"/>
                  <a:gd name="T45" fmla="*/ 2147483647 h 810"/>
                  <a:gd name="T46" fmla="*/ 2147483647 w 510"/>
                  <a:gd name="T47" fmla="*/ 2147483647 h 810"/>
                  <a:gd name="T48" fmla="*/ 2147483647 w 510"/>
                  <a:gd name="T49" fmla="*/ 2147483647 h 810"/>
                  <a:gd name="T50" fmla="*/ 2147483647 w 510"/>
                  <a:gd name="T51" fmla="*/ 2147483647 h 810"/>
                  <a:gd name="T52" fmla="*/ 2147483647 w 510"/>
                  <a:gd name="T53" fmla="*/ 2147483647 h 810"/>
                  <a:gd name="T54" fmla="*/ 2147483647 w 510"/>
                  <a:gd name="T55" fmla="*/ 2147483647 h 810"/>
                  <a:gd name="T56" fmla="*/ 2147483647 w 510"/>
                  <a:gd name="T57" fmla="*/ 2147483647 h 810"/>
                  <a:gd name="T58" fmla="*/ 2147483647 w 510"/>
                  <a:gd name="T59" fmla="*/ 2147483647 h 810"/>
                  <a:gd name="T60" fmla="*/ 2147483647 w 510"/>
                  <a:gd name="T61" fmla="*/ 2147483647 h 810"/>
                  <a:gd name="T62" fmla="*/ 2147483647 w 510"/>
                  <a:gd name="T63" fmla="*/ 2147483647 h 810"/>
                  <a:gd name="T64" fmla="*/ 2147483647 w 510"/>
                  <a:gd name="T65" fmla="*/ 2147483647 h 810"/>
                  <a:gd name="T66" fmla="*/ 2147483647 w 510"/>
                  <a:gd name="T67" fmla="*/ 2147483647 h 810"/>
                  <a:gd name="T68" fmla="*/ 2147483647 w 510"/>
                  <a:gd name="T69" fmla="*/ 2147483647 h 810"/>
                  <a:gd name="T70" fmla="*/ 2147483647 w 510"/>
                  <a:gd name="T71" fmla="*/ 2147483647 h 810"/>
                  <a:gd name="T72" fmla="*/ 2147483647 w 510"/>
                  <a:gd name="T73" fmla="*/ 2147483647 h 810"/>
                  <a:gd name="T74" fmla="*/ 2147483647 w 510"/>
                  <a:gd name="T75" fmla="*/ 2147483647 h 810"/>
                  <a:gd name="T76" fmla="*/ 2147483647 w 510"/>
                  <a:gd name="T77" fmla="*/ 2147483647 h 810"/>
                  <a:gd name="T78" fmla="*/ 2147483647 w 510"/>
                  <a:gd name="T79" fmla="*/ 2147483647 h 810"/>
                  <a:gd name="T80" fmla="*/ 2147483647 w 510"/>
                  <a:gd name="T81" fmla="*/ 2147483647 h 810"/>
                  <a:gd name="T82" fmla="*/ 2147483647 w 510"/>
                  <a:gd name="T83" fmla="*/ 2147483647 h 810"/>
                  <a:gd name="T84" fmla="*/ 2147483647 w 510"/>
                  <a:gd name="T85" fmla="*/ 2147483647 h 810"/>
                  <a:gd name="T86" fmla="*/ 2147483647 w 510"/>
                  <a:gd name="T87" fmla="*/ 2147483647 h 810"/>
                  <a:gd name="T88" fmla="*/ 2147483647 w 510"/>
                  <a:gd name="T89" fmla="*/ 2147483647 h 810"/>
                  <a:gd name="T90" fmla="*/ 2147483647 w 510"/>
                  <a:gd name="T91" fmla="*/ 2147483647 h 810"/>
                  <a:gd name="T92" fmla="*/ 2147483647 w 510"/>
                  <a:gd name="T93" fmla="*/ 2147483647 h 810"/>
                  <a:gd name="T94" fmla="*/ 2147483647 w 510"/>
                  <a:gd name="T95" fmla="*/ 2147483647 h 810"/>
                  <a:gd name="T96" fmla="*/ 2147483647 w 510"/>
                  <a:gd name="T97" fmla="*/ 2147483647 h 810"/>
                  <a:gd name="T98" fmla="*/ 2147483647 w 510"/>
                  <a:gd name="T99" fmla="*/ 2147483647 h 810"/>
                  <a:gd name="T100" fmla="*/ 2147483647 w 510"/>
                  <a:gd name="T101" fmla="*/ 2147483647 h 810"/>
                  <a:gd name="T102" fmla="*/ 2147483647 w 510"/>
                  <a:gd name="T103" fmla="*/ 2147483647 h 810"/>
                  <a:gd name="T104" fmla="*/ 2147483647 w 510"/>
                  <a:gd name="T105" fmla="*/ 2147483647 h 810"/>
                  <a:gd name="T106" fmla="*/ 2147483647 w 510"/>
                  <a:gd name="T107" fmla="*/ 2147483647 h 810"/>
                  <a:gd name="T108" fmla="*/ 2147483647 w 510"/>
                  <a:gd name="T109" fmla="*/ 2147483647 h 810"/>
                  <a:gd name="T110" fmla="*/ 2147483647 w 510"/>
                  <a:gd name="T111" fmla="*/ 2147483647 h 810"/>
                  <a:gd name="T112" fmla="*/ 2147483647 w 510"/>
                  <a:gd name="T113" fmla="*/ 2147483647 h 810"/>
                  <a:gd name="T114" fmla="*/ 2147483647 w 510"/>
                  <a:gd name="T115" fmla="*/ 2147483647 h 810"/>
                  <a:gd name="T116" fmla="*/ 2147483647 w 510"/>
                  <a:gd name="T117" fmla="*/ 2147483647 h 810"/>
                  <a:gd name="T118" fmla="*/ 2147483647 w 510"/>
                  <a:gd name="T119" fmla="*/ 2147483647 h 810"/>
                  <a:gd name="T120" fmla="*/ 2147483647 w 510"/>
                  <a:gd name="T121" fmla="*/ 2147483647 h 81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510"/>
                  <a:gd name="T184" fmla="*/ 0 h 810"/>
                  <a:gd name="T185" fmla="*/ 510 w 510"/>
                  <a:gd name="T186" fmla="*/ 810 h 81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510" h="810">
                    <a:moveTo>
                      <a:pt x="240" y="196"/>
                    </a:moveTo>
                    <a:lnTo>
                      <a:pt x="248" y="202"/>
                    </a:lnTo>
                    <a:lnTo>
                      <a:pt x="258" y="210"/>
                    </a:lnTo>
                    <a:lnTo>
                      <a:pt x="264" y="220"/>
                    </a:lnTo>
                    <a:lnTo>
                      <a:pt x="266" y="230"/>
                    </a:lnTo>
                    <a:lnTo>
                      <a:pt x="266" y="232"/>
                    </a:lnTo>
                    <a:lnTo>
                      <a:pt x="264" y="234"/>
                    </a:lnTo>
                    <a:lnTo>
                      <a:pt x="262" y="236"/>
                    </a:lnTo>
                    <a:lnTo>
                      <a:pt x="260" y="240"/>
                    </a:lnTo>
                    <a:lnTo>
                      <a:pt x="264" y="260"/>
                    </a:lnTo>
                    <a:lnTo>
                      <a:pt x="264" y="268"/>
                    </a:lnTo>
                    <a:lnTo>
                      <a:pt x="262" y="278"/>
                    </a:lnTo>
                    <a:lnTo>
                      <a:pt x="260" y="280"/>
                    </a:lnTo>
                    <a:lnTo>
                      <a:pt x="258" y="280"/>
                    </a:lnTo>
                    <a:lnTo>
                      <a:pt x="250" y="280"/>
                    </a:lnTo>
                    <a:lnTo>
                      <a:pt x="240" y="288"/>
                    </a:lnTo>
                    <a:lnTo>
                      <a:pt x="234" y="294"/>
                    </a:lnTo>
                    <a:lnTo>
                      <a:pt x="230" y="298"/>
                    </a:lnTo>
                    <a:lnTo>
                      <a:pt x="232" y="302"/>
                    </a:lnTo>
                    <a:lnTo>
                      <a:pt x="234" y="304"/>
                    </a:lnTo>
                    <a:lnTo>
                      <a:pt x="232" y="308"/>
                    </a:lnTo>
                    <a:lnTo>
                      <a:pt x="230" y="312"/>
                    </a:lnTo>
                    <a:lnTo>
                      <a:pt x="232" y="316"/>
                    </a:lnTo>
                    <a:lnTo>
                      <a:pt x="232" y="318"/>
                    </a:lnTo>
                    <a:lnTo>
                      <a:pt x="230" y="318"/>
                    </a:lnTo>
                    <a:lnTo>
                      <a:pt x="228" y="318"/>
                    </a:lnTo>
                    <a:lnTo>
                      <a:pt x="222" y="314"/>
                    </a:lnTo>
                    <a:lnTo>
                      <a:pt x="214" y="304"/>
                    </a:lnTo>
                    <a:lnTo>
                      <a:pt x="206" y="290"/>
                    </a:lnTo>
                    <a:lnTo>
                      <a:pt x="202" y="284"/>
                    </a:lnTo>
                    <a:lnTo>
                      <a:pt x="202" y="280"/>
                    </a:lnTo>
                    <a:lnTo>
                      <a:pt x="204" y="268"/>
                    </a:lnTo>
                    <a:lnTo>
                      <a:pt x="208" y="258"/>
                    </a:lnTo>
                    <a:lnTo>
                      <a:pt x="214" y="248"/>
                    </a:lnTo>
                    <a:lnTo>
                      <a:pt x="216" y="236"/>
                    </a:lnTo>
                    <a:lnTo>
                      <a:pt x="214" y="224"/>
                    </a:lnTo>
                    <a:lnTo>
                      <a:pt x="210" y="212"/>
                    </a:lnTo>
                    <a:lnTo>
                      <a:pt x="206" y="206"/>
                    </a:lnTo>
                    <a:lnTo>
                      <a:pt x="202" y="202"/>
                    </a:lnTo>
                    <a:lnTo>
                      <a:pt x="198" y="198"/>
                    </a:lnTo>
                    <a:lnTo>
                      <a:pt x="192" y="198"/>
                    </a:lnTo>
                    <a:lnTo>
                      <a:pt x="186" y="200"/>
                    </a:lnTo>
                    <a:lnTo>
                      <a:pt x="182" y="202"/>
                    </a:lnTo>
                    <a:lnTo>
                      <a:pt x="178" y="206"/>
                    </a:lnTo>
                    <a:lnTo>
                      <a:pt x="172" y="208"/>
                    </a:lnTo>
                    <a:lnTo>
                      <a:pt x="170" y="206"/>
                    </a:lnTo>
                    <a:lnTo>
                      <a:pt x="166" y="204"/>
                    </a:lnTo>
                    <a:lnTo>
                      <a:pt x="160" y="196"/>
                    </a:lnTo>
                    <a:lnTo>
                      <a:pt x="152" y="182"/>
                    </a:lnTo>
                    <a:lnTo>
                      <a:pt x="114" y="196"/>
                    </a:lnTo>
                    <a:lnTo>
                      <a:pt x="76" y="208"/>
                    </a:lnTo>
                    <a:lnTo>
                      <a:pt x="50" y="214"/>
                    </a:lnTo>
                    <a:lnTo>
                      <a:pt x="26" y="224"/>
                    </a:lnTo>
                    <a:lnTo>
                      <a:pt x="14" y="228"/>
                    </a:lnTo>
                    <a:lnTo>
                      <a:pt x="6" y="232"/>
                    </a:lnTo>
                    <a:lnTo>
                      <a:pt x="0" y="234"/>
                    </a:lnTo>
                    <a:lnTo>
                      <a:pt x="0" y="240"/>
                    </a:lnTo>
                    <a:lnTo>
                      <a:pt x="2" y="246"/>
                    </a:lnTo>
                    <a:lnTo>
                      <a:pt x="4" y="254"/>
                    </a:lnTo>
                    <a:lnTo>
                      <a:pt x="6" y="264"/>
                    </a:lnTo>
                    <a:lnTo>
                      <a:pt x="10" y="264"/>
                    </a:lnTo>
                    <a:lnTo>
                      <a:pt x="10" y="288"/>
                    </a:lnTo>
                    <a:lnTo>
                      <a:pt x="52" y="288"/>
                    </a:lnTo>
                    <a:lnTo>
                      <a:pt x="54" y="292"/>
                    </a:lnTo>
                    <a:lnTo>
                      <a:pt x="58" y="296"/>
                    </a:lnTo>
                    <a:lnTo>
                      <a:pt x="68" y="302"/>
                    </a:lnTo>
                    <a:lnTo>
                      <a:pt x="94" y="312"/>
                    </a:lnTo>
                    <a:lnTo>
                      <a:pt x="106" y="318"/>
                    </a:lnTo>
                    <a:lnTo>
                      <a:pt x="116" y="326"/>
                    </a:lnTo>
                    <a:lnTo>
                      <a:pt x="120" y="330"/>
                    </a:lnTo>
                    <a:lnTo>
                      <a:pt x="124" y="336"/>
                    </a:lnTo>
                    <a:lnTo>
                      <a:pt x="126" y="344"/>
                    </a:lnTo>
                    <a:lnTo>
                      <a:pt x="126" y="352"/>
                    </a:lnTo>
                    <a:lnTo>
                      <a:pt x="126" y="364"/>
                    </a:lnTo>
                    <a:lnTo>
                      <a:pt x="124" y="374"/>
                    </a:lnTo>
                    <a:lnTo>
                      <a:pt x="118" y="396"/>
                    </a:lnTo>
                    <a:lnTo>
                      <a:pt x="112" y="416"/>
                    </a:lnTo>
                    <a:lnTo>
                      <a:pt x="110" y="426"/>
                    </a:lnTo>
                    <a:lnTo>
                      <a:pt x="108" y="434"/>
                    </a:lnTo>
                    <a:lnTo>
                      <a:pt x="110" y="444"/>
                    </a:lnTo>
                    <a:lnTo>
                      <a:pt x="114" y="452"/>
                    </a:lnTo>
                    <a:lnTo>
                      <a:pt x="116" y="460"/>
                    </a:lnTo>
                    <a:lnTo>
                      <a:pt x="118" y="468"/>
                    </a:lnTo>
                    <a:lnTo>
                      <a:pt x="118" y="474"/>
                    </a:lnTo>
                    <a:lnTo>
                      <a:pt x="114" y="480"/>
                    </a:lnTo>
                    <a:lnTo>
                      <a:pt x="106" y="490"/>
                    </a:lnTo>
                    <a:lnTo>
                      <a:pt x="96" y="502"/>
                    </a:lnTo>
                    <a:lnTo>
                      <a:pt x="90" y="512"/>
                    </a:lnTo>
                    <a:lnTo>
                      <a:pt x="88" y="520"/>
                    </a:lnTo>
                    <a:lnTo>
                      <a:pt x="88" y="526"/>
                    </a:lnTo>
                    <a:lnTo>
                      <a:pt x="86" y="532"/>
                    </a:lnTo>
                    <a:lnTo>
                      <a:pt x="84" y="540"/>
                    </a:lnTo>
                    <a:lnTo>
                      <a:pt x="56" y="566"/>
                    </a:lnTo>
                    <a:lnTo>
                      <a:pt x="40" y="582"/>
                    </a:lnTo>
                    <a:lnTo>
                      <a:pt x="30" y="590"/>
                    </a:lnTo>
                    <a:lnTo>
                      <a:pt x="32" y="600"/>
                    </a:lnTo>
                    <a:lnTo>
                      <a:pt x="34" y="610"/>
                    </a:lnTo>
                    <a:lnTo>
                      <a:pt x="38" y="630"/>
                    </a:lnTo>
                    <a:lnTo>
                      <a:pt x="38" y="638"/>
                    </a:lnTo>
                    <a:lnTo>
                      <a:pt x="44" y="646"/>
                    </a:lnTo>
                    <a:lnTo>
                      <a:pt x="48" y="658"/>
                    </a:lnTo>
                    <a:lnTo>
                      <a:pt x="52" y="672"/>
                    </a:lnTo>
                    <a:lnTo>
                      <a:pt x="54" y="686"/>
                    </a:lnTo>
                    <a:lnTo>
                      <a:pt x="54" y="706"/>
                    </a:lnTo>
                    <a:lnTo>
                      <a:pt x="52" y="718"/>
                    </a:lnTo>
                    <a:lnTo>
                      <a:pt x="50" y="728"/>
                    </a:lnTo>
                    <a:lnTo>
                      <a:pt x="50" y="752"/>
                    </a:lnTo>
                    <a:lnTo>
                      <a:pt x="46" y="756"/>
                    </a:lnTo>
                    <a:lnTo>
                      <a:pt x="50" y="764"/>
                    </a:lnTo>
                    <a:lnTo>
                      <a:pt x="52" y="768"/>
                    </a:lnTo>
                    <a:lnTo>
                      <a:pt x="52" y="770"/>
                    </a:lnTo>
                    <a:lnTo>
                      <a:pt x="52" y="784"/>
                    </a:lnTo>
                    <a:lnTo>
                      <a:pt x="52" y="794"/>
                    </a:lnTo>
                    <a:lnTo>
                      <a:pt x="56" y="802"/>
                    </a:lnTo>
                    <a:lnTo>
                      <a:pt x="58" y="804"/>
                    </a:lnTo>
                    <a:lnTo>
                      <a:pt x="62" y="808"/>
                    </a:lnTo>
                    <a:lnTo>
                      <a:pt x="72" y="810"/>
                    </a:lnTo>
                    <a:lnTo>
                      <a:pt x="80" y="808"/>
                    </a:lnTo>
                    <a:lnTo>
                      <a:pt x="86" y="806"/>
                    </a:lnTo>
                    <a:lnTo>
                      <a:pt x="88" y="802"/>
                    </a:lnTo>
                    <a:lnTo>
                      <a:pt x="90" y="798"/>
                    </a:lnTo>
                    <a:lnTo>
                      <a:pt x="94" y="786"/>
                    </a:lnTo>
                    <a:lnTo>
                      <a:pt x="96" y="776"/>
                    </a:lnTo>
                    <a:lnTo>
                      <a:pt x="90" y="774"/>
                    </a:lnTo>
                    <a:lnTo>
                      <a:pt x="86" y="772"/>
                    </a:lnTo>
                    <a:lnTo>
                      <a:pt x="86" y="766"/>
                    </a:lnTo>
                    <a:lnTo>
                      <a:pt x="86" y="762"/>
                    </a:lnTo>
                    <a:lnTo>
                      <a:pt x="88" y="758"/>
                    </a:lnTo>
                    <a:lnTo>
                      <a:pt x="94" y="752"/>
                    </a:lnTo>
                    <a:lnTo>
                      <a:pt x="108" y="740"/>
                    </a:lnTo>
                    <a:lnTo>
                      <a:pt x="120" y="732"/>
                    </a:lnTo>
                    <a:lnTo>
                      <a:pt x="132" y="726"/>
                    </a:lnTo>
                    <a:lnTo>
                      <a:pt x="162" y="716"/>
                    </a:lnTo>
                    <a:lnTo>
                      <a:pt x="178" y="710"/>
                    </a:lnTo>
                    <a:lnTo>
                      <a:pt x="194" y="704"/>
                    </a:lnTo>
                    <a:lnTo>
                      <a:pt x="206" y="694"/>
                    </a:lnTo>
                    <a:lnTo>
                      <a:pt x="218" y="684"/>
                    </a:lnTo>
                    <a:lnTo>
                      <a:pt x="220" y="678"/>
                    </a:lnTo>
                    <a:lnTo>
                      <a:pt x="222" y="674"/>
                    </a:lnTo>
                    <a:lnTo>
                      <a:pt x="224" y="670"/>
                    </a:lnTo>
                    <a:lnTo>
                      <a:pt x="222" y="662"/>
                    </a:lnTo>
                    <a:lnTo>
                      <a:pt x="220" y="648"/>
                    </a:lnTo>
                    <a:lnTo>
                      <a:pt x="222" y="638"/>
                    </a:lnTo>
                    <a:lnTo>
                      <a:pt x="224" y="632"/>
                    </a:lnTo>
                    <a:lnTo>
                      <a:pt x="226" y="622"/>
                    </a:lnTo>
                    <a:lnTo>
                      <a:pt x="226" y="612"/>
                    </a:lnTo>
                    <a:lnTo>
                      <a:pt x="228" y="604"/>
                    </a:lnTo>
                    <a:lnTo>
                      <a:pt x="230" y="594"/>
                    </a:lnTo>
                    <a:lnTo>
                      <a:pt x="230" y="586"/>
                    </a:lnTo>
                    <a:lnTo>
                      <a:pt x="224" y="586"/>
                    </a:lnTo>
                    <a:lnTo>
                      <a:pt x="224" y="562"/>
                    </a:lnTo>
                    <a:lnTo>
                      <a:pt x="220" y="554"/>
                    </a:lnTo>
                    <a:lnTo>
                      <a:pt x="218" y="546"/>
                    </a:lnTo>
                    <a:lnTo>
                      <a:pt x="218" y="528"/>
                    </a:lnTo>
                    <a:lnTo>
                      <a:pt x="216" y="522"/>
                    </a:lnTo>
                    <a:lnTo>
                      <a:pt x="216" y="520"/>
                    </a:lnTo>
                    <a:lnTo>
                      <a:pt x="210" y="512"/>
                    </a:lnTo>
                    <a:lnTo>
                      <a:pt x="204" y="506"/>
                    </a:lnTo>
                    <a:lnTo>
                      <a:pt x="204" y="504"/>
                    </a:lnTo>
                    <a:lnTo>
                      <a:pt x="202" y="500"/>
                    </a:lnTo>
                    <a:lnTo>
                      <a:pt x="202" y="494"/>
                    </a:lnTo>
                    <a:lnTo>
                      <a:pt x="206" y="478"/>
                    </a:lnTo>
                    <a:lnTo>
                      <a:pt x="208" y="474"/>
                    </a:lnTo>
                    <a:lnTo>
                      <a:pt x="214" y="470"/>
                    </a:lnTo>
                    <a:lnTo>
                      <a:pt x="220" y="466"/>
                    </a:lnTo>
                    <a:lnTo>
                      <a:pt x="226" y="460"/>
                    </a:lnTo>
                    <a:lnTo>
                      <a:pt x="246" y="446"/>
                    </a:lnTo>
                    <a:lnTo>
                      <a:pt x="266" y="432"/>
                    </a:lnTo>
                    <a:lnTo>
                      <a:pt x="286" y="418"/>
                    </a:lnTo>
                    <a:lnTo>
                      <a:pt x="302" y="404"/>
                    </a:lnTo>
                    <a:lnTo>
                      <a:pt x="336" y="370"/>
                    </a:lnTo>
                    <a:lnTo>
                      <a:pt x="346" y="364"/>
                    </a:lnTo>
                    <a:lnTo>
                      <a:pt x="354" y="358"/>
                    </a:lnTo>
                    <a:lnTo>
                      <a:pt x="376" y="346"/>
                    </a:lnTo>
                    <a:lnTo>
                      <a:pt x="400" y="338"/>
                    </a:lnTo>
                    <a:lnTo>
                      <a:pt x="422" y="328"/>
                    </a:lnTo>
                    <a:lnTo>
                      <a:pt x="440" y="318"/>
                    </a:lnTo>
                    <a:lnTo>
                      <a:pt x="452" y="310"/>
                    </a:lnTo>
                    <a:lnTo>
                      <a:pt x="458" y="306"/>
                    </a:lnTo>
                    <a:lnTo>
                      <a:pt x="462" y="296"/>
                    </a:lnTo>
                    <a:lnTo>
                      <a:pt x="468" y="288"/>
                    </a:lnTo>
                    <a:lnTo>
                      <a:pt x="474" y="282"/>
                    </a:lnTo>
                    <a:lnTo>
                      <a:pt x="484" y="276"/>
                    </a:lnTo>
                    <a:lnTo>
                      <a:pt x="500" y="250"/>
                    </a:lnTo>
                    <a:lnTo>
                      <a:pt x="508" y="236"/>
                    </a:lnTo>
                    <a:lnTo>
                      <a:pt x="510" y="228"/>
                    </a:lnTo>
                    <a:lnTo>
                      <a:pt x="510" y="218"/>
                    </a:lnTo>
                    <a:lnTo>
                      <a:pt x="510" y="208"/>
                    </a:lnTo>
                    <a:lnTo>
                      <a:pt x="506" y="198"/>
                    </a:lnTo>
                    <a:lnTo>
                      <a:pt x="502" y="188"/>
                    </a:lnTo>
                    <a:lnTo>
                      <a:pt x="502" y="176"/>
                    </a:lnTo>
                    <a:lnTo>
                      <a:pt x="504" y="156"/>
                    </a:lnTo>
                    <a:lnTo>
                      <a:pt x="504" y="136"/>
                    </a:lnTo>
                    <a:lnTo>
                      <a:pt x="504" y="122"/>
                    </a:lnTo>
                    <a:lnTo>
                      <a:pt x="502" y="110"/>
                    </a:lnTo>
                    <a:lnTo>
                      <a:pt x="500" y="98"/>
                    </a:lnTo>
                    <a:lnTo>
                      <a:pt x="498" y="82"/>
                    </a:lnTo>
                    <a:lnTo>
                      <a:pt x="500" y="70"/>
                    </a:lnTo>
                    <a:lnTo>
                      <a:pt x="500" y="60"/>
                    </a:lnTo>
                    <a:lnTo>
                      <a:pt x="504" y="38"/>
                    </a:lnTo>
                    <a:lnTo>
                      <a:pt x="504" y="18"/>
                    </a:lnTo>
                    <a:lnTo>
                      <a:pt x="500" y="14"/>
                    </a:lnTo>
                    <a:lnTo>
                      <a:pt x="498" y="10"/>
                    </a:lnTo>
                    <a:lnTo>
                      <a:pt x="496" y="4"/>
                    </a:lnTo>
                    <a:lnTo>
                      <a:pt x="492" y="0"/>
                    </a:lnTo>
                    <a:lnTo>
                      <a:pt x="486" y="8"/>
                    </a:lnTo>
                    <a:lnTo>
                      <a:pt x="478" y="16"/>
                    </a:lnTo>
                    <a:lnTo>
                      <a:pt x="468" y="24"/>
                    </a:lnTo>
                    <a:lnTo>
                      <a:pt x="454" y="32"/>
                    </a:lnTo>
                    <a:lnTo>
                      <a:pt x="442" y="36"/>
                    </a:lnTo>
                    <a:lnTo>
                      <a:pt x="428" y="42"/>
                    </a:lnTo>
                    <a:lnTo>
                      <a:pt x="416" y="44"/>
                    </a:lnTo>
                    <a:lnTo>
                      <a:pt x="404" y="46"/>
                    </a:lnTo>
                    <a:lnTo>
                      <a:pt x="386" y="46"/>
                    </a:lnTo>
                    <a:lnTo>
                      <a:pt x="380" y="46"/>
                    </a:lnTo>
                    <a:lnTo>
                      <a:pt x="374" y="48"/>
                    </a:lnTo>
                    <a:lnTo>
                      <a:pt x="362" y="54"/>
                    </a:lnTo>
                    <a:lnTo>
                      <a:pt x="348" y="62"/>
                    </a:lnTo>
                    <a:lnTo>
                      <a:pt x="340" y="64"/>
                    </a:lnTo>
                    <a:lnTo>
                      <a:pt x="332" y="64"/>
                    </a:lnTo>
                    <a:lnTo>
                      <a:pt x="314" y="64"/>
                    </a:lnTo>
                    <a:lnTo>
                      <a:pt x="296" y="60"/>
                    </a:lnTo>
                    <a:lnTo>
                      <a:pt x="288" y="54"/>
                    </a:lnTo>
                    <a:lnTo>
                      <a:pt x="282" y="52"/>
                    </a:lnTo>
                    <a:lnTo>
                      <a:pt x="276" y="50"/>
                    </a:lnTo>
                    <a:lnTo>
                      <a:pt x="268" y="52"/>
                    </a:lnTo>
                    <a:lnTo>
                      <a:pt x="256" y="56"/>
                    </a:lnTo>
                    <a:lnTo>
                      <a:pt x="234" y="64"/>
                    </a:lnTo>
                    <a:lnTo>
                      <a:pt x="236" y="68"/>
                    </a:lnTo>
                    <a:lnTo>
                      <a:pt x="238" y="72"/>
                    </a:lnTo>
                    <a:lnTo>
                      <a:pt x="236" y="80"/>
                    </a:lnTo>
                    <a:lnTo>
                      <a:pt x="232" y="86"/>
                    </a:lnTo>
                    <a:lnTo>
                      <a:pt x="224" y="98"/>
                    </a:lnTo>
                    <a:lnTo>
                      <a:pt x="224" y="104"/>
                    </a:lnTo>
                    <a:lnTo>
                      <a:pt x="224" y="112"/>
                    </a:lnTo>
                    <a:lnTo>
                      <a:pt x="226" y="126"/>
                    </a:lnTo>
                    <a:lnTo>
                      <a:pt x="226" y="152"/>
                    </a:lnTo>
                    <a:lnTo>
                      <a:pt x="226" y="158"/>
                    </a:lnTo>
                    <a:lnTo>
                      <a:pt x="228" y="164"/>
                    </a:lnTo>
                    <a:lnTo>
                      <a:pt x="234" y="172"/>
                    </a:lnTo>
                    <a:lnTo>
                      <a:pt x="240" y="178"/>
                    </a:lnTo>
                    <a:lnTo>
                      <a:pt x="240" y="182"/>
                    </a:lnTo>
                    <a:lnTo>
                      <a:pt x="242" y="188"/>
                    </a:lnTo>
                    <a:lnTo>
                      <a:pt x="240" y="196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84" name="Freeform 22"/>
              <p:cNvSpPr>
                <a:spLocks/>
              </p:cNvSpPr>
              <p:nvPr/>
            </p:nvSpPr>
            <p:spPr bwMode="gray">
              <a:xfrm>
                <a:off x="4522788" y="4815682"/>
                <a:ext cx="642937" cy="617538"/>
              </a:xfrm>
              <a:custGeom>
                <a:avLst/>
                <a:gdLst>
                  <a:gd name="T0" fmla="*/ 2147483647 w 444"/>
                  <a:gd name="T1" fmla="*/ 2147483647 h 426"/>
                  <a:gd name="T2" fmla="*/ 2147483647 w 444"/>
                  <a:gd name="T3" fmla="*/ 2147483647 h 426"/>
                  <a:gd name="T4" fmla="*/ 2147483647 w 444"/>
                  <a:gd name="T5" fmla="*/ 2147483647 h 426"/>
                  <a:gd name="T6" fmla="*/ 2147483647 w 444"/>
                  <a:gd name="T7" fmla="*/ 2147483647 h 426"/>
                  <a:gd name="T8" fmla="*/ 2147483647 w 444"/>
                  <a:gd name="T9" fmla="*/ 2147483647 h 426"/>
                  <a:gd name="T10" fmla="*/ 2147483647 w 444"/>
                  <a:gd name="T11" fmla="*/ 2147483647 h 426"/>
                  <a:gd name="T12" fmla="*/ 2147483647 w 444"/>
                  <a:gd name="T13" fmla="*/ 2147483647 h 426"/>
                  <a:gd name="T14" fmla="*/ 2147483647 w 444"/>
                  <a:gd name="T15" fmla="*/ 2147483647 h 426"/>
                  <a:gd name="T16" fmla="*/ 2147483647 w 444"/>
                  <a:gd name="T17" fmla="*/ 2147483647 h 426"/>
                  <a:gd name="T18" fmla="*/ 2147483647 w 444"/>
                  <a:gd name="T19" fmla="*/ 2147483647 h 426"/>
                  <a:gd name="T20" fmla="*/ 2147483647 w 444"/>
                  <a:gd name="T21" fmla="*/ 2147483647 h 426"/>
                  <a:gd name="T22" fmla="*/ 2147483647 w 444"/>
                  <a:gd name="T23" fmla="*/ 2147483647 h 426"/>
                  <a:gd name="T24" fmla="*/ 2147483647 w 444"/>
                  <a:gd name="T25" fmla="*/ 2147483647 h 426"/>
                  <a:gd name="T26" fmla="*/ 2147483647 w 444"/>
                  <a:gd name="T27" fmla="*/ 2147483647 h 426"/>
                  <a:gd name="T28" fmla="*/ 2147483647 w 444"/>
                  <a:gd name="T29" fmla="*/ 2147483647 h 426"/>
                  <a:gd name="T30" fmla="*/ 2147483647 w 444"/>
                  <a:gd name="T31" fmla="*/ 2147483647 h 426"/>
                  <a:gd name="T32" fmla="*/ 2147483647 w 444"/>
                  <a:gd name="T33" fmla="*/ 2147483647 h 426"/>
                  <a:gd name="T34" fmla="*/ 2147483647 w 444"/>
                  <a:gd name="T35" fmla="*/ 2147483647 h 426"/>
                  <a:gd name="T36" fmla="*/ 2147483647 w 444"/>
                  <a:gd name="T37" fmla="*/ 2147483647 h 426"/>
                  <a:gd name="T38" fmla="*/ 2147483647 w 444"/>
                  <a:gd name="T39" fmla="*/ 2147483647 h 426"/>
                  <a:gd name="T40" fmla="*/ 2147483647 w 444"/>
                  <a:gd name="T41" fmla="*/ 2147483647 h 426"/>
                  <a:gd name="T42" fmla="*/ 2147483647 w 444"/>
                  <a:gd name="T43" fmla="*/ 2147483647 h 426"/>
                  <a:gd name="T44" fmla="*/ 2147483647 w 444"/>
                  <a:gd name="T45" fmla="*/ 2147483647 h 426"/>
                  <a:gd name="T46" fmla="*/ 2147483647 w 444"/>
                  <a:gd name="T47" fmla="*/ 2147483647 h 426"/>
                  <a:gd name="T48" fmla="*/ 2147483647 w 444"/>
                  <a:gd name="T49" fmla="*/ 2147483647 h 426"/>
                  <a:gd name="T50" fmla="*/ 2147483647 w 444"/>
                  <a:gd name="T51" fmla="*/ 2147483647 h 426"/>
                  <a:gd name="T52" fmla="*/ 2147483647 w 444"/>
                  <a:gd name="T53" fmla="*/ 2147483647 h 426"/>
                  <a:gd name="T54" fmla="*/ 2147483647 w 444"/>
                  <a:gd name="T55" fmla="*/ 2147483647 h 426"/>
                  <a:gd name="T56" fmla="*/ 2147483647 w 444"/>
                  <a:gd name="T57" fmla="*/ 2147483647 h 426"/>
                  <a:gd name="T58" fmla="*/ 2147483647 w 444"/>
                  <a:gd name="T59" fmla="*/ 2147483647 h 426"/>
                  <a:gd name="T60" fmla="*/ 2147483647 w 444"/>
                  <a:gd name="T61" fmla="*/ 2147483647 h 426"/>
                  <a:gd name="T62" fmla="*/ 2147483647 w 444"/>
                  <a:gd name="T63" fmla="*/ 2147483647 h 426"/>
                  <a:gd name="T64" fmla="*/ 2147483647 w 444"/>
                  <a:gd name="T65" fmla="*/ 2147483647 h 426"/>
                  <a:gd name="T66" fmla="*/ 2147483647 w 444"/>
                  <a:gd name="T67" fmla="*/ 2147483647 h 426"/>
                  <a:gd name="T68" fmla="*/ 2147483647 w 444"/>
                  <a:gd name="T69" fmla="*/ 2147483647 h 426"/>
                  <a:gd name="T70" fmla="*/ 2147483647 w 444"/>
                  <a:gd name="T71" fmla="*/ 2147483647 h 426"/>
                  <a:gd name="T72" fmla="*/ 2147483647 w 444"/>
                  <a:gd name="T73" fmla="*/ 2147483647 h 426"/>
                  <a:gd name="T74" fmla="*/ 2147483647 w 444"/>
                  <a:gd name="T75" fmla="*/ 2147483647 h 426"/>
                  <a:gd name="T76" fmla="*/ 2147483647 w 444"/>
                  <a:gd name="T77" fmla="*/ 2147483647 h 426"/>
                  <a:gd name="T78" fmla="*/ 2147483647 w 444"/>
                  <a:gd name="T79" fmla="*/ 2147483647 h 426"/>
                  <a:gd name="T80" fmla="*/ 2147483647 w 444"/>
                  <a:gd name="T81" fmla="*/ 2147483647 h 426"/>
                  <a:gd name="T82" fmla="*/ 2147483647 w 444"/>
                  <a:gd name="T83" fmla="*/ 2147483647 h 426"/>
                  <a:gd name="T84" fmla="*/ 2147483647 w 444"/>
                  <a:gd name="T85" fmla="*/ 2147483647 h 426"/>
                  <a:gd name="T86" fmla="*/ 2147483647 w 444"/>
                  <a:gd name="T87" fmla="*/ 2147483647 h 426"/>
                  <a:gd name="T88" fmla="*/ 2147483647 w 444"/>
                  <a:gd name="T89" fmla="*/ 2147483647 h 426"/>
                  <a:gd name="T90" fmla="*/ 2147483647 w 444"/>
                  <a:gd name="T91" fmla="*/ 2147483647 h 426"/>
                  <a:gd name="T92" fmla="*/ 2147483647 w 444"/>
                  <a:gd name="T93" fmla="*/ 2147483647 h 426"/>
                  <a:gd name="T94" fmla="*/ 0 w 444"/>
                  <a:gd name="T95" fmla="*/ 2147483647 h 426"/>
                  <a:gd name="T96" fmla="*/ 2147483647 w 444"/>
                  <a:gd name="T97" fmla="*/ 2147483647 h 426"/>
                  <a:gd name="T98" fmla="*/ 2147483647 w 444"/>
                  <a:gd name="T99" fmla="*/ 2147483647 h 426"/>
                  <a:gd name="T100" fmla="*/ 2147483647 w 444"/>
                  <a:gd name="T101" fmla="*/ 2147483647 h 426"/>
                  <a:gd name="T102" fmla="*/ 2147483647 w 444"/>
                  <a:gd name="T103" fmla="*/ 2147483647 h 426"/>
                  <a:gd name="T104" fmla="*/ 2147483647 w 444"/>
                  <a:gd name="T105" fmla="*/ 0 h 426"/>
                  <a:gd name="T106" fmla="*/ 2147483647 w 444"/>
                  <a:gd name="T107" fmla="*/ 0 h 42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4"/>
                  <a:gd name="T163" fmla="*/ 0 h 426"/>
                  <a:gd name="T164" fmla="*/ 444 w 444"/>
                  <a:gd name="T165" fmla="*/ 426 h 42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4" h="426">
                    <a:moveTo>
                      <a:pt x="264" y="0"/>
                    </a:moveTo>
                    <a:lnTo>
                      <a:pt x="264" y="8"/>
                    </a:lnTo>
                    <a:lnTo>
                      <a:pt x="268" y="16"/>
                    </a:lnTo>
                    <a:lnTo>
                      <a:pt x="276" y="30"/>
                    </a:lnTo>
                    <a:lnTo>
                      <a:pt x="288" y="44"/>
                    </a:lnTo>
                    <a:lnTo>
                      <a:pt x="292" y="52"/>
                    </a:lnTo>
                    <a:lnTo>
                      <a:pt x="296" y="60"/>
                    </a:lnTo>
                    <a:lnTo>
                      <a:pt x="298" y="72"/>
                    </a:lnTo>
                    <a:lnTo>
                      <a:pt x="302" y="78"/>
                    </a:lnTo>
                    <a:lnTo>
                      <a:pt x="306" y="82"/>
                    </a:lnTo>
                    <a:lnTo>
                      <a:pt x="316" y="86"/>
                    </a:lnTo>
                    <a:lnTo>
                      <a:pt x="326" y="90"/>
                    </a:lnTo>
                    <a:lnTo>
                      <a:pt x="336" y="94"/>
                    </a:lnTo>
                    <a:lnTo>
                      <a:pt x="346" y="100"/>
                    </a:lnTo>
                    <a:lnTo>
                      <a:pt x="350" y="104"/>
                    </a:lnTo>
                    <a:lnTo>
                      <a:pt x="352" y="110"/>
                    </a:lnTo>
                    <a:lnTo>
                      <a:pt x="356" y="114"/>
                    </a:lnTo>
                    <a:lnTo>
                      <a:pt x="360" y="118"/>
                    </a:lnTo>
                    <a:lnTo>
                      <a:pt x="366" y="122"/>
                    </a:lnTo>
                    <a:lnTo>
                      <a:pt x="368" y="126"/>
                    </a:lnTo>
                    <a:lnTo>
                      <a:pt x="370" y="130"/>
                    </a:lnTo>
                    <a:lnTo>
                      <a:pt x="370" y="136"/>
                    </a:lnTo>
                    <a:lnTo>
                      <a:pt x="370" y="150"/>
                    </a:lnTo>
                    <a:lnTo>
                      <a:pt x="370" y="156"/>
                    </a:lnTo>
                    <a:lnTo>
                      <a:pt x="372" y="164"/>
                    </a:lnTo>
                    <a:lnTo>
                      <a:pt x="378" y="168"/>
                    </a:lnTo>
                    <a:lnTo>
                      <a:pt x="386" y="174"/>
                    </a:lnTo>
                    <a:lnTo>
                      <a:pt x="404" y="180"/>
                    </a:lnTo>
                    <a:lnTo>
                      <a:pt x="416" y="186"/>
                    </a:lnTo>
                    <a:lnTo>
                      <a:pt x="424" y="192"/>
                    </a:lnTo>
                    <a:lnTo>
                      <a:pt x="434" y="198"/>
                    </a:lnTo>
                    <a:lnTo>
                      <a:pt x="444" y="204"/>
                    </a:lnTo>
                    <a:lnTo>
                      <a:pt x="426" y="218"/>
                    </a:lnTo>
                    <a:lnTo>
                      <a:pt x="416" y="224"/>
                    </a:lnTo>
                    <a:lnTo>
                      <a:pt x="408" y="228"/>
                    </a:lnTo>
                    <a:lnTo>
                      <a:pt x="396" y="228"/>
                    </a:lnTo>
                    <a:lnTo>
                      <a:pt x="390" y="228"/>
                    </a:lnTo>
                    <a:lnTo>
                      <a:pt x="386" y="230"/>
                    </a:lnTo>
                    <a:lnTo>
                      <a:pt x="376" y="238"/>
                    </a:lnTo>
                    <a:lnTo>
                      <a:pt x="368" y="246"/>
                    </a:lnTo>
                    <a:lnTo>
                      <a:pt x="362" y="256"/>
                    </a:lnTo>
                    <a:lnTo>
                      <a:pt x="354" y="266"/>
                    </a:lnTo>
                    <a:lnTo>
                      <a:pt x="348" y="270"/>
                    </a:lnTo>
                    <a:lnTo>
                      <a:pt x="342" y="272"/>
                    </a:lnTo>
                    <a:lnTo>
                      <a:pt x="336" y="276"/>
                    </a:lnTo>
                    <a:lnTo>
                      <a:pt x="330" y="282"/>
                    </a:lnTo>
                    <a:lnTo>
                      <a:pt x="322" y="294"/>
                    </a:lnTo>
                    <a:lnTo>
                      <a:pt x="316" y="306"/>
                    </a:lnTo>
                    <a:lnTo>
                      <a:pt x="308" y="316"/>
                    </a:lnTo>
                    <a:lnTo>
                      <a:pt x="302" y="320"/>
                    </a:lnTo>
                    <a:lnTo>
                      <a:pt x="296" y="326"/>
                    </a:lnTo>
                    <a:lnTo>
                      <a:pt x="290" y="326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32"/>
                    </a:lnTo>
                    <a:lnTo>
                      <a:pt x="270" y="348"/>
                    </a:lnTo>
                    <a:lnTo>
                      <a:pt x="264" y="362"/>
                    </a:lnTo>
                    <a:lnTo>
                      <a:pt x="260" y="366"/>
                    </a:lnTo>
                    <a:lnTo>
                      <a:pt x="254" y="370"/>
                    </a:lnTo>
                    <a:lnTo>
                      <a:pt x="248" y="372"/>
                    </a:lnTo>
                    <a:lnTo>
                      <a:pt x="240" y="374"/>
                    </a:lnTo>
                    <a:lnTo>
                      <a:pt x="182" y="374"/>
                    </a:lnTo>
                    <a:lnTo>
                      <a:pt x="174" y="370"/>
                    </a:lnTo>
                    <a:lnTo>
                      <a:pt x="168" y="364"/>
                    </a:lnTo>
                    <a:lnTo>
                      <a:pt x="160" y="358"/>
                    </a:lnTo>
                    <a:lnTo>
                      <a:pt x="154" y="356"/>
                    </a:lnTo>
                    <a:lnTo>
                      <a:pt x="150" y="356"/>
                    </a:lnTo>
                    <a:lnTo>
                      <a:pt x="142" y="356"/>
                    </a:lnTo>
                    <a:lnTo>
                      <a:pt x="138" y="360"/>
                    </a:lnTo>
                    <a:lnTo>
                      <a:pt x="134" y="364"/>
                    </a:lnTo>
                    <a:lnTo>
                      <a:pt x="132" y="368"/>
                    </a:lnTo>
                    <a:lnTo>
                      <a:pt x="128" y="380"/>
                    </a:lnTo>
                    <a:lnTo>
                      <a:pt x="126" y="386"/>
                    </a:lnTo>
                    <a:lnTo>
                      <a:pt x="122" y="390"/>
                    </a:lnTo>
                    <a:lnTo>
                      <a:pt x="110" y="402"/>
                    </a:lnTo>
                    <a:lnTo>
                      <a:pt x="92" y="416"/>
                    </a:lnTo>
                    <a:lnTo>
                      <a:pt x="82" y="422"/>
                    </a:lnTo>
                    <a:lnTo>
                      <a:pt x="72" y="426"/>
                    </a:lnTo>
                    <a:lnTo>
                      <a:pt x="60" y="426"/>
                    </a:lnTo>
                    <a:lnTo>
                      <a:pt x="48" y="424"/>
                    </a:lnTo>
                    <a:lnTo>
                      <a:pt x="36" y="422"/>
                    </a:lnTo>
                    <a:lnTo>
                      <a:pt x="32" y="420"/>
                    </a:lnTo>
                    <a:lnTo>
                      <a:pt x="30" y="418"/>
                    </a:lnTo>
                    <a:lnTo>
                      <a:pt x="30" y="416"/>
                    </a:lnTo>
                    <a:lnTo>
                      <a:pt x="30" y="408"/>
                    </a:lnTo>
                    <a:lnTo>
                      <a:pt x="34" y="402"/>
                    </a:lnTo>
                    <a:lnTo>
                      <a:pt x="36" y="396"/>
                    </a:lnTo>
                    <a:lnTo>
                      <a:pt x="38" y="386"/>
                    </a:lnTo>
                    <a:lnTo>
                      <a:pt x="38" y="378"/>
                    </a:lnTo>
                    <a:lnTo>
                      <a:pt x="34" y="368"/>
                    </a:lnTo>
                    <a:lnTo>
                      <a:pt x="32" y="362"/>
                    </a:lnTo>
                    <a:lnTo>
                      <a:pt x="28" y="356"/>
                    </a:lnTo>
                    <a:lnTo>
                      <a:pt x="18" y="344"/>
                    </a:lnTo>
                    <a:lnTo>
                      <a:pt x="8" y="336"/>
                    </a:lnTo>
                    <a:lnTo>
                      <a:pt x="0" y="334"/>
                    </a:lnTo>
                    <a:lnTo>
                      <a:pt x="0" y="200"/>
                    </a:lnTo>
                    <a:lnTo>
                      <a:pt x="50" y="200"/>
                    </a:lnTo>
                    <a:lnTo>
                      <a:pt x="50" y="20"/>
                    </a:lnTo>
                    <a:lnTo>
                      <a:pt x="58" y="20"/>
                    </a:lnTo>
                    <a:lnTo>
                      <a:pt x="160" y="6"/>
                    </a:lnTo>
                    <a:lnTo>
                      <a:pt x="170" y="14"/>
                    </a:lnTo>
                    <a:lnTo>
                      <a:pt x="182" y="24"/>
                    </a:lnTo>
                    <a:lnTo>
                      <a:pt x="192" y="16"/>
                    </a:lnTo>
                    <a:lnTo>
                      <a:pt x="202" y="8"/>
                    </a:lnTo>
                    <a:lnTo>
                      <a:pt x="214" y="2"/>
                    </a:lnTo>
                    <a:lnTo>
                      <a:pt x="222" y="0"/>
                    </a:lnTo>
                    <a:lnTo>
                      <a:pt x="230" y="0"/>
                    </a:lnTo>
                    <a:lnTo>
                      <a:pt x="246" y="0"/>
                    </a:lnTo>
                    <a:lnTo>
                      <a:pt x="262" y="0"/>
                    </a:lnTo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85" name="Freeform 23"/>
              <p:cNvSpPr>
                <a:spLocks/>
              </p:cNvSpPr>
              <p:nvPr/>
            </p:nvSpPr>
            <p:spPr bwMode="gray">
              <a:xfrm>
                <a:off x="4673600" y="4137820"/>
                <a:ext cx="817563" cy="695325"/>
              </a:xfrm>
              <a:custGeom>
                <a:avLst/>
                <a:gdLst>
                  <a:gd name="T0" fmla="*/ 2147483647 w 564"/>
                  <a:gd name="T1" fmla="*/ 2147483647 h 480"/>
                  <a:gd name="T2" fmla="*/ 2147483647 w 564"/>
                  <a:gd name="T3" fmla="*/ 2147483647 h 480"/>
                  <a:gd name="T4" fmla="*/ 2147483647 w 564"/>
                  <a:gd name="T5" fmla="*/ 2147483647 h 480"/>
                  <a:gd name="T6" fmla="*/ 2147483647 w 564"/>
                  <a:gd name="T7" fmla="*/ 2147483647 h 480"/>
                  <a:gd name="T8" fmla="*/ 2147483647 w 564"/>
                  <a:gd name="T9" fmla="*/ 2147483647 h 480"/>
                  <a:gd name="T10" fmla="*/ 2147483647 w 564"/>
                  <a:gd name="T11" fmla="*/ 2147483647 h 480"/>
                  <a:gd name="T12" fmla="*/ 2147483647 w 564"/>
                  <a:gd name="T13" fmla="*/ 2147483647 h 480"/>
                  <a:gd name="T14" fmla="*/ 2147483647 w 564"/>
                  <a:gd name="T15" fmla="*/ 2147483647 h 480"/>
                  <a:gd name="T16" fmla="*/ 2147483647 w 564"/>
                  <a:gd name="T17" fmla="*/ 2147483647 h 480"/>
                  <a:gd name="T18" fmla="*/ 2147483647 w 564"/>
                  <a:gd name="T19" fmla="*/ 2147483647 h 480"/>
                  <a:gd name="T20" fmla="*/ 2147483647 w 564"/>
                  <a:gd name="T21" fmla="*/ 2147483647 h 480"/>
                  <a:gd name="T22" fmla="*/ 2147483647 w 564"/>
                  <a:gd name="T23" fmla="*/ 2147483647 h 480"/>
                  <a:gd name="T24" fmla="*/ 2147483647 w 564"/>
                  <a:gd name="T25" fmla="*/ 2147483647 h 480"/>
                  <a:gd name="T26" fmla="*/ 2147483647 w 564"/>
                  <a:gd name="T27" fmla="*/ 2147483647 h 480"/>
                  <a:gd name="T28" fmla="*/ 2147483647 w 564"/>
                  <a:gd name="T29" fmla="*/ 2147483647 h 480"/>
                  <a:gd name="T30" fmla="*/ 2147483647 w 564"/>
                  <a:gd name="T31" fmla="*/ 2147483647 h 480"/>
                  <a:gd name="T32" fmla="*/ 2147483647 w 564"/>
                  <a:gd name="T33" fmla="*/ 2147483647 h 480"/>
                  <a:gd name="T34" fmla="*/ 2147483647 w 564"/>
                  <a:gd name="T35" fmla="*/ 2147483647 h 480"/>
                  <a:gd name="T36" fmla="*/ 2147483647 w 564"/>
                  <a:gd name="T37" fmla="*/ 2147483647 h 480"/>
                  <a:gd name="T38" fmla="*/ 2147483647 w 564"/>
                  <a:gd name="T39" fmla="*/ 2147483647 h 480"/>
                  <a:gd name="T40" fmla="*/ 2147483647 w 564"/>
                  <a:gd name="T41" fmla="*/ 2147483647 h 480"/>
                  <a:gd name="T42" fmla="*/ 2147483647 w 564"/>
                  <a:gd name="T43" fmla="*/ 2147483647 h 480"/>
                  <a:gd name="T44" fmla="*/ 2147483647 w 564"/>
                  <a:gd name="T45" fmla="*/ 2147483647 h 480"/>
                  <a:gd name="T46" fmla="*/ 2147483647 w 564"/>
                  <a:gd name="T47" fmla="*/ 2147483647 h 480"/>
                  <a:gd name="T48" fmla="*/ 2147483647 w 564"/>
                  <a:gd name="T49" fmla="*/ 2147483647 h 480"/>
                  <a:gd name="T50" fmla="*/ 2147483647 w 564"/>
                  <a:gd name="T51" fmla="*/ 2147483647 h 480"/>
                  <a:gd name="T52" fmla="*/ 2147483647 w 564"/>
                  <a:gd name="T53" fmla="*/ 2147483647 h 480"/>
                  <a:gd name="T54" fmla="*/ 2147483647 w 564"/>
                  <a:gd name="T55" fmla="*/ 2147483647 h 480"/>
                  <a:gd name="T56" fmla="*/ 2147483647 w 564"/>
                  <a:gd name="T57" fmla="*/ 2147483647 h 480"/>
                  <a:gd name="T58" fmla="*/ 2147483647 w 564"/>
                  <a:gd name="T59" fmla="*/ 2147483647 h 480"/>
                  <a:gd name="T60" fmla="*/ 2147483647 w 564"/>
                  <a:gd name="T61" fmla="*/ 2147483647 h 480"/>
                  <a:gd name="T62" fmla="*/ 2147483647 w 564"/>
                  <a:gd name="T63" fmla="*/ 2147483647 h 480"/>
                  <a:gd name="T64" fmla="*/ 2147483647 w 564"/>
                  <a:gd name="T65" fmla="*/ 2147483647 h 480"/>
                  <a:gd name="T66" fmla="*/ 2147483647 w 564"/>
                  <a:gd name="T67" fmla="*/ 2147483647 h 480"/>
                  <a:gd name="T68" fmla="*/ 2147483647 w 564"/>
                  <a:gd name="T69" fmla="*/ 2147483647 h 480"/>
                  <a:gd name="T70" fmla="*/ 2147483647 w 564"/>
                  <a:gd name="T71" fmla="*/ 2147483647 h 480"/>
                  <a:gd name="T72" fmla="*/ 2147483647 w 564"/>
                  <a:gd name="T73" fmla="*/ 2147483647 h 480"/>
                  <a:gd name="T74" fmla="*/ 2147483647 w 564"/>
                  <a:gd name="T75" fmla="*/ 2147483647 h 480"/>
                  <a:gd name="T76" fmla="*/ 2147483647 w 564"/>
                  <a:gd name="T77" fmla="*/ 0 h 480"/>
                  <a:gd name="T78" fmla="*/ 2147483647 w 564"/>
                  <a:gd name="T79" fmla="*/ 2147483647 h 480"/>
                  <a:gd name="T80" fmla="*/ 2147483647 w 564"/>
                  <a:gd name="T81" fmla="*/ 2147483647 h 480"/>
                  <a:gd name="T82" fmla="*/ 2147483647 w 564"/>
                  <a:gd name="T83" fmla="*/ 2147483647 h 480"/>
                  <a:gd name="T84" fmla="*/ 2147483647 w 564"/>
                  <a:gd name="T85" fmla="*/ 2147483647 h 480"/>
                  <a:gd name="T86" fmla="*/ 2147483647 w 564"/>
                  <a:gd name="T87" fmla="*/ 2147483647 h 480"/>
                  <a:gd name="T88" fmla="*/ 2147483647 w 564"/>
                  <a:gd name="T89" fmla="*/ 2147483647 h 480"/>
                  <a:gd name="T90" fmla="*/ 2147483647 w 564"/>
                  <a:gd name="T91" fmla="*/ 2147483647 h 480"/>
                  <a:gd name="T92" fmla="*/ 2147483647 w 564"/>
                  <a:gd name="T93" fmla="*/ 2147483647 h 480"/>
                  <a:gd name="T94" fmla="*/ 2147483647 w 564"/>
                  <a:gd name="T95" fmla="*/ 2147483647 h 480"/>
                  <a:gd name="T96" fmla="*/ 2147483647 w 564"/>
                  <a:gd name="T97" fmla="*/ 2147483647 h 480"/>
                  <a:gd name="T98" fmla="*/ 2147483647 w 564"/>
                  <a:gd name="T99" fmla="*/ 2147483647 h 480"/>
                  <a:gd name="T100" fmla="*/ 2147483647 w 564"/>
                  <a:gd name="T101" fmla="*/ 2147483647 h 480"/>
                  <a:gd name="T102" fmla="*/ 2147483647 w 564"/>
                  <a:gd name="T103" fmla="*/ 2147483647 h 480"/>
                  <a:gd name="T104" fmla="*/ 2147483647 w 564"/>
                  <a:gd name="T105" fmla="*/ 2147483647 h 480"/>
                  <a:gd name="T106" fmla="*/ 2147483647 w 564"/>
                  <a:gd name="T107" fmla="*/ 2147483647 h 480"/>
                  <a:gd name="T108" fmla="*/ 2147483647 w 564"/>
                  <a:gd name="T109" fmla="*/ 2147483647 h 480"/>
                  <a:gd name="T110" fmla="*/ 2147483647 w 564"/>
                  <a:gd name="T111" fmla="*/ 2147483647 h 480"/>
                  <a:gd name="T112" fmla="*/ 2147483647 w 564"/>
                  <a:gd name="T113" fmla="*/ 2147483647 h 480"/>
                  <a:gd name="T114" fmla="*/ 2147483647 w 564"/>
                  <a:gd name="T115" fmla="*/ 2147483647 h 480"/>
                  <a:gd name="T116" fmla="*/ 2147483647 w 564"/>
                  <a:gd name="T117" fmla="*/ 2147483647 h 48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64"/>
                  <a:gd name="T178" fmla="*/ 0 h 480"/>
                  <a:gd name="T179" fmla="*/ 564 w 564"/>
                  <a:gd name="T180" fmla="*/ 480 h 48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64" h="480">
                    <a:moveTo>
                      <a:pt x="386" y="360"/>
                    </a:moveTo>
                    <a:lnTo>
                      <a:pt x="368" y="360"/>
                    </a:lnTo>
                    <a:lnTo>
                      <a:pt x="352" y="366"/>
                    </a:lnTo>
                    <a:lnTo>
                      <a:pt x="344" y="370"/>
                    </a:lnTo>
                    <a:lnTo>
                      <a:pt x="338" y="374"/>
                    </a:lnTo>
                    <a:lnTo>
                      <a:pt x="332" y="380"/>
                    </a:lnTo>
                    <a:lnTo>
                      <a:pt x="326" y="388"/>
                    </a:lnTo>
                    <a:lnTo>
                      <a:pt x="324" y="394"/>
                    </a:lnTo>
                    <a:lnTo>
                      <a:pt x="324" y="400"/>
                    </a:lnTo>
                    <a:lnTo>
                      <a:pt x="324" y="404"/>
                    </a:lnTo>
                    <a:lnTo>
                      <a:pt x="318" y="408"/>
                    </a:lnTo>
                    <a:lnTo>
                      <a:pt x="292" y="418"/>
                    </a:lnTo>
                    <a:lnTo>
                      <a:pt x="282" y="422"/>
                    </a:lnTo>
                    <a:lnTo>
                      <a:pt x="272" y="432"/>
                    </a:lnTo>
                    <a:lnTo>
                      <a:pt x="264" y="444"/>
                    </a:lnTo>
                    <a:lnTo>
                      <a:pt x="252" y="460"/>
                    </a:lnTo>
                    <a:lnTo>
                      <a:pt x="246" y="468"/>
                    </a:lnTo>
                    <a:lnTo>
                      <a:pt x="238" y="474"/>
                    </a:lnTo>
                    <a:lnTo>
                      <a:pt x="230" y="478"/>
                    </a:lnTo>
                    <a:lnTo>
                      <a:pt x="222" y="480"/>
                    </a:lnTo>
                    <a:lnTo>
                      <a:pt x="206" y="478"/>
                    </a:lnTo>
                    <a:lnTo>
                      <a:pt x="190" y="474"/>
                    </a:lnTo>
                    <a:lnTo>
                      <a:pt x="174" y="470"/>
                    </a:lnTo>
                    <a:lnTo>
                      <a:pt x="156" y="468"/>
                    </a:lnTo>
                    <a:lnTo>
                      <a:pt x="148" y="464"/>
                    </a:lnTo>
                    <a:lnTo>
                      <a:pt x="142" y="458"/>
                    </a:lnTo>
                    <a:lnTo>
                      <a:pt x="134" y="454"/>
                    </a:lnTo>
                    <a:lnTo>
                      <a:pt x="124" y="452"/>
                    </a:lnTo>
                    <a:lnTo>
                      <a:pt x="92" y="454"/>
                    </a:lnTo>
                    <a:lnTo>
                      <a:pt x="62" y="458"/>
                    </a:lnTo>
                    <a:lnTo>
                      <a:pt x="0" y="388"/>
                    </a:lnTo>
                    <a:lnTo>
                      <a:pt x="0" y="240"/>
                    </a:lnTo>
                    <a:lnTo>
                      <a:pt x="48" y="240"/>
                    </a:lnTo>
                    <a:lnTo>
                      <a:pt x="58" y="236"/>
                    </a:lnTo>
                    <a:lnTo>
                      <a:pt x="68" y="234"/>
                    </a:lnTo>
                    <a:lnTo>
                      <a:pt x="86" y="230"/>
                    </a:lnTo>
                    <a:lnTo>
                      <a:pt x="92" y="226"/>
                    </a:lnTo>
                    <a:lnTo>
                      <a:pt x="98" y="220"/>
                    </a:lnTo>
                    <a:lnTo>
                      <a:pt x="100" y="212"/>
                    </a:lnTo>
                    <a:lnTo>
                      <a:pt x="102" y="200"/>
                    </a:lnTo>
                    <a:lnTo>
                      <a:pt x="102" y="140"/>
                    </a:lnTo>
                    <a:lnTo>
                      <a:pt x="110" y="140"/>
                    </a:lnTo>
                    <a:lnTo>
                      <a:pt x="114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8" y="156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4"/>
                    </a:lnTo>
                    <a:lnTo>
                      <a:pt x="142" y="150"/>
                    </a:lnTo>
                    <a:lnTo>
                      <a:pt x="150" y="150"/>
                    </a:lnTo>
                    <a:lnTo>
                      <a:pt x="156" y="150"/>
                    </a:lnTo>
                    <a:lnTo>
                      <a:pt x="162" y="150"/>
                    </a:lnTo>
                    <a:lnTo>
                      <a:pt x="164" y="158"/>
                    </a:lnTo>
                    <a:lnTo>
                      <a:pt x="170" y="166"/>
                    </a:lnTo>
                    <a:lnTo>
                      <a:pt x="176" y="172"/>
                    </a:lnTo>
                    <a:lnTo>
                      <a:pt x="186" y="176"/>
                    </a:lnTo>
                    <a:lnTo>
                      <a:pt x="196" y="180"/>
                    </a:lnTo>
                    <a:lnTo>
                      <a:pt x="206" y="184"/>
                    </a:lnTo>
                    <a:lnTo>
                      <a:pt x="228" y="186"/>
                    </a:lnTo>
                    <a:lnTo>
                      <a:pt x="236" y="184"/>
                    </a:lnTo>
                    <a:lnTo>
                      <a:pt x="242" y="180"/>
                    </a:lnTo>
                    <a:lnTo>
                      <a:pt x="246" y="174"/>
                    </a:lnTo>
                    <a:lnTo>
                      <a:pt x="248" y="168"/>
                    </a:lnTo>
                    <a:lnTo>
                      <a:pt x="256" y="174"/>
                    </a:lnTo>
                    <a:lnTo>
                      <a:pt x="262" y="182"/>
                    </a:lnTo>
                    <a:lnTo>
                      <a:pt x="266" y="190"/>
                    </a:lnTo>
                    <a:lnTo>
                      <a:pt x="272" y="196"/>
                    </a:lnTo>
                    <a:lnTo>
                      <a:pt x="284" y="202"/>
                    </a:lnTo>
                    <a:lnTo>
                      <a:pt x="294" y="204"/>
                    </a:lnTo>
                    <a:lnTo>
                      <a:pt x="304" y="206"/>
                    </a:lnTo>
                    <a:lnTo>
                      <a:pt x="308" y="208"/>
                    </a:lnTo>
                    <a:lnTo>
                      <a:pt x="312" y="212"/>
                    </a:lnTo>
                    <a:lnTo>
                      <a:pt x="320" y="222"/>
                    </a:lnTo>
                    <a:lnTo>
                      <a:pt x="326" y="236"/>
                    </a:lnTo>
                    <a:lnTo>
                      <a:pt x="336" y="248"/>
                    </a:lnTo>
                    <a:lnTo>
                      <a:pt x="340" y="252"/>
                    </a:lnTo>
                    <a:lnTo>
                      <a:pt x="344" y="254"/>
                    </a:lnTo>
                    <a:lnTo>
                      <a:pt x="348" y="252"/>
                    </a:lnTo>
                    <a:lnTo>
                      <a:pt x="352" y="250"/>
                    </a:lnTo>
                    <a:lnTo>
                      <a:pt x="356" y="248"/>
                    </a:lnTo>
                    <a:lnTo>
                      <a:pt x="360" y="248"/>
                    </a:lnTo>
                    <a:lnTo>
                      <a:pt x="378" y="248"/>
                    </a:lnTo>
                    <a:lnTo>
                      <a:pt x="378" y="196"/>
                    </a:lnTo>
                    <a:lnTo>
                      <a:pt x="370" y="200"/>
                    </a:lnTo>
                    <a:lnTo>
                      <a:pt x="366" y="204"/>
                    </a:lnTo>
                    <a:lnTo>
                      <a:pt x="364" y="208"/>
                    </a:lnTo>
                    <a:lnTo>
                      <a:pt x="350" y="208"/>
                    </a:lnTo>
                    <a:lnTo>
                      <a:pt x="338" y="200"/>
                    </a:lnTo>
                    <a:lnTo>
                      <a:pt x="324" y="186"/>
                    </a:lnTo>
                    <a:lnTo>
                      <a:pt x="316" y="172"/>
                    </a:lnTo>
                    <a:lnTo>
                      <a:pt x="312" y="164"/>
                    </a:lnTo>
                    <a:lnTo>
                      <a:pt x="312" y="156"/>
                    </a:lnTo>
                    <a:lnTo>
                      <a:pt x="312" y="148"/>
                    </a:lnTo>
                    <a:lnTo>
                      <a:pt x="314" y="142"/>
                    </a:lnTo>
                    <a:lnTo>
                      <a:pt x="318" y="136"/>
                    </a:lnTo>
                    <a:lnTo>
                      <a:pt x="322" y="132"/>
                    </a:lnTo>
                    <a:lnTo>
                      <a:pt x="322" y="72"/>
                    </a:lnTo>
                    <a:lnTo>
                      <a:pt x="322" y="68"/>
                    </a:lnTo>
                    <a:lnTo>
                      <a:pt x="318" y="64"/>
                    </a:lnTo>
                    <a:lnTo>
                      <a:pt x="316" y="60"/>
                    </a:lnTo>
                    <a:lnTo>
                      <a:pt x="316" y="56"/>
                    </a:lnTo>
                    <a:lnTo>
                      <a:pt x="318" y="50"/>
                    </a:lnTo>
                    <a:lnTo>
                      <a:pt x="322" y="46"/>
                    </a:lnTo>
                    <a:lnTo>
                      <a:pt x="332" y="40"/>
                    </a:lnTo>
                    <a:lnTo>
                      <a:pt x="336" y="32"/>
                    </a:lnTo>
                    <a:lnTo>
                      <a:pt x="338" y="26"/>
                    </a:lnTo>
                    <a:lnTo>
                      <a:pt x="340" y="20"/>
                    </a:lnTo>
                    <a:lnTo>
                      <a:pt x="342" y="16"/>
                    </a:lnTo>
                    <a:lnTo>
                      <a:pt x="344" y="14"/>
                    </a:lnTo>
                    <a:lnTo>
                      <a:pt x="350" y="10"/>
                    </a:lnTo>
                    <a:lnTo>
                      <a:pt x="358" y="8"/>
                    </a:lnTo>
                    <a:lnTo>
                      <a:pt x="370" y="8"/>
                    </a:lnTo>
                    <a:lnTo>
                      <a:pt x="382" y="6"/>
                    </a:lnTo>
                    <a:lnTo>
                      <a:pt x="396" y="4"/>
                    </a:lnTo>
                    <a:lnTo>
                      <a:pt x="428" y="0"/>
                    </a:lnTo>
                    <a:lnTo>
                      <a:pt x="446" y="20"/>
                    </a:lnTo>
                    <a:lnTo>
                      <a:pt x="452" y="24"/>
                    </a:lnTo>
                    <a:lnTo>
                      <a:pt x="454" y="24"/>
                    </a:lnTo>
                    <a:lnTo>
                      <a:pt x="456" y="24"/>
                    </a:lnTo>
                    <a:lnTo>
                      <a:pt x="462" y="22"/>
                    </a:lnTo>
                    <a:lnTo>
                      <a:pt x="466" y="22"/>
                    </a:lnTo>
                    <a:lnTo>
                      <a:pt x="472" y="28"/>
                    </a:lnTo>
                    <a:lnTo>
                      <a:pt x="478" y="34"/>
                    </a:lnTo>
                    <a:lnTo>
                      <a:pt x="496" y="40"/>
                    </a:lnTo>
                    <a:lnTo>
                      <a:pt x="512" y="46"/>
                    </a:lnTo>
                    <a:lnTo>
                      <a:pt x="532" y="56"/>
                    </a:lnTo>
                    <a:lnTo>
                      <a:pt x="550" y="64"/>
                    </a:lnTo>
                    <a:lnTo>
                      <a:pt x="550" y="70"/>
                    </a:lnTo>
                    <a:lnTo>
                      <a:pt x="550" y="76"/>
                    </a:lnTo>
                    <a:lnTo>
                      <a:pt x="554" y="88"/>
                    </a:lnTo>
                    <a:lnTo>
                      <a:pt x="560" y="100"/>
                    </a:lnTo>
                    <a:lnTo>
                      <a:pt x="562" y="106"/>
                    </a:lnTo>
                    <a:lnTo>
                      <a:pt x="564" y="110"/>
                    </a:lnTo>
                    <a:lnTo>
                      <a:pt x="560" y="120"/>
                    </a:lnTo>
                    <a:lnTo>
                      <a:pt x="556" y="126"/>
                    </a:lnTo>
                    <a:lnTo>
                      <a:pt x="552" y="134"/>
                    </a:lnTo>
                    <a:lnTo>
                      <a:pt x="550" y="142"/>
                    </a:lnTo>
                    <a:lnTo>
                      <a:pt x="548" y="150"/>
                    </a:lnTo>
                    <a:lnTo>
                      <a:pt x="546" y="160"/>
                    </a:lnTo>
                    <a:lnTo>
                      <a:pt x="548" y="168"/>
                    </a:lnTo>
                    <a:lnTo>
                      <a:pt x="550" y="174"/>
                    </a:lnTo>
                    <a:lnTo>
                      <a:pt x="552" y="180"/>
                    </a:lnTo>
                    <a:lnTo>
                      <a:pt x="552" y="188"/>
                    </a:lnTo>
                    <a:lnTo>
                      <a:pt x="552" y="192"/>
                    </a:lnTo>
                    <a:lnTo>
                      <a:pt x="550" y="196"/>
                    </a:lnTo>
                    <a:lnTo>
                      <a:pt x="544" y="202"/>
                    </a:lnTo>
                    <a:lnTo>
                      <a:pt x="542" y="208"/>
                    </a:lnTo>
                    <a:lnTo>
                      <a:pt x="540" y="214"/>
                    </a:lnTo>
                    <a:lnTo>
                      <a:pt x="540" y="220"/>
                    </a:lnTo>
                    <a:lnTo>
                      <a:pt x="538" y="226"/>
                    </a:lnTo>
                    <a:lnTo>
                      <a:pt x="534" y="234"/>
                    </a:lnTo>
                    <a:lnTo>
                      <a:pt x="528" y="246"/>
                    </a:lnTo>
                    <a:lnTo>
                      <a:pt x="524" y="250"/>
                    </a:lnTo>
                    <a:lnTo>
                      <a:pt x="520" y="252"/>
                    </a:lnTo>
                    <a:lnTo>
                      <a:pt x="516" y="256"/>
                    </a:lnTo>
                    <a:lnTo>
                      <a:pt x="516" y="260"/>
                    </a:lnTo>
                    <a:lnTo>
                      <a:pt x="516" y="266"/>
                    </a:lnTo>
                    <a:lnTo>
                      <a:pt x="518" y="270"/>
                    </a:lnTo>
                    <a:lnTo>
                      <a:pt x="522" y="272"/>
                    </a:lnTo>
                    <a:lnTo>
                      <a:pt x="526" y="272"/>
                    </a:lnTo>
                    <a:lnTo>
                      <a:pt x="534" y="274"/>
                    </a:lnTo>
                    <a:lnTo>
                      <a:pt x="538" y="276"/>
                    </a:lnTo>
                    <a:lnTo>
                      <a:pt x="542" y="278"/>
                    </a:lnTo>
                    <a:lnTo>
                      <a:pt x="504" y="292"/>
                    </a:lnTo>
                    <a:lnTo>
                      <a:pt x="466" y="304"/>
                    </a:lnTo>
                    <a:lnTo>
                      <a:pt x="440" y="310"/>
                    </a:lnTo>
                    <a:lnTo>
                      <a:pt x="416" y="320"/>
                    </a:lnTo>
                    <a:lnTo>
                      <a:pt x="404" y="324"/>
                    </a:lnTo>
                    <a:lnTo>
                      <a:pt x="396" y="328"/>
                    </a:lnTo>
                    <a:lnTo>
                      <a:pt x="390" y="330"/>
                    </a:lnTo>
                    <a:lnTo>
                      <a:pt x="390" y="336"/>
                    </a:lnTo>
                    <a:lnTo>
                      <a:pt x="392" y="342"/>
                    </a:lnTo>
                    <a:lnTo>
                      <a:pt x="394" y="350"/>
                    </a:lnTo>
                    <a:lnTo>
                      <a:pt x="396" y="360"/>
                    </a:lnTo>
                    <a:lnTo>
                      <a:pt x="386" y="36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86" name="Freeform 24"/>
              <p:cNvSpPr>
                <a:spLocks/>
              </p:cNvSpPr>
              <p:nvPr/>
            </p:nvSpPr>
            <p:spPr bwMode="gray">
              <a:xfrm>
                <a:off x="3965575" y="3979070"/>
                <a:ext cx="855663" cy="846137"/>
              </a:xfrm>
              <a:custGeom>
                <a:avLst/>
                <a:gdLst>
                  <a:gd name="T0" fmla="*/ 2147483647 w 591"/>
                  <a:gd name="T1" fmla="*/ 2147483647 h 584"/>
                  <a:gd name="T2" fmla="*/ 2147483647 w 591"/>
                  <a:gd name="T3" fmla="*/ 0 h 584"/>
                  <a:gd name="T4" fmla="*/ 2147483647 w 591"/>
                  <a:gd name="T5" fmla="*/ 0 h 584"/>
                  <a:gd name="T6" fmla="*/ 2147483647 w 591"/>
                  <a:gd name="T7" fmla="*/ 2147483647 h 584"/>
                  <a:gd name="T8" fmla="*/ 2147483647 w 591"/>
                  <a:gd name="T9" fmla="*/ 2147483647 h 584"/>
                  <a:gd name="T10" fmla="*/ 2147483647 w 591"/>
                  <a:gd name="T11" fmla="*/ 2147483647 h 584"/>
                  <a:gd name="T12" fmla="*/ 2147483647 w 591"/>
                  <a:gd name="T13" fmla="*/ 2147483647 h 584"/>
                  <a:gd name="T14" fmla="*/ 2147483647 w 591"/>
                  <a:gd name="T15" fmla="*/ 2147483647 h 584"/>
                  <a:gd name="T16" fmla="*/ 2147483647 w 591"/>
                  <a:gd name="T17" fmla="*/ 2147483647 h 584"/>
                  <a:gd name="T18" fmla="*/ 2147483647 w 591"/>
                  <a:gd name="T19" fmla="*/ 2147483647 h 584"/>
                  <a:gd name="T20" fmla="*/ 2147483647 w 591"/>
                  <a:gd name="T21" fmla="*/ 2147483647 h 584"/>
                  <a:gd name="T22" fmla="*/ 2147483647 w 591"/>
                  <a:gd name="T23" fmla="*/ 2147483647 h 584"/>
                  <a:gd name="T24" fmla="*/ 2147483647 w 591"/>
                  <a:gd name="T25" fmla="*/ 2147483647 h 584"/>
                  <a:gd name="T26" fmla="*/ 2147483647 w 591"/>
                  <a:gd name="T27" fmla="*/ 2147483647 h 584"/>
                  <a:gd name="T28" fmla="*/ 2147483647 w 591"/>
                  <a:gd name="T29" fmla="*/ 2147483647 h 584"/>
                  <a:gd name="T30" fmla="*/ 2147483647 w 591"/>
                  <a:gd name="T31" fmla="*/ 2147483647 h 584"/>
                  <a:gd name="T32" fmla="*/ 2147483647 w 591"/>
                  <a:gd name="T33" fmla="*/ 2147483647 h 584"/>
                  <a:gd name="T34" fmla="*/ 2147483647 w 591"/>
                  <a:gd name="T35" fmla="*/ 2147483647 h 584"/>
                  <a:gd name="T36" fmla="*/ 2147483647 w 591"/>
                  <a:gd name="T37" fmla="*/ 2147483647 h 584"/>
                  <a:gd name="T38" fmla="*/ 2147483647 w 591"/>
                  <a:gd name="T39" fmla="*/ 2147483647 h 584"/>
                  <a:gd name="T40" fmla="*/ 2147483647 w 591"/>
                  <a:gd name="T41" fmla="*/ 2147483647 h 584"/>
                  <a:gd name="T42" fmla="*/ 2147483647 w 591"/>
                  <a:gd name="T43" fmla="*/ 2147483647 h 584"/>
                  <a:gd name="T44" fmla="*/ 2147483647 w 591"/>
                  <a:gd name="T45" fmla="*/ 2147483647 h 584"/>
                  <a:gd name="T46" fmla="*/ 2147483647 w 591"/>
                  <a:gd name="T47" fmla="*/ 2147483647 h 584"/>
                  <a:gd name="T48" fmla="*/ 2147483647 w 591"/>
                  <a:gd name="T49" fmla="*/ 2147483647 h 584"/>
                  <a:gd name="T50" fmla="*/ 2147483647 w 591"/>
                  <a:gd name="T51" fmla="*/ 2147483647 h 584"/>
                  <a:gd name="T52" fmla="*/ 2147483647 w 591"/>
                  <a:gd name="T53" fmla="*/ 2147483647 h 584"/>
                  <a:gd name="T54" fmla="*/ 2147483647 w 591"/>
                  <a:gd name="T55" fmla="*/ 2147483647 h 584"/>
                  <a:gd name="T56" fmla="*/ 2147483647 w 591"/>
                  <a:gd name="T57" fmla="*/ 2147483647 h 584"/>
                  <a:gd name="T58" fmla="*/ 2147483647 w 591"/>
                  <a:gd name="T59" fmla="*/ 2147483647 h 584"/>
                  <a:gd name="T60" fmla="*/ 2147483647 w 591"/>
                  <a:gd name="T61" fmla="*/ 2147483647 h 584"/>
                  <a:gd name="T62" fmla="*/ 2147483647 w 591"/>
                  <a:gd name="T63" fmla="*/ 2147483647 h 584"/>
                  <a:gd name="T64" fmla="*/ 2147483647 w 591"/>
                  <a:gd name="T65" fmla="*/ 2147483647 h 584"/>
                  <a:gd name="T66" fmla="*/ 2147483647 w 591"/>
                  <a:gd name="T67" fmla="*/ 2147483647 h 584"/>
                  <a:gd name="T68" fmla="*/ 2147483647 w 591"/>
                  <a:gd name="T69" fmla="*/ 2147483647 h 584"/>
                  <a:gd name="T70" fmla="*/ 2147483647 w 591"/>
                  <a:gd name="T71" fmla="*/ 2147483647 h 584"/>
                  <a:gd name="T72" fmla="*/ 2147483647 w 591"/>
                  <a:gd name="T73" fmla="*/ 2147483647 h 584"/>
                  <a:gd name="T74" fmla="*/ 2147483647 w 591"/>
                  <a:gd name="T75" fmla="*/ 2147483647 h 584"/>
                  <a:gd name="T76" fmla="*/ 2147483647 w 591"/>
                  <a:gd name="T77" fmla="*/ 2147483647 h 584"/>
                  <a:gd name="T78" fmla="*/ 2147483647 w 591"/>
                  <a:gd name="T79" fmla="*/ 2147483647 h 584"/>
                  <a:gd name="T80" fmla="*/ 2147483647 w 591"/>
                  <a:gd name="T81" fmla="*/ 2147483647 h 584"/>
                  <a:gd name="T82" fmla="*/ 2147483647 w 591"/>
                  <a:gd name="T83" fmla="*/ 2147483647 h 584"/>
                  <a:gd name="T84" fmla="*/ 2147483647 w 591"/>
                  <a:gd name="T85" fmla="*/ 2147483647 h 584"/>
                  <a:gd name="T86" fmla="*/ 2147483647 w 591"/>
                  <a:gd name="T87" fmla="*/ 2147483647 h 584"/>
                  <a:gd name="T88" fmla="*/ 2147483647 w 591"/>
                  <a:gd name="T89" fmla="*/ 2147483647 h 584"/>
                  <a:gd name="T90" fmla="*/ 2147483647 w 591"/>
                  <a:gd name="T91" fmla="*/ 2147483647 h 58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591"/>
                  <a:gd name="T139" fmla="*/ 0 h 584"/>
                  <a:gd name="T140" fmla="*/ 591 w 591"/>
                  <a:gd name="T141" fmla="*/ 584 h 58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591" h="584">
                    <a:moveTo>
                      <a:pt x="24" y="18"/>
                    </a:moveTo>
                    <a:lnTo>
                      <a:pt x="26" y="14"/>
                    </a:lnTo>
                    <a:lnTo>
                      <a:pt x="30" y="10"/>
                    </a:lnTo>
                    <a:lnTo>
                      <a:pt x="40" y="4"/>
                    </a:lnTo>
                    <a:lnTo>
                      <a:pt x="54" y="0"/>
                    </a:lnTo>
                    <a:lnTo>
                      <a:pt x="66" y="0"/>
                    </a:lnTo>
                    <a:lnTo>
                      <a:pt x="194" y="0"/>
                    </a:lnTo>
                    <a:lnTo>
                      <a:pt x="204" y="0"/>
                    </a:lnTo>
                    <a:lnTo>
                      <a:pt x="215" y="0"/>
                    </a:lnTo>
                    <a:lnTo>
                      <a:pt x="223" y="0"/>
                    </a:lnTo>
                    <a:lnTo>
                      <a:pt x="227" y="2"/>
                    </a:lnTo>
                    <a:lnTo>
                      <a:pt x="231" y="6"/>
                    </a:lnTo>
                    <a:lnTo>
                      <a:pt x="237" y="12"/>
                    </a:lnTo>
                    <a:lnTo>
                      <a:pt x="237" y="18"/>
                    </a:lnTo>
                    <a:lnTo>
                      <a:pt x="237" y="34"/>
                    </a:lnTo>
                    <a:lnTo>
                      <a:pt x="241" y="44"/>
                    </a:lnTo>
                    <a:lnTo>
                      <a:pt x="245" y="56"/>
                    </a:lnTo>
                    <a:lnTo>
                      <a:pt x="251" y="70"/>
                    </a:lnTo>
                    <a:lnTo>
                      <a:pt x="259" y="82"/>
                    </a:lnTo>
                    <a:lnTo>
                      <a:pt x="267" y="92"/>
                    </a:lnTo>
                    <a:lnTo>
                      <a:pt x="277" y="100"/>
                    </a:lnTo>
                    <a:lnTo>
                      <a:pt x="289" y="106"/>
                    </a:lnTo>
                    <a:lnTo>
                      <a:pt x="301" y="108"/>
                    </a:lnTo>
                    <a:lnTo>
                      <a:pt x="311" y="108"/>
                    </a:lnTo>
                    <a:lnTo>
                      <a:pt x="321" y="106"/>
                    </a:lnTo>
                    <a:lnTo>
                      <a:pt x="329" y="104"/>
                    </a:lnTo>
                    <a:lnTo>
                      <a:pt x="341" y="102"/>
                    </a:lnTo>
                    <a:lnTo>
                      <a:pt x="353" y="102"/>
                    </a:lnTo>
                    <a:lnTo>
                      <a:pt x="363" y="98"/>
                    </a:lnTo>
                    <a:lnTo>
                      <a:pt x="369" y="92"/>
                    </a:lnTo>
                    <a:lnTo>
                      <a:pt x="375" y="82"/>
                    </a:lnTo>
                    <a:lnTo>
                      <a:pt x="375" y="78"/>
                    </a:lnTo>
                    <a:lnTo>
                      <a:pt x="375" y="72"/>
                    </a:lnTo>
                    <a:lnTo>
                      <a:pt x="375" y="64"/>
                    </a:lnTo>
                    <a:lnTo>
                      <a:pt x="375" y="60"/>
                    </a:lnTo>
                    <a:lnTo>
                      <a:pt x="377" y="56"/>
                    </a:lnTo>
                    <a:lnTo>
                      <a:pt x="383" y="54"/>
                    </a:lnTo>
                    <a:lnTo>
                      <a:pt x="389" y="54"/>
                    </a:lnTo>
                    <a:lnTo>
                      <a:pt x="407" y="56"/>
                    </a:lnTo>
                    <a:lnTo>
                      <a:pt x="423" y="58"/>
                    </a:lnTo>
                    <a:lnTo>
                      <a:pt x="423" y="68"/>
                    </a:lnTo>
                    <a:lnTo>
                      <a:pt x="487" y="68"/>
                    </a:lnTo>
                    <a:lnTo>
                      <a:pt x="487" y="176"/>
                    </a:lnTo>
                    <a:lnTo>
                      <a:pt x="489" y="184"/>
                    </a:lnTo>
                    <a:lnTo>
                      <a:pt x="493" y="190"/>
                    </a:lnTo>
                    <a:lnTo>
                      <a:pt x="499" y="196"/>
                    </a:lnTo>
                    <a:lnTo>
                      <a:pt x="505" y="198"/>
                    </a:lnTo>
                    <a:lnTo>
                      <a:pt x="505" y="206"/>
                    </a:lnTo>
                    <a:lnTo>
                      <a:pt x="509" y="212"/>
                    </a:lnTo>
                    <a:lnTo>
                      <a:pt x="511" y="218"/>
                    </a:lnTo>
                    <a:lnTo>
                      <a:pt x="513" y="224"/>
                    </a:lnTo>
                    <a:lnTo>
                      <a:pt x="511" y="234"/>
                    </a:lnTo>
                    <a:lnTo>
                      <a:pt x="509" y="240"/>
                    </a:lnTo>
                    <a:lnTo>
                      <a:pt x="505" y="246"/>
                    </a:lnTo>
                    <a:lnTo>
                      <a:pt x="505" y="256"/>
                    </a:lnTo>
                    <a:lnTo>
                      <a:pt x="505" y="258"/>
                    </a:lnTo>
                    <a:lnTo>
                      <a:pt x="507" y="260"/>
                    </a:lnTo>
                    <a:lnTo>
                      <a:pt x="511" y="260"/>
                    </a:lnTo>
                    <a:lnTo>
                      <a:pt x="521" y="258"/>
                    </a:lnTo>
                    <a:lnTo>
                      <a:pt x="535" y="256"/>
                    </a:lnTo>
                    <a:lnTo>
                      <a:pt x="549" y="252"/>
                    </a:lnTo>
                    <a:lnTo>
                      <a:pt x="559" y="250"/>
                    </a:lnTo>
                    <a:lnTo>
                      <a:pt x="577" y="252"/>
                    </a:lnTo>
                    <a:lnTo>
                      <a:pt x="583" y="252"/>
                    </a:lnTo>
                    <a:lnTo>
                      <a:pt x="591" y="250"/>
                    </a:lnTo>
                    <a:lnTo>
                      <a:pt x="591" y="310"/>
                    </a:lnTo>
                    <a:lnTo>
                      <a:pt x="589" y="322"/>
                    </a:lnTo>
                    <a:lnTo>
                      <a:pt x="587" y="330"/>
                    </a:lnTo>
                    <a:lnTo>
                      <a:pt x="581" y="336"/>
                    </a:lnTo>
                    <a:lnTo>
                      <a:pt x="575" y="340"/>
                    </a:lnTo>
                    <a:lnTo>
                      <a:pt x="557" y="344"/>
                    </a:lnTo>
                    <a:lnTo>
                      <a:pt x="547" y="346"/>
                    </a:lnTo>
                    <a:lnTo>
                      <a:pt x="537" y="350"/>
                    </a:lnTo>
                    <a:lnTo>
                      <a:pt x="489" y="350"/>
                    </a:lnTo>
                    <a:lnTo>
                      <a:pt x="489" y="498"/>
                    </a:lnTo>
                    <a:lnTo>
                      <a:pt x="551" y="568"/>
                    </a:lnTo>
                    <a:lnTo>
                      <a:pt x="497" y="578"/>
                    </a:lnTo>
                    <a:lnTo>
                      <a:pt x="469" y="582"/>
                    </a:lnTo>
                    <a:lnTo>
                      <a:pt x="439" y="584"/>
                    </a:lnTo>
                    <a:lnTo>
                      <a:pt x="411" y="582"/>
                    </a:lnTo>
                    <a:lnTo>
                      <a:pt x="381" y="580"/>
                    </a:lnTo>
                    <a:lnTo>
                      <a:pt x="353" y="576"/>
                    </a:lnTo>
                    <a:lnTo>
                      <a:pt x="329" y="570"/>
                    </a:lnTo>
                    <a:lnTo>
                      <a:pt x="325" y="568"/>
                    </a:lnTo>
                    <a:lnTo>
                      <a:pt x="321" y="564"/>
                    </a:lnTo>
                    <a:lnTo>
                      <a:pt x="317" y="560"/>
                    </a:lnTo>
                    <a:lnTo>
                      <a:pt x="313" y="558"/>
                    </a:lnTo>
                    <a:lnTo>
                      <a:pt x="106" y="558"/>
                    </a:lnTo>
                    <a:lnTo>
                      <a:pt x="98" y="550"/>
                    </a:lnTo>
                    <a:lnTo>
                      <a:pt x="92" y="546"/>
                    </a:lnTo>
                    <a:lnTo>
                      <a:pt x="82" y="542"/>
                    </a:lnTo>
                    <a:lnTo>
                      <a:pt x="70" y="540"/>
                    </a:lnTo>
                    <a:lnTo>
                      <a:pt x="58" y="542"/>
                    </a:lnTo>
                    <a:lnTo>
                      <a:pt x="50" y="544"/>
                    </a:lnTo>
                    <a:lnTo>
                      <a:pt x="42" y="546"/>
                    </a:lnTo>
                    <a:lnTo>
                      <a:pt x="34" y="548"/>
                    </a:lnTo>
                    <a:lnTo>
                      <a:pt x="18" y="546"/>
                    </a:lnTo>
                    <a:lnTo>
                      <a:pt x="0" y="548"/>
                    </a:lnTo>
                    <a:lnTo>
                      <a:pt x="2" y="532"/>
                    </a:lnTo>
                    <a:lnTo>
                      <a:pt x="2" y="516"/>
                    </a:lnTo>
                    <a:lnTo>
                      <a:pt x="2" y="490"/>
                    </a:lnTo>
                    <a:lnTo>
                      <a:pt x="4" y="482"/>
                    </a:lnTo>
                    <a:lnTo>
                      <a:pt x="8" y="470"/>
                    </a:lnTo>
                    <a:lnTo>
                      <a:pt x="18" y="448"/>
                    </a:lnTo>
                    <a:lnTo>
                      <a:pt x="20" y="434"/>
                    </a:lnTo>
                    <a:lnTo>
                      <a:pt x="24" y="422"/>
                    </a:lnTo>
                    <a:lnTo>
                      <a:pt x="26" y="398"/>
                    </a:lnTo>
                    <a:lnTo>
                      <a:pt x="30" y="386"/>
                    </a:lnTo>
                    <a:lnTo>
                      <a:pt x="34" y="374"/>
                    </a:lnTo>
                    <a:lnTo>
                      <a:pt x="38" y="362"/>
                    </a:lnTo>
                    <a:lnTo>
                      <a:pt x="46" y="350"/>
                    </a:lnTo>
                    <a:lnTo>
                      <a:pt x="62" y="332"/>
                    </a:lnTo>
                    <a:lnTo>
                      <a:pt x="80" y="312"/>
                    </a:lnTo>
                    <a:lnTo>
                      <a:pt x="88" y="300"/>
                    </a:lnTo>
                    <a:lnTo>
                      <a:pt x="94" y="288"/>
                    </a:lnTo>
                    <a:lnTo>
                      <a:pt x="98" y="274"/>
                    </a:lnTo>
                    <a:lnTo>
                      <a:pt x="100" y="256"/>
                    </a:lnTo>
                    <a:lnTo>
                      <a:pt x="98" y="242"/>
                    </a:lnTo>
                    <a:lnTo>
                      <a:pt x="94" y="230"/>
                    </a:lnTo>
                    <a:lnTo>
                      <a:pt x="88" y="218"/>
                    </a:lnTo>
                    <a:lnTo>
                      <a:pt x="82" y="208"/>
                    </a:lnTo>
                    <a:lnTo>
                      <a:pt x="76" y="198"/>
                    </a:lnTo>
                    <a:lnTo>
                      <a:pt x="70" y="186"/>
                    </a:lnTo>
                    <a:lnTo>
                      <a:pt x="66" y="174"/>
                    </a:lnTo>
                    <a:lnTo>
                      <a:pt x="64" y="162"/>
                    </a:lnTo>
                    <a:lnTo>
                      <a:pt x="64" y="158"/>
                    </a:lnTo>
                    <a:lnTo>
                      <a:pt x="66" y="152"/>
                    </a:lnTo>
                    <a:lnTo>
                      <a:pt x="72" y="144"/>
                    </a:lnTo>
                    <a:lnTo>
                      <a:pt x="78" y="136"/>
                    </a:lnTo>
                    <a:lnTo>
                      <a:pt x="78" y="132"/>
                    </a:lnTo>
                    <a:lnTo>
                      <a:pt x="78" y="126"/>
                    </a:lnTo>
                    <a:lnTo>
                      <a:pt x="76" y="114"/>
                    </a:lnTo>
                    <a:lnTo>
                      <a:pt x="72" y="104"/>
                    </a:lnTo>
                    <a:lnTo>
                      <a:pt x="60" y="80"/>
                    </a:lnTo>
                    <a:lnTo>
                      <a:pt x="48" y="56"/>
                    </a:lnTo>
                    <a:lnTo>
                      <a:pt x="36" y="28"/>
                    </a:lnTo>
                    <a:lnTo>
                      <a:pt x="26" y="20"/>
                    </a:lnTo>
                    <a:lnTo>
                      <a:pt x="24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87" name="Freeform 43"/>
              <p:cNvSpPr>
                <a:spLocks/>
              </p:cNvSpPr>
              <p:nvPr/>
            </p:nvSpPr>
            <p:spPr bwMode="gray">
              <a:xfrm>
                <a:off x="2328863" y="1761332"/>
                <a:ext cx="1138237" cy="1050925"/>
              </a:xfrm>
              <a:custGeom>
                <a:avLst/>
                <a:gdLst>
                  <a:gd name="T0" fmla="*/ 2147483647 w 786"/>
                  <a:gd name="T1" fmla="*/ 2147483647 h 726"/>
                  <a:gd name="T2" fmla="*/ 2147483647 w 786"/>
                  <a:gd name="T3" fmla="*/ 2147483647 h 726"/>
                  <a:gd name="T4" fmla="*/ 2147483647 w 786"/>
                  <a:gd name="T5" fmla="*/ 2147483647 h 726"/>
                  <a:gd name="T6" fmla="*/ 2147483647 w 786"/>
                  <a:gd name="T7" fmla="*/ 2147483647 h 726"/>
                  <a:gd name="T8" fmla="*/ 2147483647 w 786"/>
                  <a:gd name="T9" fmla="*/ 2147483647 h 726"/>
                  <a:gd name="T10" fmla="*/ 2147483647 w 786"/>
                  <a:gd name="T11" fmla="*/ 2147483647 h 726"/>
                  <a:gd name="T12" fmla="*/ 2147483647 w 786"/>
                  <a:gd name="T13" fmla="*/ 2147483647 h 726"/>
                  <a:gd name="T14" fmla="*/ 2147483647 w 786"/>
                  <a:gd name="T15" fmla="*/ 2147483647 h 726"/>
                  <a:gd name="T16" fmla="*/ 2147483647 w 786"/>
                  <a:gd name="T17" fmla="*/ 2147483647 h 726"/>
                  <a:gd name="T18" fmla="*/ 2147483647 w 786"/>
                  <a:gd name="T19" fmla="*/ 2147483647 h 726"/>
                  <a:gd name="T20" fmla="*/ 2147483647 w 786"/>
                  <a:gd name="T21" fmla="*/ 2147483647 h 726"/>
                  <a:gd name="T22" fmla="*/ 2147483647 w 786"/>
                  <a:gd name="T23" fmla="*/ 2147483647 h 726"/>
                  <a:gd name="T24" fmla="*/ 2147483647 w 786"/>
                  <a:gd name="T25" fmla="*/ 2147483647 h 726"/>
                  <a:gd name="T26" fmla="*/ 2147483647 w 786"/>
                  <a:gd name="T27" fmla="*/ 2147483647 h 726"/>
                  <a:gd name="T28" fmla="*/ 2147483647 w 786"/>
                  <a:gd name="T29" fmla="*/ 2147483647 h 726"/>
                  <a:gd name="T30" fmla="*/ 2147483647 w 786"/>
                  <a:gd name="T31" fmla="*/ 2147483647 h 726"/>
                  <a:gd name="T32" fmla="*/ 2147483647 w 786"/>
                  <a:gd name="T33" fmla="*/ 2147483647 h 726"/>
                  <a:gd name="T34" fmla="*/ 2147483647 w 786"/>
                  <a:gd name="T35" fmla="*/ 2147483647 h 726"/>
                  <a:gd name="T36" fmla="*/ 2147483647 w 786"/>
                  <a:gd name="T37" fmla="*/ 2147483647 h 726"/>
                  <a:gd name="T38" fmla="*/ 2147483647 w 786"/>
                  <a:gd name="T39" fmla="*/ 2147483647 h 726"/>
                  <a:gd name="T40" fmla="*/ 2147483647 w 786"/>
                  <a:gd name="T41" fmla="*/ 2147483647 h 726"/>
                  <a:gd name="T42" fmla="*/ 2147483647 w 786"/>
                  <a:gd name="T43" fmla="*/ 2147483647 h 726"/>
                  <a:gd name="T44" fmla="*/ 2147483647 w 786"/>
                  <a:gd name="T45" fmla="*/ 2147483647 h 726"/>
                  <a:gd name="T46" fmla="*/ 2147483647 w 786"/>
                  <a:gd name="T47" fmla="*/ 2147483647 h 726"/>
                  <a:gd name="T48" fmla="*/ 2147483647 w 786"/>
                  <a:gd name="T49" fmla="*/ 2147483647 h 726"/>
                  <a:gd name="T50" fmla="*/ 2147483647 w 786"/>
                  <a:gd name="T51" fmla="*/ 2147483647 h 726"/>
                  <a:gd name="T52" fmla="*/ 2147483647 w 786"/>
                  <a:gd name="T53" fmla="*/ 2147483647 h 726"/>
                  <a:gd name="T54" fmla="*/ 2147483647 w 786"/>
                  <a:gd name="T55" fmla="*/ 2147483647 h 726"/>
                  <a:gd name="T56" fmla="*/ 2147483647 w 786"/>
                  <a:gd name="T57" fmla="*/ 2147483647 h 726"/>
                  <a:gd name="T58" fmla="*/ 2147483647 w 786"/>
                  <a:gd name="T59" fmla="*/ 2147483647 h 726"/>
                  <a:gd name="T60" fmla="*/ 2147483647 w 786"/>
                  <a:gd name="T61" fmla="*/ 2147483647 h 726"/>
                  <a:gd name="T62" fmla="*/ 2147483647 w 786"/>
                  <a:gd name="T63" fmla="*/ 2147483647 h 726"/>
                  <a:gd name="T64" fmla="*/ 2147483647 w 786"/>
                  <a:gd name="T65" fmla="*/ 2147483647 h 726"/>
                  <a:gd name="T66" fmla="*/ 2147483647 w 786"/>
                  <a:gd name="T67" fmla="*/ 2147483647 h 726"/>
                  <a:gd name="T68" fmla="*/ 2147483647 w 786"/>
                  <a:gd name="T69" fmla="*/ 2147483647 h 726"/>
                  <a:gd name="T70" fmla="*/ 2147483647 w 786"/>
                  <a:gd name="T71" fmla="*/ 2147483647 h 726"/>
                  <a:gd name="T72" fmla="*/ 2147483647 w 786"/>
                  <a:gd name="T73" fmla="*/ 2147483647 h 726"/>
                  <a:gd name="T74" fmla="*/ 2147483647 w 786"/>
                  <a:gd name="T75" fmla="*/ 2147483647 h 726"/>
                  <a:gd name="T76" fmla="*/ 2147483647 w 786"/>
                  <a:gd name="T77" fmla="*/ 2147483647 h 726"/>
                  <a:gd name="T78" fmla="*/ 2147483647 w 786"/>
                  <a:gd name="T79" fmla="*/ 2147483647 h 726"/>
                  <a:gd name="T80" fmla="*/ 2147483647 w 786"/>
                  <a:gd name="T81" fmla="*/ 2147483647 h 726"/>
                  <a:gd name="T82" fmla="*/ 2147483647 w 786"/>
                  <a:gd name="T83" fmla="*/ 2147483647 h 726"/>
                  <a:gd name="T84" fmla="*/ 2147483647 w 786"/>
                  <a:gd name="T85" fmla="*/ 2147483647 h 726"/>
                  <a:gd name="T86" fmla="*/ 2147483647 w 786"/>
                  <a:gd name="T87" fmla="*/ 2147483647 h 726"/>
                  <a:gd name="T88" fmla="*/ 2147483647 w 786"/>
                  <a:gd name="T89" fmla="*/ 2147483647 h 726"/>
                  <a:gd name="T90" fmla="*/ 2147483647 w 786"/>
                  <a:gd name="T91" fmla="*/ 2147483647 h 726"/>
                  <a:gd name="T92" fmla="*/ 2147483647 w 786"/>
                  <a:gd name="T93" fmla="*/ 2147483647 h 726"/>
                  <a:gd name="T94" fmla="*/ 2147483647 w 786"/>
                  <a:gd name="T95" fmla="*/ 2147483647 h 726"/>
                  <a:gd name="T96" fmla="*/ 2147483647 w 786"/>
                  <a:gd name="T97" fmla="*/ 2147483647 h 726"/>
                  <a:gd name="T98" fmla="*/ 2147483647 w 786"/>
                  <a:gd name="T99" fmla="*/ 2147483647 h 726"/>
                  <a:gd name="T100" fmla="*/ 2147483647 w 786"/>
                  <a:gd name="T101" fmla="*/ 2147483647 h 726"/>
                  <a:gd name="T102" fmla="*/ 2147483647 w 786"/>
                  <a:gd name="T103" fmla="*/ 2147483647 h 726"/>
                  <a:gd name="T104" fmla="*/ 2147483647 w 786"/>
                  <a:gd name="T105" fmla="*/ 2147483647 h 726"/>
                  <a:gd name="T106" fmla="*/ 2147483647 w 786"/>
                  <a:gd name="T107" fmla="*/ 2147483647 h 726"/>
                  <a:gd name="T108" fmla="*/ 2147483647 w 786"/>
                  <a:gd name="T109" fmla="*/ 2147483647 h 72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786"/>
                  <a:gd name="T166" fmla="*/ 0 h 726"/>
                  <a:gd name="T167" fmla="*/ 786 w 786"/>
                  <a:gd name="T168" fmla="*/ 726 h 72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786" h="726">
                    <a:moveTo>
                      <a:pt x="588" y="504"/>
                    </a:moveTo>
                    <a:lnTo>
                      <a:pt x="578" y="502"/>
                    </a:lnTo>
                    <a:lnTo>
                      <a:pt x="570" y="498"/>
                    </a:lnTo>
                    <a:lnTo>
                      <a:pt x="560" y="496"/>
                    </a:lnTo>
                    <a:lnTo>
                      <a:pt x="550" y="494"/>
                    </a:lnTo>
                    <a:lnTo>
                      <a:pt x="542" y="496"/>
                    </a:lnTo>
                    <a:lnTo>
                      <a:pt x="532" y="498"/>
                    </a:lnTo>
                    <a:lnTo>
                      <a:pt x="516" y="506"/>
                    </a:lnTo>
                    <a:lnTo>
                      <a:pt x="502" y="516"/>
                    </a:lnTo>
                    <a:lnTo>
                      <a:pt x="486" y="524"/>
                    </a:lnTo>
                    <a:lnTo>
                      <a:pt x="484" y="526"/>
                    </a:lnTo>
                    <a:lnTo>
                      <a:pt x="482" y="530"/>
                    </a:lnTo>
                    <a:lnTo>
                      <a:pt x="478" y="534"/>
                    </a:lnTo>
                    <a:lnTo>
                      <a:pt x="474" y="536"/>
                    </a:lnTo>
                    <a:lnTo>
                      <a:pt x="470" y="536"/>
                    </a:lnTo>
                    <a:lnTo>
                      <a:pt x="468" y="534"/>
                    </a:lnTo>
                    <a:lnTo>
                      <a:pt x="464" y="532"/>
                    </a:lnTo>
                    <a:lnTo>
                      <a:pt x="462" y="530"/>
                    </a:lnTo>
                    <a:lnTo>
                      <a:pt x="456" y="532"/>
                    </a:lnTo>
                    <a:lnTo>
                      <a:pt x="452" y="534"/>
                    </a:lnTo>
                    <a:lnTo>
                      <a:pt x="446" y="544"/>
                    </a:lnTo>
                    <a:lnTo>
                      <a:pt x="440" y="554"/>
                    </a:lnTo>
                    <a:lnTo>
                      <a:pt x="436" y="558"/>
                    </a:lnTo>
                    <a:lnTo>
                      <a:pt x="432" y="560"/>
                    </a:lnTo>
                    <a:lnTo>
                      <a:pt x="422" y="560"/>
                    </a:lnTo>
                    <a:lnTo>
                      <a:pt x="418" y="560"/>
                    </a:lnTo>
                    <a:lnTo>
                      <a:pt x="416" y="562"/>
                    </a:lnTo>
                    <a:lnTo>
                      <a:pt x="416" y="566"/>
                    </a:lnTo>
                    <a:lnTo>
                      <a:pt x="416" y="570"/>
                    </a:lnTo>
                    <a:lnTo>
                      <a:pt x="414" y="576"/>
                    </a:lnTo>
                    <a:lnTo>
                      <a:pt x="412" y="580"/>
                    </a:lnTo>
                    <a:lnTo>
                      <a:pt x="406" y="582"/>
                    </a:lnTo>
                    <a:lnTo>
                      <a:pt x="400" y="580"/>
                    </a:lnTo>
                    <a:lnTo>
                      <a:pt x="396" y="576"/>
                    </a:lnTo>
                    <a:lnTo>
                      <a:pt x="392" y="572"/>
                    </a:lnTo>
                    <a:lnTo>
                      <a:pt x="386" y="570"/>
                    </a:lnTo>
                    <a:lnTo>
                      <a:pt x="380" y="572"/>
                    </a:lnTo>
                    <a:lnTo>
                      <a:pt x="374" y="576"/>
                    </a:lnTo>
                    <a:lnTo>
                      <a:pt x="370" y="580"/>
                    </a:lnTo>
                    <a:lnTo>
                      <a:pt x="368" y="584"/>
                    </a:lnTo>
                    <a:lnTo>
                      <a:pt x="370" y="590"/>
                    </a:lnTo>
                    <a:lnTo>
                      <a:pt x="374" y="594"/>
                    </a:lnTo>
                    <a:lnTo>
                      <a:pt x="352" y="636"/>
                    </a:lnTo>
                    <a:lnTo>
                      <a:pt x="342" y="638"/>
                    </a:lnTo>
                    <a:lnTo>
                      <a:pt x="332" y="640"/>
                    </a:lnTo>
                    <a:lnTo>
                      <a:pt x="324" y="642"/>
                    </a:lnTo>
                    <a:lnTo>
                      <a:pt x="322" y="646"/>
                    </a:lnTo>
                    <a:lnTo>
                      <a:pt x="320" y="650"/>
                    </a:lnTo>
                    <a:lnTo>
                      <a:pt x="320" y="662"/>
                    </a:lnTo>
                    <a:lnTo>
                      <a:pt x="318" y="670"/>
                    </a:lnTo>
                    <a:lnTo>
                      <a:pt x="314" y="676"/>
                    </a:lnTo>
                    <a:lnTo>
                      <a:pt x="310" y="682"/>
                    </a:lnTo>
                    <a:lnTo>
                      <a:pt x="306" y="690"/>
                    </a:lnTo>
                    <a:lnTo>
                      <a:pt x="306" y="696"/>
                    </a:lnTo>
                    <a:lnTo>
                      <a:pt x="308" y="700"/>
                    </a:lnTo>
                    <a:lnTo>
                      <a:pt x="310" y="706"/>
                    </a:lnTo>
                    <a:lnTo>
                      <a:pt x="308" y="714"/>
                    </a:lnTo>
                    <a:lnTo>
                      <a:pt x="300" y="716"/>
                    </a:lnTo>
                    <a:lnTo>
                      <a:pt x="294" y="720"/>
                    </a:lnTo>
                    <a:lnTo>
                      <a:pt x="286" y="724"/>
                    </a:lnTo>
                    <a:lnTo>
                      <a:pt x="280" y="726"/>
                    </a:lnTo>
                    <a:lnTo>
                      <a:pt x="276" y="724"/>
                    </a:lnTo>
                    <a:lnTo>
                      <a:pt x="274" y="722"/>
                    </a:lnTo>
                    <a:lnTo>
                      <a:pt x="272" y="718"/>
                    </a:lnTo>
                    <a:lnTo>
                      <a:pt x="272" y="704"/>
                    </a:lnTo>
                    <a:lnTo>
                      <a:pt x="262" y="704"/>
                    </a:lnTo>
                    <a:lnTo>
                      <a:pt x="256" y="704"/>
                    </a:lnTo>
                    <a:lnTo>
                      <a:pt x="250" y="706"/>
                    </a:lnTo>
                    <a:lnTo>
                      <a:pt x="248" y="710"/>
                    </a:lnTo>
                    <a:lnTo>
                      <a:pt x="244" y="716"/>
                    </a:lnTo>
                    <a:lnTo>
                      <a:pt x="240" y="722"/>
                    </a:lnTo>
                    <a:lnTo>
                      <a:pt x="234" y="724"/>
                    </a:lnTo>
                    <a:lnTo>
                      <a:pt x="230" y="724"/>
                    </a:lnTo>
                    <a:lnTo>
                      <a:pt x="222" y="722"/>
                    </a:lnTo>
                    <a:lnTo>
                      <a:pt x="216" y="718"/>
                    </a:lnTo>
                    <a:lnTo>
                      <a:pt x="212" y="716"/>
                    </a:lnTo>
                    <a:lnTo>
                      <a:pt x="208" y="714"/>
                    </a:lnTo>
                    <a:lnTo>
                      <a:pt x="198" y="716"/>
                    </a:lnTo>
                    <a:lnTo>
                      <a:pt x="190" y="722"/>
                    </a:lnTo>
                    <a:lnTo>
                      <a:pt x="184" y="710"/>
                    </a:lnTo>
                    <a:lnTo>
                      <a:pt x="180" y="700"/>
                    </a:lnTo>
                    <a:lnTo>
                      <a:pt x="174" y="688"/>
                    </a:lnTo>
                    <a:lnTo>
                      <a:pt x="168" y="684"/>
                    </a:lnTo>
                    <a:lnTo>
                      <a:pt x="162" y="680"/>
                    </a:lnTo>
                    <a:lnTo>
                      <a:pt x="168" y="676"/>
                    </a:lnTo>
                    <a:lnTo>
                      <a:pt x="170" y="674"/>
                    </a:lnTo>
                    <a:lnTo>
                      <a:pt x="172" y="670"/>
                    </a:lnTo>
                    <a:lnTo>
                      <a:pt x="158" y="638"/>
                    </a:lnTo>
                    <a:lnTo>
                      <a:pt x="148" y="616"/>
                    </a:lnTo>
                    <a:lnTo>
                      <a:pt x="144" y="610"/>
                    </a:lnTo>
                    <a:lnTo>
                      <a:pt x="140" y="606"/>
                    </a:lnTo>
                    <a:lnTo>
                      <a:pt x="138" y="608"/>
                    </a:lnTo>
                    <a:lnTo>
                      <a:pt x="134" y="610"/>
                    </a:lnTo>
                    <a:lnTo>
                      <a:pt x="128" y="618"/>
                    </a:lnTo>
                    <a:lnTo>
                      <a:pt x="120" y="624"/>
                    </a:lnTo>
                    <a:lnTo>
                      <a:pt x="116" y="626"/>
                    </a:lnTo>
                    <a:lnTo>
                      <a:pt x="110" y="628"/>
                    </a:lnTo>
                    <a:lnTo>
                      <a:pt x="106" y="626"/>
                    </a:lnTo>
                    <a:lnTo>
                      <a:pt x="100" y="624"/>
                    </a:lnTo>
                    <a:lnTo>
                      <a:pt x="96" y="620"/>
                    </a:lnTo>
                    <a:lnTo>
                      <a:pt x="90" y="620"/>
                    </a:lnTo>
                    <a:lnTo>
                      <a:pt x="86" y="620"/>
                    </a:lnTo>
                    <a:lnTo>
                      <a:pt x="82" y="624"/>
                    </a:lnTo>
                    <a:lnTo>
                      <a:pt x="80" y="628"/>
                    </a:lnTo>
                    <a:lnTo>
                      <a:pt x="74" y="630"/>
                    </a:lnTo>
                    <a:lnTo>
                      <a:pt x="70" y="628"/>
                    </a:lnTo>
                    <a:lnTo>
                      <a:pt x="66" y="626"/>
                    </a:lnTo>
                    <a:lnTo>
                      <a:pt x="58" y="618"/>
                    </a:lnTo>
                    <a:lnTo>
                      <a:pt x="52" y="622"/>
                    </a:lnTo>
                    <a:lnTo>
                      <a:pt x="48" y="622"/>
                    </a:lnTo>
                    <a:lnTo>
                      <a:pt x="44" y="622"/>
                    </a:lnTo>
                    <a:lnTo>
                      <a:pt x="40" y="622"/>
                    </a:lnTo>
                    <a:lnTo>
                      <a:pt x="36" y="618"/>
                    </a:lnTo>
                    <a:lnTo>
                      <a:pt x="34" y="614"/>
                    </a:lnTo>
                    <a:lnTo>
                      <a:pt x="34" y="610"/>
                    </a:lnTo>
                    <a:lnTo>
                      <a:pt x="34" y="608"/>
                    </a:lnTo>
                    <a:lnTo>
                      <a:pt x="34" y="606"/>
                    </a:lnTo>
                    <a:lnTo>
                      <a:pt x="34" y="602"/>
                    </a:lnTo>
                    <a:lnTo>
                      <a:pt x="36" y="596"/>
                    </a:lnTo>
                    <a:lnTo>
                      <a:pt x="38" y="590"/>
                    </a:lnTo>
                    <a:lnTo>
                      <a:pt x="40" y="584"/>
                    </a:lnTo>
                    <a:lnTo>
                      <a:pt x="38" y="578"/>
                    </a:lnTo>
                    <a:lnTo>
                      <a:pt x="36" y="572"/>
                    </a:lnTo>
                    <a:lnTo>
                      <a:pt x="26" y="560"/>
                    </a:lnTo>
                    <a:lnTo>
                      <a:pt x="16" y="552"/>
                    </a:lnTo>
                    <a:lnTo>
                      <a:pt x="12" y="546"/>
                    </a:lnTo>
                    <a:lnTo>
                      <a:pt x="12" y="542"/>
                    </a:lnTo>
                    <a:lnTo>
                      <a:pt x="14" y="532"/>
                    </a:lnTo>
                    <a:lnTo>
                      <a:pt x="16" y="522"/>
                    </a:lnTo>
                    <a:lnTo>
                      <a:pt x="16" y="518"/>
                    </a:lnTo>
                    <a:lnTo>
                      <a:pt x="12" y="514"/>
                    </a:lnTo>
                    <a:lnTo>
                      <a:pt x="10" y="510"/>
                    </a:lnTo>
                    <a:lnTo>
                      <a:pt x="8" y="506"/>
                    </a:lnTo>
                    <a:lnTo>
                      <a:pt x="0" y="488"/>
                    </a:lnTo>
                    <a:lnTo>
                      <a:pt x="16" y="484"/>
                    </a:lnTo>
                    <a:lnTo>
                      <a:pt x="24" y="482"/>
                    </a:lnTo>
                    <a:lnTo>
                      <a:pt x="28" y="478"/>
                    </a:lnTo>
                    <a:lnTo>
                      <a:pt x="30" y="476"/>
                    </a:lnTo>
                    <a:lnTo>
                      <a:pt x="32" y="466"/>
                    </a:lnTo>
                    <a:lnTo>
                      <a:pt x="34" y="456"/>
                    </a:lnTo>
                    <a:lnTo>
                      <a:pt x="36" y="450"/>
                    </a:lnTo>
                    <a:lnTo>
                      <a:pt x="38" y="448"/>
                    </a:lnTo>
                    <a:lnTo>
                      <a:pt x="44" y="446"/>
                    </a:lnTo>
                    <a:lnTo>
                      <a:pt x="50" y="444"/>
                    </a:lnTo>
                    <a:lnTo>
                      <a:pt x="54" y="446"/>
                    </a:lnTo>
                    <a:lnTo>
                      <a:pt x="58" y="448"/>
                    </a:lnTo>
                    <a:lnTo>
                      <a:pt x="62" y="454"/>
                    </a:lnTo>
                    <a:lnTo>
                      <a:pt x="68" y="462"/>
                    </a:lnTo>
                    <a:lnTo>
                      <a:pt x="74" y="468"/>
                    </a:lnTo>
                    <a:lnTo>
                      <a:pt x="80" y="462"/>
                    </a:lnTo>
                    <a:lnTo>
                      <a:pt x="84" y="458"/>
                    </a:lnTo>
                    <a:lnTo>
                      <a:pt x="90" y="458"/>
                    </a:lnTo>
                    <a:lnTo>
                      <a:pt x="98" y="458"/>
                    </a:lnTo>
                    <a:lnTo>
                      <a:pt x="104" y="460"/>
                    </a:lnTo>
                    <a:lnTo>
                      <a:pt x="110" y="462"/>
                    </a:lnTo>
                    <a:lnTo>
                      <a:pt x="120" y="462"/>
                    </a:lnTo>
                    <a:lnTo>
                      <a:pt x="128" y="462"/>
                    </a:lnTo>
                    <a:lnTo>
                      <a:pt x="136" y="462"/>
                    </a:lnTo>
                    <a:lnTo>
                      <a:pt x="140" y="458"/>
                    </a:lnTo>
                    <a:lnTo>
                      <a:pt x="144" y="450"/>
                    </a:lnTo>
                    <a:lnTo>
                      <a:pt x="152" y="458"/>
                    </a:lnTo>
                    <a:lnTo>
                      <a:pt x="322" y="466"/>
                    </a:lnTo>
                    <a:lnTo>
                      <a:pt x="334" y="426"/>
                    </a:lnTo>
                    <a:lnTo>
                      <a:pt x="320" y="414"/>
                    </a:lnTo>
                    <a:lnTo>
                      <a:pt x="326" y="0"/>
                    </a:lnTo>
                    <a:lnTo>
                      <a:pt x="406" y="0"/>
                    </a:lnTo>
                    <a:lnTo>
                      <a:pt x="402" y="0"/>
                    </a:lnTo>
                    <a:lnTo>
                      <a:pt x="630" y="192"/>
                    </a:lnTo>
                    <a:lnTo>
                      <a:pt x="632" y="196"/>
                    </a:lnTo>
                    <a:lnTo>
                      <a:pt x="634" y="198"/>
                    </a:lnTo>
                    <a:lnTo>
                      <a:pt x="640" y="200"/>
                    </a:lnTo>
                    <a:lnTo>
                      <a:pt x="646" y="202"/>
                    </a:lnTo>
                    <a:lnTo>
                      <a:pt x="650" y="206"/>
                    </a:lnTo>
                    <a:lnTo>
                      <a:pt x="652" y="212"/>
                    </a:lnTo>
                    <a:lnTo>
                      <a:pt x="652" y="218"/>
                    </a:lnTo>
                    <a:lnTo>
                      <a:pt x="652" y="224"/>
                    </a:lnTo>
                    <a:lnTo>
                      <a:pt x="654" y="228"/>
                    </a:lnTo>
                    <a:lnTo>
                      <a:pt x="660" y="230"/>
                    </a:lnTo>
                    <a:lnTo>
                      <a:pt x="668" y="232"/>
                    </a:lnTo>
                    <a:lnTo>
                      <a:pt x="670" y="238"/>
                    </a:lnTo>
                    <a:lnTo>
                      <a:pt x="672" y="244"/>
                    </a:lnTo>
                    <a:lnTo>
                      <a:pt x="676" y="248"/>
                    </a:lnTo>
                    <a:lnTo>
                      <a:pt x="682" y="250"/>
                    </a:lnTo>
                    <a:lnTo>
                      <a:pt x="694" y="256"/>
                    </a:lnTo>
                    <a:lnTo>
                      <a:pt x="706" y="260"/>
                    </a:lnTo>
                    <a:lnTo>
                      <a:pt x="718" y="264"/>
                    </a:lnTo>
                    <a:lnTo>
                      <a:pt x="730" y="270"/>
                    </a:lnTo>
                    <a:lnTo>
                      <a:pt x="734" y="274"/>
                    </a:lnTo>
                    <a:lnTo>
                      <a:pt x="738" y="278"/>
                    </a:lnTo>
                    <a:lnTo>
                      <a:pt x="740" y="286"/>
                    </a:lnTo>
                    <a:lnTo>
                      <a:pt x="740" y="294"/>
                    </a:lnTo>
                    <a:lnTo>
                      <a:pt x="740" y="296"/>
                    </a:lnTo>
                    <a:lnTo>
                      <a:pt x="738" y="298"/>
                    </a:lnTo>
                    <a:lnTo>
                      <a:pt x="736" y="300"/>
                    </a:lnTo>
                    <a:lnTo>
                      <a:pt x="734" y="304"/>
                    </a:lnTo>
                    <a:lnTo>
                      <a:pt x="736" y="308"/>
                    </a:lnTo>
                    <a:lnTo>
                      <a:pt x="738" y="310"/>
                    </a:lnTo>
                    <a:lnTo>
                      <a:pt x="742" y="314"/>
                    </a:lnTo>
                    <a:lnTo>
                      <a:pt x="786" y="308"/>
                    </a:lnTo>
                    <a:lnTo>
                      <a:pt x="782" y="316"/>
                    </a:lnTo>
                    <a:lnTo>
                      <a:pt x="782" y="326"/>
                    </a:lnTo>
                    <a:lnTo>
                      <a:pt x="782" y="344"/>
                    </a:lnTo>
                    <a:lnTo>
                      <a:pt x="784" y="362"/>
                    </a:lnTo>
                    <a:lnTo>
                      <a:pt x="786" y="384"/>
                    </a:lnTo>
                    <a:lnTo>
                      <a:pt x="784" y="404"/>
                    </a:lnTo>
                    <a:lnTo>
                      <a:pt x="782" y="420"/>
                    </a:lnTo>
                    <a:lnTo>
                      <a:pt x="780" y="436"/>
                    </a:lnTo>
                    <a:lnTo>
                      <a:pt x="774" y="450"/>
                    </a:lnTo>
                    <a:lnTo>
                      <a:pt x="768" y="462"/>
                    </a:lnTo>
                    <a:lnTo>
                      <a:pt x="758" y="472"/>
                    </a:lnTo>
                    <a:lnTo>
                      <a:pt x="746" y="480"/>
                    </a:lnTo>
                    <a:lnTo>
                      <a:pt x="732" y="488"/>
                    </a:lnTo>
                    <a:lnTo>
                      <a:pt x="692" y="488"/>
                    </a:lnTo>
                    <a:lnTo>
                      <a:pt x="692" y="490"/>
                    </a:lnTo>
                    <a:lnTo>
                      <a:pt x="642" y="490"/>
                    </a:lnTo>
                    <a:lnTo>
                      <a:pt x="630" y="500"/>
                    </a:lnTo>
                    <a:lnTo>
                      <a:pt x="624" y="506"/>
                    </a:lnTo>
                    <a:lnTo>
                      <a:pt x="618" y="508"/>
                    </a:lnTo>
                    <a:lnTo>
                      <a:pt x="608" y="506"/>
                    </a:lnTo>
                    <a:lnTo>
                      <a:pt x="600" y="504"/>
                    </a:lnTo>
                    <a:lnTo>
                      <a:pt x="594" y="502"/>
                    </a:lnTo>
                    <a:lnTo>
                      <a:pt x="590" y="504"/>
                    </a:lnTo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88" name="Freeform 46"/>
              <p:cNvSpPr>
                <a:spLocks/>
              </p:cNvSpPr>
              <p:nvPr/>
            </p:nvSpPr>
            <p:spPr bwMode="gray">
              <a:xfrm>
                <a:off x="5214938" y="3240882"/>
                <a:ext cx="388937" cy="419100"/>
              </a:xfrm>
              <a:custGeom>
                <a:avLst/>
                <a:gdLst>
                  <a:gd name="T0" fmla="*/ 2147483647 w 268"/>
                  <a:gd name="T1" fmla="*/ 2147483647 h 289"/>
                  <a:gd name="T2" fmla="*/ 2147483647 w 268"/>
                  <a:gd name="T3" fmla="*/ 2147483647 h 289"/>
                  <a:gd name="T4" fmla="*/ 2147483647 w 268"/>
                  <a:gd name="T5" fmla="*/ 2147483647 h 289"/>
                  <a:gd name="T6" fmla="*/ 2147483647 w 268"/>
                  <a:gd name="T7" fmla="*/ 2147483647 h 289"/>
                  <a:gd name="T8" fmla="*/ 2147483647 w 268"/>
                  <a:gd name="T9" fmla="*/ 2147483647 h 289"/>
                  <a:gd name="T10" fmla="*/ 2147483647 w 268"/>
                  <a:gd name="T11" fmla="*/ 2147483647 h 289"/>
                  <a:gd name="T12" fmla="*/ 2147483647 w 268"/>
                  <a:gd name="T13" fmla="*/ 2147483647 h 289"/>
                  <a:gd name="T14" fmla="*/ 2147483647 w 268"/>
                  <a:gd name="T15" fmla="*/ 2147483647 h 289"/>
                  <a:gd name="T16" fmla="*/ 2147483647 w 268"/>
                  <a:gd name="T17" fmla="*/ 2147483647 h 289"/>
                  <a:gd name="T18" fmla="*/ 2147483647 w 268"/>
                  <a:gd name="T19" fmla="*/ 2147483647 h 289"/>
                  <a:gd name="T20" fmla="*/ 2147483647 w 268"/>
                  <a:gd name="T21" fmla="*/ 2147483647 h 289"/>
                  <a:gd name="T22" fmla="*/ 2147483647 w 268"/>
                  <a:gd name="T23" fmla="*/ 2147483647 h 289"/>
                  <a:gd name="T24" fmla="*/ 2147483647 w 268"/>
                  <a:gd name="T25" fmla="*/ 2147483647 h 289"/>
                  <a:gd name="T26" fmla="*/ 0 w 268"/>
                  <a:gd name="T27" fmla="*/ 2147483647 h 289"/>
                  <a:gd name="T28" fmla="*/ 2147483647 w 268"/>
                  <a:gd name="T29" fmla="*/ 2147483647 h 289"/>
                  <a:gd name="T30" fmla="*/ 2147483647 w 268"/>
                  <a:gd name="T31" fmla="*/ 2147483647 h 289"/>
                  <a:gd name="T32" fmla="*/ 2147483647 w 268"/>
                  <a:gd name="T33" fmla="*/ 2147483647 h 289"/>
                  <a:gd name="T34" fmla="*/ 2147483647 w 268"/>
                  <a:gd name="T35" fmla="*/ 2147483647 h 289"/>
                  <a:gd name="T36" fmla="*/ 2147483647 w 268"/>
                  <a:gd name="T37" fmla="*/ 2147483647 h 289"/>
                  <a:gd name="T38" fmla="*/ 2147483647 w 268"/>
                  <a:gd name="T39" fmla="*/ 2147483647 h 289"/>
                  <a:gd name="T40" fmla="*/ 2147483647 w 268"/>
                  <a:gd name="T41" fmla="*/ 2147483647 h 289"/>
                  <a:gd name="T42" fmla="*/ 2147483647 w 268"/>
                  <a:gd name="T43" fmla="*/ 2147483647 h 289"/>
                  <a:gd name="T44" fmla="*/ 2147483647 w 268"/>
                  <a:gd name="T45" fmla="*/ 2147483647 h 289"/>
                  <a:gd name="T46" fmla="*/ 2147483647 w 268"/>
                  <a:gd name="T47" fmla="*/ 2147483647 h 289"/>
                  <a:gd name="T48" fmla="*/ 2147483647 w 268"/>
                  <a:gd name="T49" fmla="*/ 2147483647 h 289"/>
                  <a:gd name="T50" fmla="*/ 2147483647 w 268"/>
                  <a:gd name="T51" fmla="*/ 2147483647 h 289"/>
                  <a:gd name="T52" fmla="*/ 2147483647 w 268"/>
                  <a:gd name="T53" fmla="*/ 2147483647 h 289"/>
                  <a:gd name="T54" fmla="*/ 2147483647 w 268"/>
                  <a:gd name="T55" fmla="*/ 2147483647 h 289"/>
                  <a:gd name="T56" fmla="*/ 2147483647 w 268"/>
                  <a:gd name="T57" fmla="*/ 2147483647 h 289"/>
                  <a:gd name="T58" fmla="*/ 2147483647 w 268"/>
                  <a:gd name="T59" fmla="*/ 2147483647 h 289"/>
                  <a:gd name="T60" fmla="*/ 2147483647 w 268"/>
                  <a:gd name="T61" fmla="*/ 2147483647 h 289"/>
                  <a:gd name="T62" fmla="*/ 2147483647 w 268"/>
                  <a:gd name="T63" fmla="*/ 2147483647 h 289"/>
                  <a:gd name="T64" fmla="*/ 2147483647 w 268"/>
                  <a:gd name="T65" fmla="*/ 2147483647 h 289"/>
                  <a:gd name="T66" fmla="*/ 2147483647 w 268"/>
                  <a:gd name="T67" fmla="*/ 2147483647 h 289"/>
                  <a:gd name="T68" fmla="*/ 2147483647 w 268"/>
                  <a:gd name="T69" fmla="*/ 2147483647 h 289"/>
                  <a:gd name="T70" fmla="*/ 2147483647 w 268"/>
                  <a:gd name="T71" fmla="*/ 2147483647 h 289"/>
                  <a:gd name="T72" fmla="*/ 2147483647 w 268"/>
                  <a:gd name="T73" fmla="*/ 2147483647 h 289"/>
                  <a:gd name="T74" fmla="*/ 2147483647 w 268"/>
                  <a:gd name="T75" fmla="*/ 2147483647 h 289"/>
                  <a:gd name="T76" fmla="*/ 2147483647 w 268"/>
                  <a:gd name="T77" fmla="*/ 2147483647 h 289"/>
                  <a:gd name="T78" fmla="*/ 2147483647 w 268"/>
                  <a:gd name="T79" fmla="*/ 2147483647 h 289"/>
                  <a:gd name="T80" fmla="*/ 2147483647 w 268"/>
                  <a:gd name="T81" fmla="*/ 2147483647 h 289"/>
                  <a:gd name="T82" fmla="*/ 2147483647 w 268"/>
                  <a:gd name="T83" fmla="*/ 2147483647 h 289"/>
                  <a:gd name="T84" fmla="*/ 2147483647 w 268"/>
                  <a:gd name="T85" fmla="*/ 2147483647 h 289"/>
                  <a:gd name="T86" fmla="*/ 2147483647 w 268"/>
                  <a:gd name="T87" fmla="*/ 2147483647 h 289"/>
                  <a:gd name="T88" fmla="*/ 2147483647 w 268"/>
                  <a:gd name="T89" fmla="*/ 0 h 289"/>
                  <a:gd name="T90" fmla="*/ 2147483647 w 268"/>
                  <a:gd name="T91" fmla="*/ 2147483647 h 289"/>
                  <a:gd name="T92" fmla="*/ 2147483647 w 268"/>
                  <a:gd name="T93" fmla="*/ 2147483647 h 289"/>
                  <a:gd name="T94" fmla="*/ 2147483647 w 268"/>
                  <a:gd name="T95" fmla="*/ 2147483647 h 289"/>
                  <a:gd name="T96" fmla="*/ 2147483647 w 268"/>
                  <a:gd name="T97" fmla="*/ 2147483647 h 289"/>
                  <a:gd name="T98" fmla="*/ 2147483647 w 268"/>
                  <a:gd name="T99" fmla="*/ 2147483647 h 289"/>
                  <a:gd name="T100" fmla="*/ 2147483647 w 268"/>
                  <a:gd name="T101" fmla="*/ 2147483647 h 289"/>
                  <a:gd name="T102" fmla="*/ 2147483647 w 268"/>
                  <a:gd name="T103" fmla="*/ 2147483647 h 289"/>
                  <a:gd name="T104" fmla="*/ 2147483647 w 268"/>
                  <a:gd name="T105" fmla="*/ 2147483647 h 289"/>
                  <a:gd name="T106" fmla="*/ 2147483647 w 268"/>
                  <a:gd name="T107" fmla="*/ 2147483647 h 289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68"/>
                  <a:gd name="T163" fmla="*/ 0 h 289"/>
                  <a:gd name="T164" fmla="*/ 268 w 268"/>
                  <a:gd name="T165" fmla="*/ 289 h 289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68" h="289">
                    <a:moveTo>
                      <a:pt x="56" y="42"/>
                    </a:moveTo>
                    <a:lnTo>
                      <a:pt x="58" y="48"/>
                    </a:lnTo>
                    <a:lnTo>
                      <a:pt x="58" y="54"/>
                    </a:lnTo>
                    <a:lnTo>
                      <a:pt x="56" y="66"/>
                    </a:lnTo>
                    <a:lnTo>
                      <a:pt x="58" y="74"/>
                    </a:lnTo>
                    <a:lnTo>
                      <a:pt x="58" y="80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4" y="90"/>
                    </a:lnTo>
                    <a:lnTo>
                      <a:pt x="54" y="94"/>
                    </a:lnTo>
                    <a:lnTo>
                      <a:pt x="54" y="98"/>
                    </a:lnTo>
                    <a:lnTo>
                      <a:pt x="58" y="100"/>
                    </a:lnTo>
                    <a:lnTo>
                      <a:pt x="64" y="104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6" y="112"/>
                    </a:lnTo>
                    <a:lnTo>
                      <a:pt x="74" y="120"/>
                    </a:lnTo>
                    <a:lnTo>
                      <a:pt x="68" y="126"/>
                    </a:lnTo>
                    <a:lnTo>
                      <a:pt x="58" y="136"/>
                    </a:lnTo>
                    <a:lnTo>
                      <a:pt x="24" y="169"/>
                    </a:lnTo>
                    <a:lnTo>
                      <a:pt x="18" y="175"/>
                    </a:lnTo>
                    <a:lnTo>
                      <a:pt x="16" y="179"/>
                    </a:lnTo>
                    <a:lnTo>
                      <a:pt x="14" y="183"/>
                    </a:lnTo>
                    <a:lnTo>
                      <a:pt x="12" y="203"/>
                    </a:lnTo>
                    <a:lnTo>
                      <a:pt x="6" y="225"/>
                    </a:lnTo>
                    <a:lnTo>
                      <a:pt x="2" y="249"/>
                    </a:lnTo>
                    <a:lnTo>
                      <a:pt x="0" y="261"/>
                    </a:lnTo>
                    <a:lnTo>
                      <a:pt x="0" y="275"/>
                    </a:lnTo>
                    <a:lnTo>
                      <a:pt x="0" y="289"/>
                    </a:lnTo>
                    <a:lnTo>
                      <a:pt x="6" y="287"/>
                    </a:lnTo>
                    <a:lnTo>
                      <a:pt x="12" y="285"/>
                    </a:lnTo>
                    <a:lnTo>
                      <a:pt x="14" y="287"/>
                    </a:lnTo>
                    <a:lnTo>
                      <a:pt x="16" y="287"/>
                    </a:lnTo>
                    <a:lnTo>
                      <a:pt x="20" y="289"/>
                    </a:lnTo>
                    <a:lnTo>
                      <a:pt x="26" y="287"/>
                    </a:lnTo>
                    <a:lnTo>
                      <a:pt x="32" y="283"/>
                    </a:lnTo>
                    <a:lnTo>
                      <a:pt x="38" y="279"/>
                    </a:lnTo>
                    <a:lnTo>
                      <a:pt x="44" y="275"/>
                    </a:lnTo>
                    <a:lnTo>
                      <a:pt x="46" y="275"/>
                    </a:lnTo>
                    <a:lnTo>
                      <a:pt x="46" y="271"/>
                    </a:lnTo>
                    <a:lnTo>
                      <a:pt x="50" y="267"/>
                    </a:lnTo>
                    <a:lnTo>
                      <a:pt x="114" y="267"/>
                    </a:lnTo>
                    <a:lnTo>
                      <a:pt x="110" y="263"/>
                    </a:lnTo>
                    <a:lnTo>
                      <a:pt x="110" y="257"/>
                    </a:lnTo>
                    <a:lnTo>
                      <a:pt x="110" y="253"/>
                    </a:lnTo>
                    <a:lnTo>
                      <a:pt x="112" y="249"/>
                    </a:lnTo>
                    <a:lnTo>
                      <a:pt x="116" y="245"/>
                    </a:lnTo>
                    <a:lnTo>
                      <a:pt x="118" y="241"/>
                    </a:lnTo>
                    <a:lnTo>
                      <a:pt x="120" y="239"/>
                    </a:lnTo>
                    <a:lnTo>
                      <a:pt x="122" y="229"/>
                    </a:lnTo>
                    <a:lnTo>
                      <a:pt x="126" y="227"/>
                    </a:lnTo>
                    <a:lnTo>
                      <a:pt x="132" y="223"/>
                    </a:lnTo>
                    <a:lnTo>
                      <a:pt x="146" y="219"/>
                    </a:lnTo>
                    <a:lnTo>
                      <a:pt x="150" y="219"/>
                    </a:lnTo>
                    <a:lnTo>
                      <a:pt x="152" y="217"/>
                    </a:lnTo>
                    <a:lnTo>
                      <a:pt x="154" y="215"/>
                    </a:lnTo>
                    <a:lnTo>
                      <a:pt x="156" y="213"/>
                    </a:lnTo>
                    <a:lnTo>
                      <a:pt x="160" y="211"/>
                    </a:lnTo>
                    <a:lnTo>
                      <a:pt x="164" y="213"/>
                    </a:lnTo>
                    <a:lnTo>
                      <a:pt x="168" y="215"/>
                    </a:lnTo>
                    <a:lnTo>
                      <a:pt x="172" y="213"/>
                    </a:lnTo>
                    <a:lnTo>
                      <a:pt x="174" y="211"/>
                    </a:lnTo>
                    <a:lnTo>
                      <a:pt x="176" y="207"/>
                    </a:lnTo>
                    <a:lnTo>
                      <a:pt x="180" y="211"/>
                    </a:lnTo>
                    <a:lnTo>
                      <a:pt x="184" y="211"/>
                    </a:lnTo>
                    <a:lnTo>
                      <a:pt x="186" y="211"/>
                    </a:lnTo>
                    <a:lnTo>
                      <a:pt x="188" y="209"/>
                    </a:lnTo>
                    <a:lnTo>
                      <a:pt x="192" y="205"/>
                    </a:lnTo>
                    <a:lnTo>
                      <a:pt x="194" y="201"/>
                    </a:lnTo>
                    <a:lnTo>
                      <a:pt x="196" y="199"/>
                    </a:lnTo>
                    <a:lnTo>
                      <a:pt x="202" y="199"/>
                    </a:lnTo>
                    <a:lnTo>
                      <a:pt x="204" y="207"/>
                    </a:lnTo>
                    <a:lnTo>
                      <a:pt x="208" y="213"/>
                    </a:lnTo>
                    <a:lnTo>
                      <a:pt x="214" y="219"/>
                    </a:lnTo>
                    <a:lnTo>
                      <a:pt x="218" y="223"/>
                    </a:lnTo>
                    <a:lnTo>
                      <a:pt x="218" y="215"/>
                    </a:lnTo>
                    <a:lnTo>
                      <a:pt x="220" y="205"/>
                    </a:lnTo>
                    <a:lnTo>
                      <a:pt x="226" y="193"/>
                    </a:lnTo>
                    <a:lnTo>
                      <a:pt x="232" y="183"/>
                    </a:lnTo>
                    <a:lnTo>
                      <a:pt x="248" y="163"/>
                    </a:lnTo>
                    <a:lnTo>
                      <a:pt x="256" y="155"/>
                    </a:lnTo>
                    <a:lnTo>
                      <a:pt x="262" y="142"/>
                    </a:lnTo>
                    <a:lnTo>
                      <a:pt x="266" y="130"/>
                    </a:lnTo>
                    <a:lnTo>
                      <a:pt x="268" y="118"/>
                    </a:lnTo>
                    <a:lnTo>
                      <a:pt x="266" y="100"/>
                    </a:lnTo>
                    <a:lnTo>
                      <a:pt x="262" y="84"/>
                    </a:lnTo>
                    <a:lnTo>
                      <a:pt x="256" y="68"/>
                    </a:lnTo>
                    <a:lnTo>
                      <a:pt x="248" y="54"/>
                    </a:lnTo>
                    <a:lnTo>
                      <a:pt x="232" y="26"/>
                    </a:lnTo>
                    <a:lnTo>
                      <a:pt x="218" y="0"/>
                    </a:lnTo>
                    <a:lnTo>
                      <a:pt x="200" y="18"/>
                    </a:lnTo>
                    <a:lnTo>
                      <a:pt x="192" y="24"/>
                    </a:lnTo>
                    <a:lnTo>
                      <a:pt x="184" y="28"/>
                    </a:lnTo>
                    <a:lnTo>
                      <a:pt x="168" y="28"/>
                    </a:lnTo>
                    <a:lnTo>
                      <a:pt x="160" y="28"/>
                    </a:lnTo>
                    <a:lnTo>
                      <a:pt x="150" y="32"/>
                    </a:lnTo>
                    <a:lnTo>
                      <a:pt x="138" y="34"/>
                    </a:lnTo>
                    <a:lnTo>
                      <a:pt x="128" y="36"/>
                    </a:lnTo>
                    <a:lnTo>
                      <a:pt x="120" y="36"/>
                    </a:lnTo>
                    <a:lnTo>
                      <a:pt x="114" y="32"/>
                    </a:lnTo>
                    <a:lnTo>
                      <a:pt x="108" y="30"/>
                    </a:lnTo>
                    <a:lnTo>
                      <a:pt x="98" y="30"/>
                    </a:lnTo>
                    <a:lnTo>
                      <a:pt x="90" y="30"/>
                    </a:lnTo>
                    <a:lnTo>
                      <a:pt x="84" y="32"/>
                    </a:lnTo>
                    <a:lnTo>
                      <a:pt x="72" y="36"/>
                    </a:lnTo>
                    <a:lnTo>
                      <a:pt x="64" y="42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89" name="Freeform 49"/>
              <p:cNvSpPr>
                <a:spLocks/>
              </p:cNvSpPr>
              <p:nvPr/>
            </p:nvSpPr>
            <p:spPr bwMode="gray">
              <a:xfrm>
                <a:off x="5453063" y="2482057"/>
                <a:ext cx="1022350" cy="814388"/>
              </a:xfrm>
              <a:custGeom>
                <a:avLst/>
                <a:gdLst>
                  <a:gd name="T0" fmla="*/ 2147483647 w 706"/>
                  <a:gd name="T1" fmla="*/ 2147483647 h 562"/>
                  <a:gd name="T2" fmla="*/ 2147483647 w 706"/>
                  <a:gd name="T3" fmla="*/ 2147483647 h 562"/>
                  <a:gd name="T4" fmla="*/ 2147483647 w 706"/>
                  <a:gd name="T5" fmla="*/ 2147483647 h 562"/>
                  <a:gd name="T6" fmla="*/ 2147483647 w 706"/>
                  <a:gd name="T7" fmla="*/ 2147483647 h 562"/>
                  <a:gd name="T8" fmla="*/ 2147483647 w 706"/>
                  <a:gd name="T9" fmla="*/ 2147483647 h 562"/>
                  <a:gd name="T10" fmla="*/ 2147483647 w 706"/>
                  <a:gd name="T11" fmla="*/ 2147483647 h 562"/>
                  <a:gd name="T12" fmla="*/ 2147483647 w 706"/>
                  <a:gd name="T13" fmla="*/ 2147483647 h 562"/>
                  <a:gd name="T14" fmla="*/ 2147483647 w 706"/>
                  <a:gd name="T15" fmla="*/ 2147483647 h 562"/>
                  <a:gd name="T16" fmla="*/ 2147483647 w 706"/>
                  <a:gd name="T17" fmla="*/ 2147483647 h 562"/>
                  <a:gd name="T18" fmla="*/ 2147483647 w 706"/>
                  <a:gd name="T19" fmla="*/ 2147483647 h 562"/>
                  <a:gd name="T20" fmla="*/ 2147483647 w 706"/>
                  <a:gd name="T21" fmla="*/ 2147483647 h 562"/>
                  <a:gd name="T22" fmla="*/ 2147483647 w 706"/>
                  <a:gd name="T23" fmla="*/ 2147483647 h 562"/>
                  <a:gd name="T24" fmla="*/ 2147483647 w 706"/>
                  <a:gd name="T25" fmla="*/ 2147483647 h 562"/>
                  <a:gd name="T26" fmla="*/ 2147483647 w 706"/>
                  <a:gd name="T27" fmla="*/ 2147483647 h 562"/>
                  <a:gd name="T28" fmla="*/ 2147483647 w 706"/>
                  <a:gd name="T29" fmla="*/ 2147483647 h 562"/>
                  <a:gd name="T30" fmla="*/ 0 w 706"/>
                  <a:gd name="T31" fmla="*/ 2147483647 h 562"/>
                  <a:gd name="T32" fmla="*/ 2147483647 w 706"/>
                  <a:gd name="T33" fmla="*/ 2147483647 h 562"/>
                  <a:gd name="T34" fmla="*/ 2147483647 w 706"/>
                  <a:gd name="T35" fmla="*/ 2147483647 h 562"/>
                  <a:gd name="T36" fmla="*/ 2147483647 w 706"/>
                  <a:gd name="T37" fmla="*/ 2147483647 h 562"/>
                  <a:gd name="T38" fmla="*/ 2147483647 w 706"/>
                  <a:gd name="T39" fmla="*/ 2147483647 h 562"/>
                  <a:gd name="T40" fmla="*/ 2147483647 w 706"/>
                  <a:gd name="T41" fmla="*/ 2147483647 h 562"/>
                  <a:gd name="T42" fmla="*/ 2147483647 w 706"/>
                  <a:gd name="T43" fmla="*/ 2147483647 h 562"/>
                  <a:gd name="T44" fmla="*/ 2147483647 w 706"/>
                  <a:gd name="T45" fmla="*/ 2147483647 h 562"/>
                  <a:gd name="T46" fmla="*/ 2147483647 w 706"/>
                  <a:gd name="T47" fmla="*/ 2147483647 h 562"/>
                  <a:gd name="T48" fmla="*/ 2147483647 w 706"/>
                  <a:gd name="T49" fmla="*/ 2147483647 h 562"/>
                  <a:gd name="T50" fmla="*/ 2147483647 w 706"/>
                  <a:gd name="T51" fmla="*/ 2147483647 h 562"/>
                  <a:gd name="T52" fmla="*/ 2147483647 w 706"/>
                  <a:gd name="T53" fmla="*/ 2147483647 h 562"/>
                  <a:gd name="T54" fmla="*/ 2147483647 w 706"/>
                  <a:gd name="T55" fmla="*/ 2147483647 h 562"/>
                  <a:gd name="T56" fmla="*/ 2147483647 w 706"/>
                  <a:gd name="T57" fmla="*/ 2147483647 h 562"/>
                  <a:gd name="T58" fmla="*/ 2147483647 w 706"/>
                  <a:gd name="T59" fmla="*/ 2147483647 h 562"/>
                  <a:gd name="T60" fmla="*/ 2147483647 w 706"/>
                  <a:gd name="T61" fmla="*/ 2147483647 h 562"/>
                  <a:gd name="T62" fmla="*/ 2147483647 w 706"/>
                  <a:gd name="T63" fmla="*/ 2147483647 h 562"/>
                  <a:gd name="T64" fmla="*/ 2147483647 w 706"/>
                  <a:gd name="T65" fmla="*/ 2147483647 h 562"/>
                  <a:gd name="T66" fmla="*/ 2147483647 w 706"/>
                  <a:gd name="T67" fmla="*/ 2147483647 h 562"/>
                  <a:gd name="T68" fmla="*/ 2147483647 w 706"/>
                  <a:gd name="T69" fmla="*/ 2147483647 h 562"/>
                  <a:gd name="T70" fmla="*/ 2147483647 w 706"/>
                  <a:gd name="T71" fmla="*/ 2147483647 h 562"/>
                  <a:gd name="T72" fmla="*/ 2147483647 w 706"/>
                  <a:gd name="T73" fmla="*/ 2147483647 h 562"/>
                  <a:gd name="T74" fmla="*/ 2147483647 w 706"/>
                  <a:gd name="T75" fmla="*/ 2147483647 h 562"/>
                  <a:gd name="T76" fmla="*/ 2147483647 w 706"/>
                  <a:gd name="T77" fmla="*/ 2147483647 h 562"/>
                  <a:gd name="T78" fmla="*/ 2147483647 w 706"/>
                  <a:gd name="T79" fmla="*/ 2147483647 h 562"/>
                  <a:gd name="T80" fmla="*/ 2147483647 w 706"/>
                  <a:gd name="T81" fmla="*/ 2147483647 h 562"/>
                  <a:gd name="T82" fmla="*/ 2147483647 w 706"/>
                  <a:gd name="T83" fmla="*/ 2147483647 h 562"/>
                  <a:gd name="T84" fmla="*/ 2147483647 w 706"/>
                  <a:gd name="T85" fmla="*/ 2147483647 h 562"/>
                  <a:gd name="T86" fmla="*/ 2147483647 w 706"/>
                  <a:gd name="T87" fmla="*/ 2147483647 h 562"/>
                  <a:gd name="T88" fmla="*/ 2147483647 w 706"/>
                  <a:gd name="T89" fmla="*/ 2147483647 h 562"/>
                  <a:gd name="T90" fmla="*/ 2147483647 w 706"/>
                  <a:gd name="T91" fmla="*/ 2147483647 h 562"/>
                  <a:gd name="T92" fmla="*/ 2147483647 w 706"/>
                  <a:gd name="T93" fmla="*/ 2147483647 h 562"/>
                  <a:gd name="T94" fmla="*/ 2147483647 w 706"/>
                  <a:gd name="T95" fmla="*/ 2147483647 h 562"/>
                  <a:gd name="T96" fmla="*/ 2147483647 w 706"/>
                  <a:gd name="T97" fmla="*/ 2147483647 h 562"/>
                  <a:gd name="T98" fmla="*/ 2147483647 w 706"/>
                  <a:gd name="T99" fmla="*/ 2147483647 h 562"/>
                  <a:gd name="T100" fmla="*/ 2147483647 w 706"/>
                  <a:gd name="T101" fmla="*/ 2147483647 h 562"/>
                  <a:gd name="T102" fmla="*/ 2147483647 w 706"/>
                  <a:gd name="T103" fmla="*/ 2147483647 h 562"/>
                  <a:gd name="T104" fmla="*/ 2147483647 w 706"/>
                  <a:gd name="T105" fmla="*/ 2147483647 h 562"/>
                  <a:gd name="T106" fmla="*/ 2147483647 w 706"/>
                  <a:gd name="T107" fmla="*/ 2147483647 h 562"/>
                  <a:gd name="T108" fmla="*/ 2147483647 w 706"/>
                  <a:gd name="T109" fmla="*/ 2147483647 h 562"/>
                  <a:gd name="T110" fmla="*/ 2147483647 w 706"/>
                  <a:gd name="T111" fmla="*/ 2147483647 h 56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06"/>
                  <a:gd name="T169" fmla="*/ 0 h 562"/>
                  <a:gd name="T170" fmla="*/ 706 w 706"/>
                  <a:gd name="T171" fmla="*/ 562 h 56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06" h="562">
                    <a:moveTo>
                      <a:pt x="148" y="28"/>
                    </a:moveTo>
                    <a:lnTo>
                      <a:pt x="148" y="34"/>
                    </a:lnTo>
                    <a:lnTo>
                      <a:pt x="148" y="46"/>
                    </a:lnTo>
                    <a:lnTo>
                      <a:pt x="144" y="54"/>
                    </a:lnTo>
                    <a:lnTo>
                      <a:pt x="140" y="62"/>
                    </a:lnTo>
                    <a:lnTo>
                      <a:pt x="138" y="70"/>
                    </a:lnTo>
                    <a:lnTo>
                      <a:pt x="138" y="80"/>
                    </a:lnTo>
                    <a:lnTo>
                      <a:pt x="140" y="90"/>
                    </a:lnTo>
                    <a:lnTo>
                      <a:pt x="140" y="100"/>
                    </a:lnTo>
                    <a:lnTo>
                      <a:pt x="138" y="104"/>
                    </a:lnTo>
                    <a:lnTo>
                      <a:pt x="136" y="108"/>
                    </a:lnTo>
                    <a:lnTo>
                      <a:pt x="134" y="110"/>
                    </a:lnTo>
                    <a:lnTo>
                      <a:pt x="128" y="110"/>
                    </a:lnTo>
                    <a:lnTo>
                      <a:pt x="120" y="112"/>
                    </a:lnTo>
                    <a:lnTo>
                      <a:pt x="114" y="116"/>
                    </a:lnTo>
                    <a:lnTo>
                      <a:pt x="112" y="122"/>
                    </a:lnTo>
                    <a:lnTo>
                      <a:pt x="108" y="128"/>
                    </a:lnTo>
                    <a:lnTo>
                      <a:pt x="106" y="134"/>
                    </a:lnTo>
                    <a:lnTo>
                      <a:pt x="100" y="142"/>
                    </a:lnTo>
                    <a:lnTo>
                      <a:pt x="96" y="150"/>
                    </a:lnTo>
                    <a:lnTo>
                      <a:pt x="92" y="166"/>
                    </a:lnTo>
                    <a:lnTo>
                      <a:pt x="90" y="184"/>
                    </a:lnTo>
                    <a:lnTo>
                      <a:pt x="84" y="204"/>
                    </a:lnTo>
                    <a:lnTo>
                      <a:pt x="82" y="204"/>
                    </a:lnTo>
                    <a:lnTo>
                      <a:pt x="80" y="206"/>
                    </a:lnTo>
                    <a:lnTo>
                      <a:pt x="70" y="206"/>
                    </a:lnTo>
                    <a:lnTo>
                      <a:pt x="66" y="208"/>
                    </a:lnTo>
                    <a:lnTo>
                      <a:pt x="62" y="210"/>
                    </a:lnTo>
                    <a:lnTo>
                      <a:pt x="60" y="214"/>
                    </a:lnTo>
                    <a:lnTo>
                      <a:pt x="58" y="220"/>
                    </a:lnTo>
                    <a:lnTo>
                      <a:pt x="58" y="234"/>
                    </a:lnTo>
                    <a:lnTo>
                      <a:pt x="56" y="244"/>
                    </a:lnTo>
                    <a:lnTo>
                      <a:pt x="52" y="254"/>
                    </a:lnTo>
                    <a:lnTo>
                      <a:pt x="50" y="262"/>
                    </a:lnTo>
                    <a:lnTo>
                      <a:pt x="48" y="272"/>
                    </a:lnTo>
                    <a:lnTo>
                      <a:pt x="48" y="304"/>
                    </a:lnTo>
                    <a:lnTo>
                      <a:pt x="46" y="312"/>
                    </a:lnTo>
                    <a:lnTo>
                      <a:pt x="42" y="318"/>
                    </a:lnTo>
                    <a:lnTo>
                      <a:pt x="34" y="320"/>
                    </a:lnTo>
                    <a:lnTo>
                      <a:pt x="28" y="322"/>
                    </a:lnTo>
                    <a:lnTo>
                      <a:pt x="14" y="326"/>
                    </a:lnTo>
                    <a:lnTo>
                      <a:pt x="8" y="330"/>
                    </a:lnTo>
                    <a:lnTo>
                      <a:pt x="6" y="334"/>
                    </a:lnTo>
                    <a:lnTo>
                      <a:pt x="6" y="338"/>
                    </a:lnTo>
                    <a:lnTo>
                      <a:pt x="4" y="342"/>
                    </a:lnTo>
                    <a:lnTo>
                      <a:pt x="0" y="344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2" y="354"/>
                    </a:lnTo>
                    <a:lnTo>
                      <a:pt x="10" y="356"/>
                    </a:lnTo>
                    <a:lnTo>
                      <a:pt x="18" y="354"/>
                    </a:lnTo>
                    <a:lnTo>
                      <a:pt x="26" y="356"/>
                    </a:lnTo>
                    <a:lnTo>
                      <a:pt x="42" y="366"/>
                    </a:lnTo>
                    <a:lnTo>
                      <a:pt x="58" y="380"/>
                    </a:lnTo>
                    <a:lnTo>
                      <a:pt x="72" y="396"/>
                    </a:lnTo>
                    <a:lnTo>
                      <a:pt x="84" y="410"/>
                    </a:lnTo>
                    <a:lnTo>
                      <a:pt x="88" y="416"/>
                    </a:lnTo>
                    <a:lnTo>
                      <a:pt x="90" y="422"/>
                    </a:lnTo>
                    <a:lnTo>
                      <a:pt x="92" y="434"/>
                    </a:lnTo>
                    <a:lnTo>
                      <a:pt x="96" y="448"/>
                    </a:lnTo>
                    <a:lnTo>
                      <a:pt x="98" y="454"/>
                    </a:lnTo>
                    <a:lnTo>
                      <a:pt x="102" y="460"/>
                    </a:lnTo>
                    <a:lnTo>
                      <a:pt x="106" y="464"/>
                    </a:lnTo>
                    <a:lnTo>
                      <a:pt x="112" y="464"/>
                    </a:lnTo>
                    <a:lnTo>
                      <a:pt x="120" y="466"/>
                    </a:lnTo>
                    <a:lnTo>
                      <a:pt x="128" y="466"/>
                    </a:lnTo>
                    <a:lnTo>
                      <a:pt x="130" y="468"/>
                    </a:lnTo>
                    <a:lnTo>
                      <a:pt x="134" y="472"/>
                    </a:lnTo>
                    <a:lnTo>
                      <a:pt x="136" y="480"/>
                    </a:lnTo>
                    <a:lnTo>
                      <a:pt x="138" y="488"/>
                    </a:lnTo>
                    <a:lnTo>
                      <a:pt x="138" y="496"/>
                    </a:lnTo>
                    <a:lnTo>
                      <a:pt x="140" y="502"/>
                    </a:lnTo>
                    <a:lnTo>
                      <a:pt x="142" y="508"/>
                    </a:lnTo>
                    <a:lnTo>
                      <a:pt x="170" y="518"/>
                    </a:lnTo>
                    <a:lnTo>
                      <a:pt x="194" y="526"/>
                    </a:lnTo>
                    <a:lnTo>
                      <a:pt x="216" y="536"/>
                    </a:lnTo>
                    <a:lnTo>
                      <a:pt x="228" y="544"/>
                    </a:lnTo>
                    <a:lnTo>
                      <a:pt x="240" y="552"/>
                    </a:lnTo>
                    <a:lnTo>
                      <a:pt x="276" y="552"/>
                    </a:lnTo>
                    <a:lnTo>
                      <a:pt x="284" y="556"/>
                    </a:lnTo>
                    <a:lnTo>
                      <a:pt x="292" y="558"/>
                    </a:lnTo>
                    <a:lnTo>
                      <a:pt x="302" y="560"/>
                    </a:lnTo>
                    <a:lnTo>
                      <a:pt x="310" y="562"/>
                    </a:lnTo>
                    <a:lnTo>
                      <a:pt x="318" y="560"/>
                    </a:lnTo>
                    <a:lnTo>
                      <a:pt x="326" y="554"/>
                    </a:lnTo>
                    <a:lnTo>
                      <a:pt x="340" y="540"/>
                    </a:lnTo>
                    <a:lnTo>
                      <a:pt x="346" y="532"/>
                    </a:lnTo>
                    <a:lnTo>
                      <a:pt x="354" y="526"/>
                    </a:lnTo>
                    <a:lnTo>
                      <a:pt x="362" y="520"/>
                    </a:lnTo>
                    <a:lnTo>
                      <a:pt x="372" y="518"/>
                    </a:lnTo>
                    <a:lnTo>
                      <a:pt x="376" y="518"/>
                    </a:lnTo>
                    <a:lnTo>
                      <a:pt x="380" y="520"/>
                    </a:lnTo>
                    <a:lnTo>
                      <a:pt x="384" y="526"/>
                    </a:lnTo>
                    <a:lnTo>
                      <a:pt x="390" y="530"/>
                    </a:lnTo>
                    <a:lnTo>
                      <a:pt x="394" y="532"/>
                    </a:lnTo>
                    <a:lnTo>
                      <a:pt x="400" y="532"/>
                    </a:lnTo>
                    <a:lnTo>
                      <a:pt x="416" y="532"/>
                    </a:lnTo>
                    <a:lnTo>
                      <a:pt x="434" y="528"/>
                    </a:lnTo>
                    <a:lnTo>
                      <a:pt x="450" y="522"/>
                    </a:lnTo>
                    <a:lnTo>
                      <a:pt x="466" y="516"/>
                    </a:lnTo>
                    <a:lnTo>
                      <a:pt x="480" y="506"/>
                    </a:lnTo>
                    <a:lnTo>
                      <a:pt x="494" y="498"/>
                    </a:lnTo>
                    <a:lnTo>
                      <a:pt x="516" y="478"/>
                    </a:lnTo>
                    <a:lnTo>
                      <a:pt x="574" y="478"/>
                    </a:lnTo>
                    <a:lnTo>
                      <a:pt x="706" y="316"/>
                    </a:lnTo>
                    <a:lnTo>
                      <a:pt x="706" y="318"/>
                    </a:lnTo>
                    <a:lnTo>
                      <a:pt x="652" y="318"/>
                    </a:lnTo>
                    <a:lnTo>
                      <a:pt x="520" y="278"/>
                    </a:lnTo>
                    <a:lnTo>
                      <a:pt x="510" y="272"/>
                    </a:lnTo>
                    <a:lnTo>
                      <a:pt x="502" y="266"/>
                    </a:lnTo>
                    <a:lnTo>
                      <a:pt x="494" y="260"/>
                    </a:lnTo>
                    <a:lnTo>
                      <a:pt x="488" y="252"/>
                    </a:lnTo>
                    <a:lnTo>
                      <a:pt x="464" y="218"/>
                    </a:lnTo>
                    <a:lnTo>
                      <a:pt x="448" y="200"/>
                    </a:lnTo>
                    <a:lnTo>
                      <a:pt x="450" y="194"/>
                    </a:lnTo>
                    <a:lnTo>
                      <a:pt x="454" y="186"/>
                    </a:lnTo>
                    <a:lnTo>
                      <a:pt x="464" y="174"/>
                    </a:lnTo>
                    <a:lnTo>
                      <a:pt x="462" y="170"/>
                    </a:lnTo>
                    <a:lnTo>
                      <a:pt x="458" y="170"/>
                    </a:lnTo>
                    <a:lnTo>
                      <a:pt x="450" y="172"/>
                    </a:lnTo>
                    <a:lnTo>
                      <a:pt x="442" y="176"/>
                    </a:lnTo>
                    <a:lnTo>
                      <a:pt x="430" y="180"/>
                    </a:lnTo>
                    <a:lnTo>
                      <a:pt x="420" y="184"/>
                    </a:lnTo>
                    <a:lnTo>
                      <a:pt x="404" y="184"/>
                    </a:lnTo>
                    <a:lnTo>
                      <a:pt x="406" y="176"/>
                    </a:lnTo>
                    <a:lnTo>
                      <a:pt x="406" y="166"/>
                    </a:lnTo>
                    <a:lnTo>
                      <a:pt x="404" y="146"/>
                    </a:lnTo>
                    <a:lnTo>
                      <a:pt x="406" y="136"/>
                    </a:lnTo>
                    <a:lnTo>
                      <a:pt x="412" y="128"/>
                    </a:lnTo>
                    <a:lnTo>
                      <a:pt x="422" y="118"/>
                    </a:lnTo>
                    <a:lnTo>
                      <a:pt x="432" y="110"/>
                    </a:lnTo>
                    <a:lnTo>
                      <a:pt x="426" y="102"/>
                    </a:lnTo>
                    <a:lnTo>
                      <a:pt x="420" y="92"/>
                    </a:lnTo>
                    <a:lnTo>
                      <a:pt x="404" y="78"/>
                    </a:lnTo>
                    <a:lnTo>
                      <a:pt x="386" y="66"/>
                    </a:lnTo>
                    <a:lnTo>
                      <a:pt x="372" y="54"/>
                    </a:lnTo>
                    <a:lnTo>
                      <a:pt x="368" y="50"/>
                    </a:lnTo>
                    <a:lnTo>
                      <a:pt x="366" y="44"/>
                    </a:lnTo>
                    <a:lnTo>
                      <a:pt x="364" y="40"/>
                    </a:lnTo>
                    <a:lnTo>
                      <a:pt x="362" y="36"/>
                    </a:lnTo>
                    <a:lnTo>
                      <a:pt x="348" y="26"/>
                    </a:lnTo>
                    <a:lnTo>
                      <a:pt x="334" y="20"/>
                    </a:lnTo>
                    <a:lnTo>
                      <a:pt x="320" y="16"/>
                    </a:lnTo>
                    <a:lnTo>
                      <a:pt x="304" y="16"/>
                    </a:lnTo>
                    <a:lnTo>
                      <a:pt x="292" y="16"/>
                    </a:lnTo>
                    <a:lnTo>
                      <a:pt x="286" y="16"/>
                    </a:lnTo>
                    <a:lnTo>
                      <a:pt x="278" y="18"/>
                    </a:lnTo>
                    <a:lnTo>
                      <a:pt x="276" y="14"/>
                    </a:lnTo>
                    <a:lnTo>
                      <a:pt x="274" y="10"/>
                    </a:lnTo>
                    <a:lnTo>
                      <a:pt x="270" y="10"/>
                    </a:lnTo>
                    <a:lnTo>
                      <a:pt x="266" y="12"/>
                    </a:lnTo>
                    <a:lnTo>
                      <a:pt x="262" y="14"/>
                    </a:lnTo>
                    <a:lnTo>
                      <a:pt x="260" y="18"/>
                    </a:lnTo>
                    <a:lnTo>
                      <a:pt x="254" y="18"/>
                    </a:lnTo>
                    <a:lnTo>
                      <a:pt x="242" y="16"/>
                    </a:lnTo>
                    <a:lnTo>
                      <a:pt x="234" y="12"/>
                    </a:lnTo>
                    <a:lnTo>
                      <a:pt x="226" y="6"/>
                    </a:lnTo>
                    <a:lnTo>
                      <a:pt x="218" y="0"/>
                    </a:lnTo>
                    <a:lnTo>
                      <a:pt x="214" y="8"/>
                    </a:lnTo>
                    <a:lnTo>
                      <a:pt x="210" y="20"/>
                    </a:lnTo>
                    <a:lnTo>
                      <a:pt x="206" y="30"/>
                    </a:lnTo>
                    <a:lnTo>
                      <a:pt x="204" y="34"/>
                    </a:lnTo>
                    <a:lnTo>
                      <a:pt x="202" y="34"/>
                    </a:lnTo>
                    <a:lnTo>
                      <a:pt x="198" y="34"/>
                    </a:lnTo>
                    <a:lnTo>
                      <a:pt x="194" y="30"/>
                    </a:lnTo>
                    <a:lnTo>
                      <a:pt x="192" y="24"/>
                    </a:lnTo>
                    <a:lnTo>
                      <a:pt x="188" y="22"/>
                    </a:lnTo>
                    <a:lnTo>
                      <a:pt x="174" y="30"/>
                    </a:lnTo>
                    <a:lnTo>
                      <a:pt x="166" y="26"/>
                    </a:lnTo>
                    <a:lnTo>
                      <a:pt x="148" y="2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2036763" y="1902620"/>
              <a:ext cx="4640262" cy="3224212"/>
              <a:chOff x="2036763" y="1902620"/>
              <a:chExt cx="4640262" cy="3224212"/>
            </a:xfrm>
          </p:grpSpPr>
          <p:sp>
            <p:nvSpPr>
              <p:cNvPr id="162" name="Freeform 9"/>
              <p:cNvSpPr>
                <a:spLocks/>
              </p:cNvSpPr>
              <p:nvPr/>
            </p:nvSpPr>
            <p:spPr bwMode="gray">
              <a:xfrm>
                <a:off x="6037263" y="2621757"/>
                <a:ext cx="112712" cy="127000"/>
              </a:xfrm>
              <a:custGeom>
                <a:avLst/>
                <a:gdLst>
                  <a:gd name="T0" fmla="*/ 2147483647 w 78"/>
                  <a:gd name="T1" fmla="*/ 2147483647 h 88"/>
                  <a:gd name="T2" fmla="*/ 2147483647 w 78"/>
                  <a:gd name="T3" fmla="*/ 2147483647 h 88"/>
                  <a:gd name="T4" fmla="*/ 2147483647 w 78"/>
                  <a:gd name="T5" fmla="*/ 2147483647 h 88"/>
                  <a:gd name="T6" fmla="*/ 2147483647 w 78"/>
                  <a:gd name="T7" fmla="*/ 2147483647 h 88"/>
                  <a:gd name="T8" fmla="*/ 2147483647 w 78"/>
                  <a:gd name="T9" fmla="*/ 2147483647 h 88"/>
                  <a:gd name="T10" fmla="*/ 2147483647 w 78"/>
                  <a:gd name="T11" fmla="*/ 2147483647 h 88"/>
                  <a:gd name="T12" fmla="*/ 2147483647 w 78"/>
                  <a:gd name="T13" fmla="*/ 2147483647 h 88"/>
                  <a:gd name="T14" fmla="*/ 0 w 78"/>
                  <a:gd name="T15" fmla="*/ 2147483647 h 88"/>
                  <a:gd name="T16" fmla="*/ 2147483647 w 78"/>
                  <a:gd name="T17" fmla="*/ 2147483647 h 88"/>
                  <a:gd name="T18" fmla="*/ 2147483647 w 78"/>
                  <a:gd name="T19" fmla="*/ 2147483647 h 88"/>
                  <a:gd name="T20" fmla="*/ 0 w 78"/>
                  <a:gd name="T21" fmla="*/ 2147483647 h 88"/>
                  <a:gd name="T22" fmla="*/ 2147483647 w 78"/>
                  <a:gd name="T23" fmla="*/ 2147483647 h 88"/>
                  <a:gd name="T24" fmla="*/ 2147483647 w 78"/>
                  <a:gd name="T25" fmla="*/ 2147483647 h 88"/>
                  <a:gd name="T26" fmla="*/ 2147483647 w 78"/>
                  <a:gd name="T27" fmla="*/ 2147483647 h 88"/>
                  <a:gd name="T28" fmla="*/ 2147483647 w 78"/>
                  <a:gd name="T29" fmla="*/ 2147483647 h 88"/>
                  <a:gd name="T30" fmla="*/ 2147483647 w 78"/>
                  <a:gd name="T31" fmla="*/ 2147483647 h 88"/>
                  <a:gd name="T32" fmla="*/ 2147483647 w 78"/>
                  <a:gd name="T33" fmla="*/ 0 h 88"/>
                  <a:gd name="T34" fmla="*/ 2147483647 w 78"/>
                  <a:gd name="T35" fmla="*/ 2147483647 h 88"/>
                  <a:gd name="T36" fmla="*/ 2147483647 w 78"/>
                  <a:gd name="T37" fmla="*/ 2147483647 h 88"/>
                  <a:gd name="T38" fmla="*/ 2147483647 w 78"/>
                  <a:gd name="T39" fmla="*/ 2147483647 h 88"/>
                  <a:gd name="T40" fmla="*/ 2147483647 w 78"/>
                  <a:gd name="T41" fmla="*/ 2147483647 h 88"/>
                  <a:gd name="T42" fmla="*/ 2147483647 w 78"/>
                  <a:gd name="T43" fmla="*/ 2147483647 h 88"/>
                  <a:gd name="T44" fmla="*/ 2147483647 w 78"/>
                  <a:gd name="T45" fmla="*/ 2147483647 h 88"/>
                  <a:gd name="T46" fmla="*/ 2147483647 w 78"/>
                  <a:gd name="T47" fmla="*/ 2147483647 h 88"/>
                  <a:gd name="T48" fmla="*/ 2147483647 w 78"/>
                  <a:gd name="T49" fmla="*/ 2147483647 h 88"/>
                  <a:gd name="T50" fmla="*/ 2147483647 w 78"/>
                  <a:gd name="T51" fmla="*/ 2147483647 h 88"/>
                  <a:gd name="T52" fmla="*/ 2147483647 w 78"/>
                  <a:gd name="T53" fmla="*/ 2147483647 h 88"/>
                  <a:gd name="T54" fmla="*/ 2147483647 w 78"/>
                  <a:gd name="T55" fmla="*/ 2147483647 h 88"/>
                  <a:gd name="T56" fmla="*/ 2147483647 w 78"/>
                  <a:gd name="T57" fmla="*/ 2147483647 h 88"/>
                  <a:gd name="T58" fmla="*/ 2147483647 w 78"/>
                  <a:gd name="T59" fmla="*/ 2147483647 h 88"/>
                  <a:gd name="T60" fmla="*/ 2147483647 w 78"/>
                  <a:gd name="T61" fmla="*/ 2147483647 h 8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78"/>
                  <a:gd name="T94" fmla="*/ 0 h 88"/>
                  <a:gd name="T95" fmla="*/ 78 w 78"/>
                  <a:gd name="T96" fmla="*/ 88 h 8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78" h="88">
                    <a:moveTo>
                      <a:pt x="64" y="80"/>
                    </a:moveTo>
                    <a:lnTo>
                      <a:pt x="58" y="76"/>
                    </a:lnTo>
                    <a:lnTo>
                      <a:pt x="54" y="74"/>
                    </a:lnTo>
                    <a:lnTo>
                      <a:pt x="46" y="76"/>
                    </a:lnTo>
                    <a:lnTo>
                      <a:pt x="36" y="80"/>
                    </a:lnTo>
                    <a:lnTo>
                      <a:pt x="26" y="84"/>
                    </a:lnTo>
                    <a:lnTo>
                      <a:pt x="16" y="88"/>
                    </a:lnTo>
                    <a:lnTo>
                      <a:pt x="0" y="88"/>
                    </a:lnTo>
                    <a:lnTo>
                      <a:pt x="2" y="80"/>
                    </a:lnTo>
                    <a:lnTo>
                      <a:pt x="2" y="72"/>
                    </a:lnTo>
                    <a:lnTo>
                      <a:pt x="0" y="50"/>
                    </a:lnTo>
                    <a:lnTo>
                      <a:pt x="2" y="42"/>
                    </a:lnTo>
                    <a:lnTo>
                      <a:pt x="6" y="36"/>
                    </a:lnTo>
                    <a:lnTo>
                      <a:pt x="12" y="28"/>
                    </a:lnTo>
                    <a:lnTo>
                      <a:pt x="20" y="20"/>
                    </a:lnTo>
                    <a:lnTo>
                      <a:pt x="36" y="8"/>
                    </a:lnTo>
                    <a:lnTo>
                      <a:pt x="52" y="0"/>
                    </a:lnTo>
                    <a:lnTo>
                      <a:pt x="62" y="4"/>
                    </a:lnTo>
                    <a:lnTo>
                      <a:pt x="70" y="10"/>
                    </a:lnTo>
                    <a:lnTo>
                      <a:pt x="76" y="18"/>
                    </a:lnTo>
                    <a:lnTo>
                      <a:pt x="78" y="26"/>
                    </a:lnTo>
                    <a:lnTo>
                      <a:pt x="76" y="30"/>
                    </a:lnTo>
                    <a:lnTo>
                      <a:pt x="72" y="34"/>
                    </a:lnTo>
                    <a:lnTo>
                      <a:pt x="62" y="42"/>
                    </a:lnTo>
                    <a:lnTo>
                      <a:pt x="42" y="56"/>
                    </a:lnTo>
                    <a:lnTo>
                      <a:pt x="72" y="60"/>
                    </a:lnTo>
                    <a:lnTo>
                      <a:pt x="68" y="70"/>
                    </a:lnTo>
                    <a:lnTo>
                      <a:pt x="66" y="74"/>
                    </a:lnTo>
                    <a:lnTo>
                      <a:pt x="60" y="76"/>
                    </a:lnTo>
                    <a:lnTo>
                      <a:pt x="64" y="76"/>
                    </a:lnTo>
                    <a:lnTo>
                      <a:pt x="64" y="80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63" name="Freeform 10"/>
              <p:cNvSpPr>
                <a:spLocks/>
              </p:cNvSpPr>
              <p:nvPr/>
            </p:nvSpPr>
            <p:spPr bwMode="gray">
              <a:xfrm>
                <a:off x="6015038" y="2636045"/>
                <a:ext cx="661987" cy="1027112"/>
              </a:xfrm>
              <a:custGeom>
                <a:avLst/>
                <a:gdLst>
                  <a:gd name="T0" fmla="*/ 2147483647 w 458"/>
                  <a:gd name="T1" fmla="*/ 2147483647 h 709"/>
                  <a:gd name="T2" fmla="*/ 2147483647 w 458"/>
                  <a:gd name="T3" fmla="*/ 2147483647 h 709"/>
                  <a:gd name="T4" fmla="*/ 0 w 458"/>
                  <a:gd name="T5" fmla="*/ 2147483647 h 709"/>
                  <a:gd name="T6" fmla="*/ 2147483647 w 458"/>
                  <a:gd name="T7" fmla="*/ 2147483647 h 709"/>
                  <a:gd name="T8" fmla="*/ 2147483647 w 458"/>
                  <a:gd name="T9" fmla="*/ 2147483647 h 709"/>
                  <a:gd name="T10" fmla="*/ 2147483647 w 458"/>
                  <a:gd name="T11" fmla="*/ 2147483647 h 709"/>
                  <a:gd name="T12" fmla="*/ 2147483647 w 458"/>
                  <a:gd name="T13" fmla="*/ 2147483647 h 709"/>
                  <a:gd name="T14" fmla="*/ 2147483647 w 458"/>
                  <a:gd name="T15" fmla="*/ 2147483647 h 709"/>
                  <a:gd name="T16" fmla="*/ 2147483647 w 458"/>
                  <a:gd name="T17" fmla="*/ 2147483647 h 709"/>
                  <a:gd name="T18" fmla="*/ 2147483647 w 458"/>
                  <a:gd name="T19" fmla="*/ 2147483647 h 709"/>
                  <a:gd name="T20" fmla="*/ 2147483647 w 458"/>
                  <a:gd name="T21" fmla="*/ 2147483647 h 709"/>
                  <a:gd name="T22" fmla="*/ 2147483647 w 458"/>
                  <a:gd name="T23" fmla="*/ 2147483647 h 709"/>
                  <a:gd name="T24" fmla="*/ 2147483647 w 458"/>
                  <a:gd name="T25" fmla="*/ 2147483647 h 709"/>
                  <a:gd name="T26" fmla="*/ 2147483647 w 458"/>
                  <a:gd name="T27" fmla="*/ 2147483647 h 709"/>
                  <a:gd name="T28" fmla="*/ 2147483647 w 458"/>
                  <a:gd name="T29" fmla="*/ 2147483647 h 709"/>
                  <a:gd name="T30" fmla="*/ 2147483647 w 458"/>
                  <a:gd name="T31" fmla="*/ 2147483647 h 709"/>
                  <a:gd name="T32" fmla="*/ 2147483647 w 458"/>
                  <a:gd name="T33" fmla="*/ 2147483647 h 709"/>
                  <a:gd name="T34" fmla="*/ 2147483647 w 458"/>
                  <a:gd name="T35" fmla="*/ 2147483647 h 709"/>
                  <a:gd name="T36" fmla="*/ 2147483647 w 458"/>
                  <a:gd name="T37" fmla="*/ 2147483647 h 709"/>
                  <a:gd name="T38" fmla="*/ 2147483647 w 458"/>
                  <a:gd name="T39" fmla="*/ 2147483647 h 709"/>
                  <a:gd name="T40" fmla="*/ 2147483647 w 458"/>
                  <a:gd name="T41" fmla="*/ 2147483647 h 709"/>
                  <a:gd name="T42" fmla="*/ 2147483647 w 458"/>
                  <a:gd name="T43" fmla="*/ 2147483647 h 709"/>
                  <a:gd name="T44" fmla="*/ 2147483647 w 458"/>
                  <a:gd name="T45" fmla="*/ 2147483647 h 709"/>
                  <a:gd name="T46" fmla="*/ 2147483647 w 458"/>
                  <a:gd name="T47" fmla="*/ 0 h 709"/>
                  <a:gd name="T48" fmla="*/ 2147483647 w 458"/>
                  <a:gd name="T49" fmla="*/ 0 h 709"/>
                  <a:gd name="T50" fmla="*/ 2147483647 w 458"/>
                  <a:gd name="T51" fmla="*/ 2147483647 h 709"/>
                  <a:gd name="T52" fmla="*/ 2147483647 w 458"/>
                  <a:gd name="T53" fmla="*/ 2147483647 h 709"/>
                  <a:gd name="T54" fmla="*/ 2147483647 w 458"/>
                  <a:gd name="T55" fmla="*/ 2147483647 h 709"/>
                  <a:gd name="T56" fmla="*/ 2147483647 w 458"/>
                  <a:gd name="T57" fmla="*/ 2147483647 h 709"/>
                  <a:gd name="T58" fmla="*/ 2147483647 w 458"/>
                  <a:gd name="T59" fmla="*/ 2147483647 h 709"/>
                  <a:gd name="T60" fmla="*/ 2147483647 w 458"/>
                  <a:gd name="T61" fmla="*/ 2147483647 h 709"/>
                  <a:gd name="T62" fmla="*/ 2147483647 w 458"/>
                  <a:gd name="T63" fmla="*/ 2147483647 h 709"/>
                  <a:gd name="T64" fmla="*/ 2147483647 w 458"/>
                  <a:gd name="T65" fmla="*/ 2147483647 h 709"/>
                  <a:gd name="T66" fmla="*/ 2147483647 w 458"/>
                  <a:gd name="T67" fmla="*/ 2147483647 h 709"/>
                  <a:gd name="T68" fmla="*/ 2147483647 w 458"/>
                  <a:gd name="T69" fmla="*/ 2147483647 h 709"/>
                  <a:gd name="T70" fmla="*/ 2147483647 w 458"/>
                  <a:gd name="T71" fmla="*/ 2147483647 h 709"/>
                  <a:gd name="T72" fmla="*/ 2147483647 w 458"/>
                  <a:gd name="T73" fmla="*/ 2147483647 h 709"/>
                  <a:gd name="T74" fmla="*/ 2147483647 w 458"/>
                  <a:gd name="T75" fmla="*/ 2147483647 h 709"/>
                  <a:gd name="T76" fmla="*/ 2147483647 w 458"/>
                  <a:gd name="T77" fmla="*/ 2147483647 h 709"/>
                  <a:gd name="T78" fmla="*/ 2147483647 w 458"/>
                  <a:gd name="T79" fmla="*/ 2147483647 h 709"/>
                  <a:gd name="T80" fmla="*/ 2147483647 w 458"/>
                  <a:gd name="T81" fmla="*/ 2147483647 h 709"/>
                  <a:gd name="T82" fmla="*/ 2147483647 w 458"/>
                  <a:gd name="T83" fmla="*/ 2147483647 h 709"/>
                  <a:gd name="T84" fmla="*/ 2147483647 w 458"/>
                  <a:gd name="T85" fmla="*/ 2147483647 h 709"/>
                  <a:gd name="T86" fmla="*/ 2147483647 w 458"/>
                  <a:gd name="T87" fmla="*/ 2147483647 h 709"/>
                  <a:gd name="T88" fmla="*/ 2147483647 w 458"/>
                  <a:gd name="T89" fmla="*/ 2147483647 h 709"/>
                  <a:gd name="T90" fmla="*/ 2147483647 w 458"/>
                  <a:gd name="T91" fmla="*/ 2147483647 h 709"/>
                  <a:gd name="T92" fmla="*/ 2147483647 w 458"/>
                  <a:gd name="T93" fmla="*/ 2147483647 h 709"/>
                  <a:gd name="T94" fmla="*/ 2147483647 w 458"/>
                  <a:gd name="T95" fmla="*/ 2147483647 h 709"/>
                  <a:gd name="T96" fmla="*/ 2147483647 w 458"/>
                  <a:gd name="T97" fmla="*/ 2147483647 h 709"/>
                  <a:gd name="T98" fmla="*/ 2147483647 w 458"/>
                  <a:gd name="T99" fmla="*/ 2147483647 h 709"/>
                  <a:gd name="T100" fmla="*/ 2147483647 w 458"/>
                  <a:gd name="T101" fmla="*/ 2147483647 h 709"/>
                  <a:gd name="T102" fmla="*/ 2147483647 w 458"/>
                  <a:gd name="T103" fmla="*/ 2147483647 h 709"/>
                  <a:gd name="T104" fmla="*/ 2147483647 w 458"/>
                  <a:gd name="T105" fmla="*/ 2147483647 h 709"/>
                  <a:gd name="T106" fmla="*/ 2147483647 w 458"/>
                  <a:gd name="T107" fmla="*/ 2147483647 h 709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58"/>
                  <a:gd name="T163" fmla="*/ 0 h 709"/>
                  <a:gd name="T164" fmla="*/ 458 w 458"/>
                  <a:gd name="T165" fmla="*/ 709 h 709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58" h="709">
                    <a:moveTo>
                      <a:pt x="36" y="424"/>
                    </a:moveTo>
                    <a:lnTo>
                      <a:pt x="34" y="432"/>
                    </a:lnTo>
                    <a:lnTo>
                      <a:pt x="32" y="442"/>
                    </a:lnTo>
                    <a:lnTo>
                      <a:pt x="24" y="458"/>
                    </a:lnTo>
                    <a:lnTo>
                      <a:pt x="12" y="472"/>
                    </a:lnTo>
                    <a:lnTo>
                      <a:pt x="0" y="482"/>
                    </a:lnTo>
                    <a:lnTo>
                      <a:pt x="0" y="665"/>
                    </a:lnTo>
                    <a:lnTo>
                      <a:pt x="30" y="709"/>
                    </a:lnTo>
                    <a:lnTo>
                      <a:pt x="38" y="697"/>
                    </a:lnTo>
                    <a:lnTo>
                      <a:pt x="48" y="685"/>
                    </a:lnTo>
                    <a:lnTo>
                      <a:pt x="52" y="675"/>
                    </a:lnTo>
                    <a:lnTo>
                      <a:pt x="56" y="667"/>
                    </a:lnTo>
                    <a:lnTo>
                      <a:pt x="68" y="653"/>
                    </a:lnTo>
                    <a:lnTo>
                      <a:pt x="82" y="639"/>
                    </a:lnTo>
                    <a:lnTo>
                      <a:pt x="98" y="625"/>
                    </a:lnTo>
                    <a:lnTo>
                      <a:pt x="116" y="603"/>
                    </a:lnTo>
                    <a:lnTo>
                      <a:pt x="138" y="583"/>
                    </a:lnTo>
                    <a:lnTo>
                      <a:pt x="182" y="544"/>
                    </a:lnTo>
                    <a:lnTo>
                      <a:pt x="228" y="504"/>
                    </a:lnTo>
                    <a:lnTo>
                      <a:pt x="248" y="484"/>
                    </a:lnTo>
                    <a:lnTo>
                      <a:pt x="268" y="462"/>
                    </a:lnTo>
                    <a:lnTo>
                      <a:pt x="278" y="452"/>
                    </a:lnTo>
                    <a:lnTo>
                      <a:pt x="288" y="444"/>
                    </a:lnTo>
                    <a:lnTo>
                      <a:pt x="298" y="434"/>
                    </a:lnTo>
                    <a:lnTo>
                      <a:pt x="306" y="424"/>
                    </a:lnTo>
                    <a:lnTo>
                      <a:pt x="338" y="372"/>
                    </a:lnTo>
                    <a:lnTo>
                      <a:pt x="356" y="346"/>
                    </a:lnTo>
                    <a:lnTo>
                      <a:pt x="362" y="332"/>
                    </a:lnTo>
                    <a:lnTo>
                      <a:pt x="368" y="320"/>
                    </a:lnTo>
                    <a:lnTo>
                      <a:pt x="376" y="286"/>
                    </a:lnTo>
                    <a:lnTo>
                      <a:pt x="382" y="270"/>
                    </a:lnTo>
                    <a:lnTo>
                      <a:pt x="388" y="252"/>
                    </a:lnTo>
                    <a:lnTo>
                      <a:pt x="410" y="210"/>
                    </a:lnTo>
                    <a:lnTo>
                      <a:pt x="430" y="168"/>
                    </a:lnTo>
                    <a:lnTo>
                      <a:pt x="436" y="152"/>
                    </a:lnTo>
                    <a:lnTo>
                      <a:pt x="442" y="138"/>
                    </a:lnTo>
                    <a:lnTo>
                      <a:pt x="444" y="128"/>
                    </a:lnTo>
                    <a:lnTo>
                      <a:pt x="446" y="118"/>
                    </a:lnTo>
                    <a:lnTo>
                      <a:pt x="444" y="102"/>
                    </a:lnTo>
                    <a:lnTo>
                      <a:pt x="444" y="94"/>
                    </a:lnTo>
                    <a:lnTo>
                      <a:pt x="446" y="88"/>
                    </a:lnTo>
                    <a:lnTo>
                      <a:pt x="450" y="82"/>
                    </a:lnTo>
                    <a:lnTo>
                      <a:pt x="458" y="76"/>
                    </a:lnTo>
                    <a:lnTo>
                      <a:pt x="450" y="30"/>
                    </a:lnTo>
                    <a:lnTo>
                      <a:pt x="450" y="22"/>
                    </a:lnTo>
                    <a:lnTo>
                      <a:pt x="454" y="16"/>
                    </a:lnTo>
                    <a:lnTo>
                      <a:pt x="456" y="10"/>
                    </a:lnTo>
                    <a:lnTo>
                      <a:pt x="458" y="0"/>
                    </a:lnTo>
                    <a:lnTo>
                      <a:pt x="452" y="2"/>
                    </a:lnTo>
                    <a:lnTo>
                      <a:pt x="442" y="0"/>
                    </a:lnTo>
                    <a:lnTo>
                      <a:pt x="436" y="2"/>
                    </a:lnTo>
                    <a:lnTo>
                      <a:pt x="430" y="4"/>
                    </a:lnTo>
                    <a:lnTo>
                      <a:pt x="420" y="14"/>
                    </a:lnTo>
                    <a:lnTo>
                      <a:pt x="412" y="22"/>
                    </a:lnTo>
                    <a:lnTo>
                      <a:pt x="406" y="26"/>
                    </a:lnTo>
                    <a:lnTo>
                      <a:pt x="400" y="30"/>
                    </a:lnTo>
                    <a:lnTo>
                      <a:pt x="386" y="34"/>
                    </a:lnTo>
                    <a:lnTo>
                      <a:pt x="372" y="36"/>
                    </a:lnTo>
                    <a:lnTo>
                      <a:pt x="344" y="40"/>
                    </a:lnTo>
                    <a:lnTo>
                      <a:pt x="314" y="44"/>
                    </a:lnTo>
                    <a:lnTo>
                      <a:pt x="298" y="46"/>
                    </a:lnTo>
                    <a:lnTo>
                      <a:pt x="282" y="52"/>
                    </a:lnTo>
                    <a:lnTo>
                      <a:pt x="276" y="54"/>
                    </a:lnTo>
                    <a:lnTo>
                      <a:pt x="270" y="58"/>
                    </a:lnTo>
                    <a:lnTo>
                      <a:pt x="260" y="66"/>
                    </a:lnTo>
                    <a:lnTo>
                      <a:pt x="248" y="74"/>
                    </a:lnTo>
                    <a:lnTo>
                      <a:pt x="242" y="76"/>
                    </a:lnTo>
                    <a:lnTo>
                      <a:pt x="234" y="78"/>
                    </a:lnTo>
                    <a:lnTo>
                      <a:pt x="228" y="78"/>
                    </a:lnTo>
                    <a:lnTo>
                      <a:pt x="222" y="76"/>
                    </a:lnTo>
                    <a:lnTo>
                      <a:pt x="216" y="74"/>
                    </a:lnTo>
                    <a:lnTo>
                      <a:pt x="210" y="72"/>
                    </a:lnTo>
                    <a:lnTo>
                      <a:pt x="202" y="74"/>
                    </a:lnTo>
                    <a:lnTo>
                      <a:pt x="194" y="78"/>
                    </a:lnTo>
                    <a:lnTo>
                      <a:pt x="182" y="86"/>
                    </a:lnTo>
                    <a:lnTo>
                      <a:pt x="176" y="92"/>
                    </a:lnTo>
                    <a:lnTo>
                      <a:pt x="168" y="96"/>
                    </a:lnTo>
                    <a:lnTo>
                      <a:pt x="160" y="98"/>
                    </a:lnTo>
                    <a:lnTo>
                      <a:pt x="148" y="100"/>
                    </a:lnTo>
                    <a:lnTo>
                      <a:pt x="138" y="98"/>
                    </a:lnTo>
                    <a:lnTo>
                      <a:pt x="130" y="94"/>
                    </a:lnTo>
                    <a:lnTo>
                      <a:pt x="120" y="88"/>
                    </a:lnTo>
                    <a:lnTo>
                      <a:pt x="112" y="80"/>
                    </a:lnTo>
                    <a:lnTo>
                      <a:pt x="100" y="64"/>
                    </a:lnTo>
                    <a:lnTo>
                      <a:pt x="88" y="50"/>
                    </a:lnTo>
                    <a:lnTo>
                      <a:pt x="84" y="60"/>
                    </a:lnTo>
                    <a:lnTo>
                      <a:pt x="82" y="64"/>
                    </a:lnTo>
                    <a:lnTo>
                      <a:pt x="76" y="66"/>
                    </a:lnTo>
                    <a:lnTo>
                      <a:pt x="72" y="72"/>
                    </a:lnTo>
                    <a:lnTo>
                      <a:pt x="66" y="80"/>
                    </a:lnTo>
                    <a:lnTo>
                      <a:pt x="60" y="88"/>
                    </a:lnTo>
                    <a:lnTo>
                      <a:pt x="58" y="94"/>
                    </a:lnTo>
                    <a:lnTo>
                      <a:pt x="76" y="112"/>
                    </a:lnTo>
                    <a:lnTo>
                      <a:pt x="100" y="148"/>
                    </a:lnTo>
                    <a:lnTo>
                      <a:pt x="106" y="154"/>
                    </a:lnTo>
                    <a:lnTo>
                      <a:pt x="112" y="162"/>
                    </a:lnTo>
                    <a:lnTo>
                      <a:pt x="122" y="166"/>
                    </a:lnTo>
                    <a:lnTo>
                      <a:pt x="130" y="172"/>
                    </a:lnTo>
                    <a:lnTo>
                      <a:pt x="264" y="214"/>
                    </a:lnTo>
                    <a:lnTo>
                      <a:pt x="316" y="214"/>
                    </a:lnTo>
                    <a:lnTo>
                      <a:pt x="316" y="212"/>
                    </a:lnTo>
                    <a:lnTo>
                      <a:pt x="184" y="374"/>
                    </a:lnTo>
                    <a:lnTo>
                      <a:pt x="128" y="374"/>
                    </a:lnTo>
                    <a:lnTo>
                      <a:pt x="110" y="388"/>
                    </a:lnTo>
                    <a:lnTo>
                      <a:pt x="90" y="402"/>
                    </a:lnTo>
                    <a:lnTo>
                      <a:pt x="68" y="414"/>
                    </a:lnTo>
                    <a:lnTo>
                      <a:pt x="42" y="424"/>
                    </a:lnTo>
                    <a:lnTo>
                      <a:pt x="36" y="424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64" name="Freeform 15"/>
              <p:cNvSpPr>
                <a:spLocks/>
              </p:cNvSpPr>
              <p:nvPr/>
            </p:nvSpPr>
            <p:spPr bwMode="gray">
              <a:xfrm>
                <a:off x="4905375" y="4653757"/>
                <a:ext cx="515938" cy="473075"/>
              </a:xfrm>
              <a:custGeom>
                <a:avLst/>
                <a:gdLst>
                  <a:gd name="T0" fmla="*/ 2147483647 w 356"/>
                  <a:gd name="T1" fmla="*/ 2147483647 h 326"/>
                  <a:gd name="T2" fmla="*/ 2147483647 w 356"/>
                  <a:gd name="T3" fmla="*/ 2147483647 h 326"/>
                  <a:gd name="T4" fmla="*/ 2147483647 w 356"/>
                  <a:gd name="T5" fmla="*/ 2147483647 h 326"/>
                  <a:gd name="T6" fmla="*/ 2147483647 w 356"/>
                  <a:gd name="T7" fmla="*/ 2147483647 h 326"/>
                  <a:gd name="T8" fmla="*/ 2147483647 w 356"/>
                  <a:gd name="T9" fmla="*/ 2147483647 h 326"/>
                  <a:gd name="T10" fmla="*/ 2147483647 w 356"/>
                  <a:gd name="T11" fmla="*/ 2147483647 h 326"/>
                  <a:gd name="T12" fmla="*/ 2147483647 w 356"/>
                  <a:gd name="T13" fmla="*/ 2147483647 h 326"/>
                  <a:gd name="T14" fmla="*/ 2147483647 w 356"/>
                  <a:gd name="T15" fmla="*/ 2147483647 h 326"/>
                  <a:gd name="T16" fmla="*/ 2147483647 w 356"/>
                  <a:gd name="T17" fmla="*/ 2147483647 h 326"/>
                  <a:gd name="T18" fmla="*/ 2147483647 w 356"/>
                  <a:gd name="T19" fmla="*/ 2147483647 h 326"/>
                  <a:gd name="T20" fmla="*/ 2147483647 w 356"/>
                  <a:gd name="T21" fmla="*/ 2147483647 h 326"/>
                  <a:gd name="T22" fmla="*/ 2147483647 w 356"/>
                  <a:gd name="T23" fmla="*/ 0 h 326"/>
                  <a:gd name="T24" fmla="*/ 2147483647 w 356"/>
                  <a:gd name="T25" fmla="*/ 0 h 326"/>
                  <a:gd name="T26" fmla="*/ 2147483647 w 356"/>
                  <a:gd name="T27" fmla="*/ 2147483647 h 326"/>
                  <a:gd name="T28" fmla="*/ 2147483647 w 356"/>
                  <a:gd name="T29" fmla="*/ 2147483647 h 326"/>
                  <a:gd name="T30" fmla="*/ 2147483647 w 356"/>
                  <a:gd name="T31" fmla="*/ 2147483647 h 326"/>
                  <a:gd name="T32" fmla="*/ 2147483647 w 356"/>
                  <a:gd name="T33" fmla="*/ 2147483647 h 326"/>
                  <a:gd name="T34" fmla="*/ 2147483647 w 356"/>
                  <a:gd name="T35" fmla="*/ 2147483647 h 326"/>
                  <a:gd name="T36" fmla="*/ 2147483647 w 356"/>
                  <a:gd name="T37" fmla="*/ 2147483647 h 326"/>
                  <a:gd name="T38" fmla="*/ 2147483647 w 356"/>
                  <a:gd name="T39" fmla="*/ 2147483647 h 326"/>
                  <a:gd name="T40" fmla="*/ 2147483647 w 356"/>
                  <a:gd name="T41" fmla="*/ 2147483647 h 326"/>
                  <a:gd name="T42" fmla="*/ 2147483647 w 356"/>
                  <a:gd name="T43" fmla="*/ 2147483647 h 326"/>
                  <a:gd name="T44" fmla="*/ 2147483647 w 356"/>
                  <a:gd name="T45" fmla="*/ 2147483647 h 326"/>
                  <a:gd name="T46" fmla="*/ 2147483647 w 356"/>
                  <a:gd name="T47" fmla="*/ 2147483647 h 326"/>
                  <a:gd name="T48" fmla="*/ 2147483647 w 356"/>
                  <a:gd name="T49" fmla="*/ 2147483647 h 326"/>
                  <a:gd name="T50" fmla="*/ 2147483647 w 356"/>
                  <a:gd name="T51" fmla="*/ 2147483647 h 326"/>
                  <a:gd name="T52" fmla="*/ 2147483647 w 356"/>
                  <a:gd name="T53" fmla="*/ 2147483647 h 326"/>
                  <a:gd name="T54" fmla="*/ 2147483647 w 356"/>
                  <a:gd name="T55" fmla="*/ 2147483647 h 326"/>
                  <a:gd name="T56" fmla="*/ 2147483647 w 356"/>
                  <a:gd name="T57" fmla="*/ 2147483647 h 326"/>
                  <a:gd name="T58" fmla="*/ 2147483647 w 356"/>
                  <a:gd name="T59" fmla="*/ 2147483647 h 326"/>
                  <a:gd name="T60" fmla="*/ 2147483647 w 356"/>
                  <a:gd name="T61" fmla="*/ 2147483647 h 326"/>
                  <a:gd name="T62" fmla="*/ 2147483647 w 356"/>
                  <a:gd name="T63" fmla="*/ 2147483647 h 326"/>
                  <a:gd name="T64" fmla="*/ 2147483647 w 356"/>
                  <a:gd name="T65" fmla="*/ 2147483647 h 326"/>
                  <a:gd name="T66" fmla="*/ 2147483647 w 356"/>
                  <a:gd name="T67" fmla="*/ 2147483647 h 326"/>
                  <a:gd name="T68" fmla="*/ 2147483647 w 356"/>
                  <a:gd name="T69" fmla="*/ 2147483647 h 326"/>
                  <a:gd name="T70" fmla="*/ 2147483647 w 356"/>
                  <a:gd name="T71" fmla="*/ 2147483647 h 326"/>
                  <a:gd name="T72" fmla="*/ 2147483647 w 356"/>
                  <a:gd name="T73" fmla="*/ 2147483647 h 326"/>
                  <a:gd name="T74" fmla="*/ 2147483647 w 356"/>
                  <a:gd name="T75" fmla="*/ 2147483647 h 326"/>
                  <a:gd name="T76" fmla="*/ 2147483647 w 356"/>
                  <a:gd name="T77" fmla="*/ 2147483647 h 326"/>
                  <a:gd name="T78" fmla="*/ 2147483647 w 356"/>
                  <a:gd name="T79" fmla="*/ 2147483647 h 326"/>
                  <a:gd name="T80" fmla="*/ 2147483647 w 356"/>
                  <a:gd name="T81" fmla="*/ 2147483647 h 326"/>
                  <a:gd name="T82" fmla="*/ 2147483647 w 356"/>
                  <a:gd name="T83" fmla="*/ 2147483647 h 326"/>
                  <a:gd name="T84" fmla="*/ 2147483647 w 356"/>
                  <a:gd name="T85" fmla="*/ 2147483647 h 326"/>
                  <a:gd name="T86" fmla="*/ 2147483647 w 356"/>
                  <a:gd name="T87" fmla="*/ 2147483647 h 326"/>
                  <a:gd name="T88" fmla="*/ 2147483647 w 356"/>
                  <a:gd name="T89" fmla="*/ 2147483647 h 326"/>
                  <a:gd name="T90" fmla="*/ 2147483647 w 356"/>
                  <a:gd name="T91" fmla="*/ 2147483647 h 326"/>
                  <a:gd name="T92" fmla="*/ 2147483647 w 356"/>
                  <a:gd name="T93" fmla="*/ 2147483647 h 326"/>
                  <a:gd name="T94" fmla="*/ 0 w 356"/>
                  <a:gd name="T95" fmla="*/ 2147483647 h 32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56"/>
                  <a:gd name="T145" fmla="*/ 0 h 326"/>
                  <a:gd name="T146" fmla="*/ 356 w 356"/>
                  <a:gd name="T147" fmla="*/ 326 h 32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56" h="326">
                    <a:moveTo>
                      <a:pt x="0" y="108"/>
                    </a:moveTo>
                    <a:lnTo>
                      <a:pt x="16" y="110"/>
                    </a:lnTo>
                    <a:lnTo>
                      <a:pt x="32" y="114"/>
                    </a:lnTo>
                    <a:lnTo>
                      <a:pt x="46" y="118"/>
                    </a:lnTo>
                    <a:lnTo>
                      <a:pt x="62" y="120"/>
                    </a:lnTo>
                    <a:lnTo>
                      <a:pt x="70" y="118"/>
                    </a:lnTo>
                    <a:lnTo>
                      <a:pt x="78" y="114"/>
                    </a:lnTo>
                    <a:lnTo>
                      <a:pt x="86" y="108"/>
                    </a:lnTo>
                    <a:lnTo>
                      <a:pt x="92" y="100"/>
                    </a:lnTo>
                    <a:lnTo>
                      <a:pt x="104" y="84"/>
                    </a:lnTo>
                    <a:lnTo>
                      <a:pt x="112" y="72"/>
                    </a:lnTo>
                    <a:lnTo>
                      <a:pt x="122" y="62"/>
                    </a:lnTo>
                    <a:lnTo>
                      <a:pt x="132" y="58"/>
                    </a:lnTo>
                    <a:lnTo>
                      <a:pt x="158" y="48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4" y="34"/>
                    </a:lnTo>
                    <a:lnTo>
                      <a:pt x="166" y="28"/>
                    </a:lnTo>
                    <a:lnTo>
                      <a:pt x="172" y="20"/>
                    </a:lnTo>
                    <a:lnTo>
                      <a:pt x="178" y="14"/>
                    </a:lnTo>
                    <a:lnTo>
                      <a:pt x="184" y="10"/>
                    </a:lnTo>
                    <a:lnTo>
                      <a:pt x="192" y="6"/>
                    </a:lnTo>
                    <a:lnTo>
                      <a:pt x="208" y="0"/>
                    </a:lnTo>
                    <a:lnTo>
                      <a:pt x="226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40" y="24"/>
                    </a:lnTo>
                    <a:lnTo>
                      <a:pt x="282" y="24"/>
                    </a:lnTo>
                    <a:lnTo>
                      <a:pt x="284" y="28"/>
                    </a:lnTo>
                    <a:lnTo>
                      <a:pt x="288" y="32"/>
                    </a:lnTo>
                    <a:lnTo>
                      <a:pt x="298" y="38"/>
                    </a:lnTo>
                    <a:lnTo>
                      <a:pt x="324" y="48"/>
                    </a:lnTo>
                    <a:lnTo>
                      <a:pt x="336" y="54"/>
                    </a:lnTo>
                    <a:lnTo>
                      <a:pt x="346" y="62"/>
                    </a:lnTo>
                    <a:lnTo>
                      <a:pt x="350" y="66"/>
                    </a:lnTo>
                    <a:lnTo>
                      <a:pt x="354" y="72"/>
                    </a:lnTo>
                    <a:lnTo>
                      <a:pt x="356" y="80"/>
                    </a:lnTo>
                    <a:lnTo>
                      <a:pt x="356" y="88"/>
                    </a:lnTo>
                    <a:lnTo>
                      <a:pt x="356" y="100"/>
                    </a:lnTo>
                    <a:lnTo>
                      <a:pt x="354" y="110"/>
                    </a:lnTo>
                    <a:lnTo>
                      <a:pt x="348" y="132"/>
                    </a:lnTo>
                    <a:lnTo>
                      <a:pt x="342" y="152"/>
                    </a:lnTo>
                    <a:lnTo>
                      <a:pt x="340" y="162"/>
                    </a:lnTo>
                    <a:lnTo>
                      <a:pt x="338" y="170"/>
                    </a:lnTo>
                    <a:lnTo>
                      <a:pt x="340" y="180"/>
                    </a:lnTo>
                    <a:lnTo>
                      <a:pt x="344" y="188"/>
                    </a:lnTo>
                    <a:lnTo>
                      <a:pt x="346" y="196"/>
                    </a:lnTo>
                    <a:lnTo>
                      <a:pt x="348" y="204"/>
                    </a:lnTo>
                    <a:lnTo>
                      <a:pt x="348" y="210"/>
                    </a:lnTo>
                    <a:lnTo>
                      <a:pt x="344" y="216"/>
                    </a:lnTo>
                    <a:lnTo>
                      <a:pt x="336" y="226"/>
                    </a:lnTo>
                    <a:lnTo>
                      <a:pt x="326" y="238"/>
                    </a:lnTo>
                    <a:lnTo>
                      <a:pt x="320" y="248"/>
                    </a:lnTo>
                    <a:lnTo>
                      <a:pt x="318" y="256"/>
                    </a:lnTo>
                    <a:lnTo>
                      <a:pt x="318" y="262"/>
                    </a:lnTo>
                    <a:lnTo>
                      <a:pt x="316" y="268"/>
                    </a:lnTo>
                    <a:lnTo>
                      <a:pt x="314" y="276"/>
                    </a:lnTo>
                    <a:lnTo>
                      <a:pt x="286" y="302"/>
                    </a:lnTo>
                    <a:lnTo>
                      <a:pt x="270" y="318"/>
                    </a:lnTo>
                    <a:lnTo>
                      <a:pt x="260" y="326"/>
                    </a:lnTo>
                    <a:lnTo>
                      <a:pt x="212" y="326"/>
                    </a:lnTo>
                    <a:lnTo>
                      <a:pt x="210" y="322"/>
                    </a:lnTo>
                    <a:lnTo>
                      <a:pt x="206" y="320"/>
                    </a:lnTo>
                    <a:lnTo>
                      <a:pt x="198" y="318"/>
                    </a:lnTo>
                    <a:lnTo>
                      <a:pt x="190" y="316"/>
                    </a:lnTo>
                    <a:lnTo>
                      <a:pt x="180" y="314"/>
                    </a:lnTo>
                    <a:lnTo>
                      <a:pt x="170" y="308"/>
                    </a:lnTo>
                    <a:lnTo>
                      <a:pt x="160" y="300"/>
                    </a:lnTo>
                    <a:lnTo>
                      <a:pt x="152" y="294"/>
                    </a:lnTo>
                    <a:lnTo>
                      <a:pt x="140" y="288"/>
                    </a:lnTo>
                    <a:lnTo>
                      <a:pt x="122" y="282"/>
                    </a:lnTo>
                    <a:lnTo>
                      <a:pt x="114" y="276"/>
                    </a:lnTo>
                    <a:lnTo>
                      <a:pt x="108" y="272"/>
                    </a:lnTo>
                    <a:lnTo>
                      <a:pt x="106" y="264"/>
                    </a:lnTo>
                    <a:lnTo>
                      <a:pt x="106" y="258"/>
                    </a:lnTo>
                    <a:lnTo>
                      <a:pt x="106" y="244"/>
                    </a:lnTo>
                    <a:lnTo>
                      <a:pt x="106" y="238"/>
                    </a:lnTo>
                    <a:lnTo>
                      <a:pt x="104" y="234"/>
                    </a:lnTo>
                    <a:lnTo>
                      <a:pt x="102" y="230"/>
                    </a:lnTo>
                    <a:lnTo>
                      <a:pt x="96" y="226"/>
                    </a:lnTo>
                    <a:lnTo>
                      <a:pt x="92" y="222"/>
                    </a:lnTo>
                    <a:lnTo>
                      <a:pt x="88" y="218"/>
                    </a:lnTo>
                    <a:lnTo>
                      <a:pt x="86" y="212"/>
                    </a:lnTo>
                    <a:lnTo>
                      <a:pt x="82" y="208"/>
                    </a:lnTo>
                    <a:lnTo>
                      <a:pt x="72" y="202"/>
                    </a:lnTo>
                    <a:lnTo>
                      <a:pt x="62" y="198"/>
                    </a:lnTo>
                    <a:lnTo>
                      <a:pt x="52" y="194"/>
                    </a:lnTo>
                    <a:lnTo>
                      <a:pt x="42" y="190"/>
                    </a:lnTo>
                    <a:lnTo>
                      <a:pt x="38" y="186"/>
                    </a:lnTo>
                    <a:lnTo>
                      <a:pt x="34" y="180"/>
                    </a:lnTo>
                    <a:lnTo>
                      <a:pt x="32" y="168"/>
                    </a:lnTo>
                    <a:lnTo>
                      <a:pt x="28" y="160"/>
                    </a:lnTo>
                    <a:lnTo>
                      <a:pt x="24" y="152"/>
                    </a:lnTo>
                    <a:lnTo>
                      <a:pt x="12" y="138"/>
                    </a:lnTo>
                    <a:lnTo>
                      <a:pt x="4" y="124"/>
                    </a:lnTo>
                    <a:lnTo>
                      <a:pt x="0" y="116"/>
                    </a:lnTo>
                    <a:lnTo>
                      <a:pt x="0" y="110"/>
                    </a:lnTo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65" name="Freeform 16"/>
              <p:cNvSpPr>
                <a:spLocks/>
              </p:cNvSpPr>
              <p:nvPr/>
            </p:nvSpPr>
            <p:spPr bwMode="gray">
              <a:xfrm>
                <a:off x="5421313" y="4228307"/>
                <a:ext cx="201612" cy="509588"/>
              </a:xfrm>
              <a:custGeom>
                <a:avLst/>
                <a:gdLst>
                  <a:gd name="T0" fmla="*/ 2147483647 w 140"/>
                  <a:gd name="T1" fmla="*/ 2147483647 h 352"/>
                  <a:gd name="T2" fmla="*/ 2147483647 w 140"/>
                  <a:gd name="T3" fmla="*/ 2147483647 h 352"/>
                  <a:gd name="T4" fmla="*/ 2147483647 w 140"/>
                  <a:gd name="T5" fmla="*/ 2147483647 h 352"/>
                  <a:gd name="T6" fmla="*/ 2147483647 w 140"/>
                  <a:gd name="T7" fmla="*/ 2147483647 h 352"/>
                  <a:gd name="T8" fmla="*/ 2147483647 w 140"/>
                  <a:gd name="T9" fmla="*/ 2147483647 h 352"/>
                  <a:gd name="T10" fmla="*/ 2147483647 w 140"/>
                  <a:gd name="T11" fmla="*/ 2147483647 h 352"/>
                  <a:gd name="T12" fmla="*/ 2147483647 w 140"/>
                  <a:gd name="T13" fmla="*/ 2147483647 h 352"/>
                  <a:gd name="T14" fmla="*/ 2147483647 w 140"/>
                  <a:gd name="T15" fmla="*/ 2147483647 h 352"/>
                  <a:gd name="T16" fmla="*/ 2147483647 w 140"/>
                  <a:gd name="T17" fmla="*/ 2147483647 h 352"/>
                  <a:gd name="T18" fmla="*/ 2147483647 w 140"/>
                  <a:gd name="T19" fmla="*/ 2147483647 h 352"/>
                  <a:gd name="T20" fmla="*/ 2147483647 w 140"/>
                  <a:gd name="T21" fmla="*/ 2147483647 h 352"/>
                  <a:gd name="T22" fmla="*/ 2147483647 w 140"/>
                  <a:gd name="T23" fmla="*/ 2147483647 h 352"/>
                  <a:gd name="T24" fmla="*/ 2147483647 w 140"/>
                  <a:gd name="T25" fmla="*/ 2147483647 h 352"/>
                  <a:gd name="T26" fmla="*/ 2147483647 w 140"/>
                  <a:gd name="T27" fmla="*/ 2147483647 h 352"/>
                  <a:gd name="T28" fmla="*/ 2147483647 w 140"/>
                  <a:gd name="T29" fmla="*/ 2147483647 h 352"/>
                  <a:gd name="T30" fmla="*/ 2147483647 w 140"/>
                  <a:gd name="T31" fmla="*/ 2147483647 h 352"/>
                  <a:gd name="T32" fmla="*/ 2147483647 w 140"/>
                  <a:gd name="T33" fmla="*/ 2147483647 h 352"/>
                  <a:gd name="T34" fmla="*/ 2147483647 w 140"/>
                  <a:gd name="T35" fmla="*/ 2147483647 h 352"/>
                  <a:gd name="T36" fmla="*/ 2147483647 w 140"/>
                  <a:gd name="T37" fmla="*/ 2147483647 h 352"/>
                  <a:gd name="T38" fmla="*/ 2147483647 w 140"/>
                  <a:gd name="T39" fmla="*/ 2147483647 h 352"/>
                  <a:gd name="T40" fmla="*/ 2147483647 w 140"/>
                  <a:gd name="T41" fmla="*/ 2147483647 h 352"/>
                  <a:gd name="T42" fmla="*/ 2147483647 w 140"/>
                  <a:gd name="T43" fmla="*/ 2147483647 h 352"/>
                  <a:gd name="T44" fmla="*/ 2147483647 w 140"/>
                  <a:gd name="T45" fmla="*/ 2147483647 h 352"/>
                  <a:gd name="T46" fmla="*/ 2147483647 w 140"/>
                  <a:gd name="T47" fmla="*/ 2147483647 h 352"/>
                  <a:gd name="T48" fmla="*/ 2147483647 w 140"/>
                  <a:gd name="T49" fmla="*/ 2147483647 h 352"/>
                  <a:gd name="T50" fmla="*/ 2147483647 w 140"/>
                  <a:gd name="T51" fmla="*/ 2147483647 h 352"/>
                  <a:gd name="T52" fmla="*/ 2147483647 w 140"/>
                  <a:gd name="T53" fmla="*/ 2147483647 h 352"/>
                  <a:gd name="T54" fmla="*/ 0 w 140"/>
                  <a:gd name="T55" fmla="*/ 2147483647 h 352"/>
                  <a:gd name="T56" fmla="*/ 2147483647 w 140"/>
                  <a:gd name="T57" fmla="*/ 2147483647 h 352"/>
                  <a:gd name="T58" fmla="*/ 2147483647 w 140"/>
                  <a:gd name="T59" fmla="*/ 2147483647 h 352"/>
                  <a:gd name="T60" fmla="*/ 2147483647 w 140"/>
                  <a:gd name="T61" fmla="*/ 2147483647 h 352"/>
                  <a:gd name="T62" fmla="*/ 2147483647 w 140"/>
                  <a:gd name="T63" fmla="*/ 2147483647 h 352"/>
                  <a:gd name="T64" fmla="*/ 2147483647 w 140"/>
                  <a:gd name="T65" fmla="*/ 2147483647 h 352"/>
                  <a:gd name="T66" fmla="*/ 2147483647 w 140"/>
                  <a:gd name="T67" fmla="*/ 2147483647 h 352"/>
                  <a:gd name="T68" fmla="*/ 2147483647 w 140"/>
                  <a:gd name="T69" fmla="*/ 2147483647 h 352"/>
                  <a:gd name="T70" fmla="*/ 2147483647 w 140"/>
                  <a:gd name="T71" fmla="*/ 2147483647 h 352"/>
                  <a:gd name="T72" fmla="*/ 2147483647 w 140"/>
                  <a:gd name="T73" fmla="*/ 2147483647 h 352"/>
                  <a:gd name="T74" fmla="*/ 2147483647 w 140"/>
                  <a:gd name="T75" fmla="*/ 2147483647 h 352"/>
                  <a:gd name="T76" fmla="*/ 2147483647 w 140"/>
                  <a:gd name="T77" fmla="*/ 2147483647 h 352"/>
                  <a:gd name="T78" fmla="*/ 2147483647 w 140"/>
                  <a:gd name="T79" fmla="*/ 2147483647 h 352"/>
                  <a:gd name="T80" fmla="*/ 2147483647 w 140"/>
                  <a:gd name="T81" fmla="*/ 2147483647 h 352"/>
                  <a:gd name="T82" fmla="*/ 2147483647 w 140"/>
                  <a:gd name="T83" fmla="*/ 0 h 352"/>
                  <a:gd name="T84" fmla="*/ 2147483647 w 140"/>
                  <a:gd name="T85" fmla="*/ 2147483647 h 352"/>
                  <a:gd name="T86" fmla="*/ 2147483647 w 140"/>
                  <a:gd name="T87" fmla="*/ 2147483647 h 352"/>
                  <a:gd name="T88" fmla="*/ 2147483647 w 140"/>
                  <a:gd name="T89" fmla="*/ 2147483647 h 352"/>
                  <a:gd name="T90" fmla="*/ 2147483647 w 140"/>
                  <a:gd name="T91" fmla="*/ 2147483647 h 352"/>
                  <a:gd name="T92" fmla="*/ 2147483647 w 140"/>
                  <a:gd name="T93" fmla="*/ 2147483647 h 352"/>
                  <a:gd name="T94" fmla="*/ 2147483647 w 140"/>
                  <a:gd name="T95" fmla="*/ 2147483647 h 352"/>
                  <a:gd name="T96" fmla="*/ 2147483647 w 140"/>
                  <a:gd name="T97" fmla="*/ 2147483647 h 352"/>
                  <a:gd name="T98" fmla="*/ 2147483647 w 140"/>
                  <a:gd name="T99" fmla="*/ 2147483647 h 352"/>
                  <a:gd name="T100" fmla="*/ 2147483647 w 140"/>
                  <a:gd name="T101" fmla="*/ 2147483647 h 352"/>
                  <a:gd name="T102" fmla="*/ 2147483647 w 140"/>
                  <a:gd name="T103" fmla="*/ 2147483647 h 352"/>
                  <a:gd name="T104" fmla="*/ 2147483647 w 140"/>
                  <a:gd name="T105" fmla="*/ 2147483647 h 352"/>
                  <a:gd name="T106" fmla="*/ 2147483647 w 140"/>
                  <a:gd name="T107" fmla="*/ 2147483647 h 352"/>
                  <a:gd name="T108" fmla="*/ 2147483647 w 140"/>
                  <a:gd name="T109" fmla="*/ 2147483647 h 352"/>
                  <a:gd name="T110" fmla="*/ 2147483647 w 140"/>
                  <a:gd name="T111" fmla="*/ 2147483647 h 352"/>
                  <a:gd name="T112" fmla="*/ 2147483647 w 140"/>
                  <a:gd name="T113" fmla="*/ 2147483647 h 352"/>
                  <a:gd name="T114" fmla="*/ 2147483647 w 140"/>
                  <a:gd name="T115" fmla="*/ 2147483647 h 352"/>
                  <a:gd name="T116" fmla="*/ 2147483647 w 140"/>
                  <a:gd name="T117" fmla="*/ 2147483647 h 352"/>
                  <a:gd name="T118" fmla="*/ 2147483647 w 140"/>
                  <a:gd name="T119" fmla="*/ 2147483647 h 352"/>
                  <a:gd name="T120" fmla="*/ 2147483647 w 140"/>
                  <a:gd name="T121" fmla="*/ 2147483647 h 352"/>
                  <a:gd name="T122" fmla="*/ 2147483647 w 140"/>
                  <a:gd name="T123" fmla="*/ 2147483647 h 35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0"/>
                  <a:gd name="T187" fmla="*/ 0 h 352"/>
                  <a:gd name="T188" fmla="*/ 140 w 140"/>
                  <a:gd name="T189" fmla="*/ 352 h 35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0" h="352">
                    <a:moveTo>
                      <a:pt x="114" y="230"/>
                    </a:moveTo>
                    <a:lnTo>
                      <a:pt x="122" y="236"/>
                    </a:lnTo>
                    <a:lnTo>
                      <a:pt x="132" y="244"/>
                    </a:lnTo>
                    <a:lnTo>
                      <a:pt x="138" y="254"/>
                    </a:lnTo>
                    <a:lnTo>
                      <a:pt x="140" y="264"/>
                    </a:lnTo>
                    <a:lnTo>
                      <a:pt x="140" y="266"/>
                    </a:lnTo>
                    <a:lnTo>
                      <a:pt x="138" y="268"/>
                    </a:lnTo>
                    <a:lnTo>
                      <a:pt x="136" y="270"/>
                    </a:lnTo>
                    <a:lnTo>
                      <a:pt x="134" y="274"/>
                    </a:lnTo>
                    <a:lnTo>
                      <a:pt x="138" y="294"/>
                    </a:lnTo>
                    <a:lnTo>
                      <a:pt x="138" y="302"/>
                    </a:lnTo>
                    <a:lnTo>
                      <a:pt x="136" y="312"/>
                    </a:lnTo>
                    <a:lnTo>
                      <a:pt x="134" y="314"/>
                    </a:lnTo>
                    <a:lnTo>
                      <a:pt x="132" y="314"/>
                    </a:lnTo>
                    <a:lnTo>
                      <a:pt x="124" y="314"/>
                    </a:lnTo>
                    <a:lnTo>
                      <a:pt x="114" y="322"/>
                    </a:lnTo>
                    <a:lnTo>
                      <a:pt x="108" y="328"/>
                    </a:lnTo>
                    <a:lnTo>
                      <a:pt x="104" y="332"/>
                    </a:lnTo>
                    <a:lnTo>
                      <a:pt x="106" y="336"/>
                    </a:lnTo>
                    <a:lnTo>
                      <a:pt x="108" y="338"/>
                    </a:lnTo>
                    <a:lnTo>
                      <a:pt x="106" y="342"/>
                    </a:lnTo>
                    <a:lnTo>
                      <a:pt x="104" y="346"/>
                    </a:lnTo>
                    <a:lnTo>
                      <a:pt x="106" y="350"/>
                    </a:lnTo>
                    <a:lnTo>
                      <a:pt x="106" y="352"/>
                    </a:lnTo>
                    <a:lnTo>
                      <a:pt x="104" y="352"/>
                    </a:lnTo>
                    <a:lnTo>
                      <a:pt x="102" y="352"/>
                    </a:lnTo>
                    <a:lnTo>
                      <a:pt x="96" y="348"/>
                    </a:lnTo>
                    <a:lnTo>
                      <a:pt x="88" y="338"/>
                    </a:lnTo>
                    <a:lnTo>
                      <a:pt x="80" y="324"/>
                    </a:lnTo>
                    <a:lnTo>
                      <a:pt x="76" y="318"/>
                    </a:lnTo>
                    <a:lnTo>
                      <a:pt x="76" y="314"/>
                    </a:lnTo>
                    <a:lnTo>
                      <a:pt x="78" y="302"/>
                    </a:lnTo>
                    <a:lnTo>
                      <a:pt x="82" y="292"/>
                    </a:lnTo>
                    <a:lnTo>
                      <a:pt x="88" y="282"/>
                    </a:lnTo>
                    <a:lnTo>
                      <a:pt x="90" y="270"/>
                    </a:lnTo>
                    <a:lnTo>
                      <a:pt x="88" y="258"/>
                    </a:lnTo>
                    <a:lnTo>
                      <a:pt x="84" y="246"/>
                    </a:lnTo>
                    <a:lnTo>
                      <a:pt x="80" y="240"/>
                    </a:lnTo>
                    <a:lnTo>
                      <a:pt x="76" y="236"/>
                    </a:lnTo>
                    <a:lnTo>
                      <a:pt x="72" y="232"/>
                    </a:lnTo>
                    <a:lnTo>
                      <a:pt x="66" y="232"/>
                    </a:lnTo>
                    <a:lnTo>
                      <a:pt x="60" y="234"/>
                    </a:lnTo>
                    <a:lnTo>
                      <a:pt x="56" y="236"/>
                    </a:lnTo>
                    <a:lnTo>
                      <a:pt x="52" y="240"/>
                    </a:lnTo>
                    <a:lnTo>
                      <a:pt x="46" y="242"/>
                    </a:lnTo>
                    <a:lnTo>
                      <a:pt x="44" y="240"/>
                    </a:lnTo>
                    <a:lnTo>
                      <a:pt x="40" y="238"/>
                    </a:lnTo>
                    <a:lnTo>
                      <a:pt x="34" y="230"/>
                    </a:lnTo>
                    <a:lnTo>
                      <a:pt x="26" y="216"/>
                    </a:lnTo>
                    <a:lnTo>
                      <a:pt x="22" y="214"/>
                    </a:lnTo>
                    <a:lnTo>
                      <a:pt x="18" y="212"/>
                    </a:lnTo>
                    <a:lnTo>
                      <a:pt x="10" y="210"/>
                    </a:lnTo>
                    <a:lnTo>
                      <a:pt x="6" y="210"/>
                    </a:lnTo>
                    <a:lnTo>
                      <a:pt x="2" y="208"/>
                    </a:lnTo>
                    <a:lnTo>
                      <a:pt x="0" y="204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8" y="188"/>
                    </a:lnTo>
                    <a:lnTo>
                      <a:pt x="12" y="184"/>
                    </a:lnTo>
                    <a:lnTo>
                      <a:pt x="18" y="172"/>
                    </a:lnTo>
                    <a:lnTo>
                      <a:pt x="22" y="164"/>
                    </a:lnTo>
                    <a:lnTo>
                      <a:pt x="24" y="158"/>
                    </a:lnTo>
                    <a:lnTo>
                      <a:pt x="24" y="152"/>
                    </a:lnTo>
                    <a:lnTo>
                      <a:pt x="26" y="146"/>
                    </a:lnTo>
                    <a:lnTo>
                      <a:pt x="28" y="140"/>
                    </a:lnTo>
                    <a:lnTo>
                      <a:pt x="34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18"/>
                    </a:lnTo>
                    <a:lnTo>
                      <a:pt x="34" y="112"/>
                    </a:lnTo>
                    <a:lnTo>
                      <a:pt x="32" y="106"/>
                    </a:lnTo>
                    <a:lnTo>
                      <a:pt x="30" y="98"/>
                    </a:lnTo>
                    <a:lnTo>
                      <a:pt x="32" y="88"/>
                    </a:lnTo>
                    <a:lnTo>
                      <a:pt x="34" y="80"/>
                    </a:lnTo>
                    <a:lnTo>
                      <a:pt x="36" y="72"/>
                    </a:lnTo>
                    <a:lnTo>
                      <a:pt x="40" y="64"/>
                    </a:lnTo>
                    <a:lnTo>
                      <a:pt x="44" y="58"/>
                    </a:lnTo>
                    <a:lnTo>
                      <a:pt x="48" y="48"/>
                    </a:lnTo>
                    <a:lnTo>
                      <a:pt x="44" y="38"/>
                    </a:lnTo>
                    <a:lnTo>
                      <a:pt x="40" y="26"/>
                    </a:lnTo>
                    <a:lnTo>
                      <a:pt x="34" y="14"/>
                    </a:lnTo>
                    <a:lnTo>
                      <a:pt x="32" y="2"/>
                    </a:lnTo>
                    <a:lnTo>
                      <a:pt x="30" y="0"/>
                    </a:lnTo>
                    <a:lnTo>
                      <a:pt x="46" y="4"/>
                    </a:lnTo>
                    <a:lnTo>
                      <a:pt x="56" y="4"/>
                    </a:lnTo>
                    <a:lnTo>
                      <a:pt x="66" y="2"/>
                    </a:lnTo>
                    <a:lnTo>
                      <a:pt x="68" y="18"/>
                    </a:lnTo>
                    <a:lnTo>
                      <a:pt x="72" y="30"/>
                    </a:lnTo>
                    <a:lnTo>
                      <a:pt x="72" y="34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6" y="38"/>
                    </a:lnTo>
                    <a:lnTo>
                      <a:pt x="78" y="40"/>
                    </a:lnTo>
                    <a:lnTo>
                      <a:pt x="80" y="44"/>
                    </a:lnTo>
                    <a:lnTo>
                      <a:pt x="82" y="46"/>
                    </a:lnTo>
                    <a:lnTo>
                      <a:pt x="82" y="98"/>
                    </a:lnTo>
                    <a:lnTo>
                      <a:pt x="76" y="120"/>
                    </a:lnTo>
                    <a:lnTo>
                      <a:pt x="72" y="132"/>
                    </a:lnTo>
                    <a:lnTo>
                      <a:pt x="68" y="136"/>
                    </a:lnTo>
                    <a:lnTo>
                      <a:pt x="66" y="138"/>
                    </a:lnTo>
                    <a:lnTo>
                      <a:pt x="68" y="144"/>
                    </a:lnTo>
                    <a:lnTo>
                      <a:pt x="72" y="148"/>
                    </a:lnTo>
                    <a:lnTo>
                      <a:pt x="74" y="152"/>
                    </a:lnTo>
                    <a:lnTo>
                      <a:pt x="76" y="160"/>
                    </a:lnTo>
                    <a:lnTo>
                      <a:pt x="78" y="180"/>
                    </a:lnTo>
                    <a:lnTo>
                      <a:pt x="80" y="190"/>
                    </a:lnTo>
                    <a:lnTo>
                      <a:pt x="84" y="198"/>
                    </a:lnTo>
                    <a:lnTo>
                      <a:pt x="86" y="202"/>
                    </a:lnTo>
                    <a:lnTo>
                      <a:pt x="88" y="206"/>
                    </a:lnTo>
                    <a:lnTo>
                      <a:pt x="90" y="208"/>
                    </a:lnTo>
                    <a:lnTo>
                      <a:pt x="88" y="214"/>
                    </a:lnTo>
                    <a:lnTo>
                      <a:pt x="86" y="220"/>
                    </a:lnTo>
                    <a:lnTo>
                      <a:pt x="88" y="224"/>
                    </a:lnTo>
                    <a:lnTo>
                      <a:pt x="90" y="228"/>
                    </a:lnTo>
                    <a:lnTo>
                      <a:pt x="94" y="232"/>
                    </a:lnTo>
                    <a:lnTo>
                      <a:pt x="98" y="232"/>
                    </a:lnTo>
                    <a:lnTo>
                      <a:pt x="98" y="228"/>
                    </a:lnTo>
                    <a:lnTo>
                      <a:pt x="100" y="224"/>
                    </a:lnTo>
                    <a:lnTo>
                      <a:pt x="116" y="232"/>
                    </a:lnTo>
                    <a:lnTo>
                      <a:pt x="116" y="230"/>
                    </a:lnTo>
                    <a:lnTo>
                      <a:pt x="114" y="228"/>
                    </a:lnTo>
                    <a:lnTo>
                      <a:pt x="116" y="222"/>
                    </a:lnTo>
                    <a:lnTo>
                      <a:pt x="114" y="230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66" name="Freeform 27"/>
              <p:cNvSpPr>
                <a:spLocks/>
              </p:cNvSpPr>
              <p:nvPr/>
            </p:nvSpPr>
            <p:spPr bwMode="gray">
              <a:xfrm>
                <a:off x="4148138" y="2791620"/>
                <a:ext cx="904875" cy="593725"/>
              </a:xfrm>
              <a:custGeom>
                <a:avLst/>
                <a:gdLst>
                  <a:gd name="T0" fmla="*/ 2147483647 w 625"/>
                  <a:gd name="T1" fmla="*/ 2147483647 h 410"/>
                  <a:gd name="T2" fmla="*/ 2147483647 w 625"/>
                  <a:gd name="T3" fmla="*/ 2147483647 h 410"/>
                  <a:gd name="T4" fmla="*/ 2147483647 w 625"/>
                  <a:gd name="T5" fmla="*/ 2147483647 h 410"/>
                  <a:gd name="T6" fmla="*/ 2147483647 w 625"/>
                  <a:gd name="T7" fmla="*/ 2147483647 h 410"/>
                  <a:gd name="T8" fmla="*/ 2147483647 w 625"/>
                  <a:gd name="T9" fmla="*/ 2147483647 h 410"/>
                  <a:gd name="T10" fmla="*/ 2147483647 w 625"/>
                  <a:gd name="T11" fmla="*/ 2147483647 h 410"/>
                  <a:gd name="T12" fmla="*/ 2147483647 w 625"/>
                  <a:gd name="T13" fmla="*/ 2147483647 h 410"/>
                  <a:gd name="T14" fmla="*/ 2147483647 w 625"/>
                  <a:gd name="T15" fmla="*/ 2147483647 h 410"/>
                  <a:gd name="T16" fmla="*/ 2147483647 w 625"/>
                  <a:gd name="T17" fmla="*/ 2147483647 h 410"/>
                  <a:gd name="T18" fmla="*/ 2147483647 w 625"/>
                  <a:gd name="T19" fmla="*/ 2147483647 h 410"/>
                  <a:gd name="T20" fmla="*/ 2147483647 w 625"/>
                  <a:gd name="T21" fmla="*/ 2147483647 h 410"/>
                  <a:gd name="T22" fmla="*/ 2147483647 w 625"/>
                  <a:gd name="T23" fmla="*/ 2147483647 h 410"/>
                  <a:gd name="T24" fmla="*/ 2147483647 w 625"/>
                  <a:gd name="T25" fmla="*/ 2147483647 h 410"/>
                  <a:gd name="T26" fmla="*/ 2147483647 w 625"/>
                  <a:gd name="T27" fmla="*/ 2147483647 h 410"/>
                  <a:gd name="T28" fmla="*/ 2147483647 w 625"/>
                  <a:gd name="T29" fmla="*/ 2147483647 h 410"/>
                  <a:gd name="T30" fmla="*/ 2147483647 w 625"/>
                  <a:gd name="T31" fmla="*/ 2147483647 h 410"/>
                  <a:gd name="T32" fmla="*/ 2147483647 w 625"/>
                  <a:gd name="T33" fmla="*/ 2147483647 h 410"/>
                  <a:gd name="T34" fmla="*/ 2147483647 w 625"/>
                  <a:gd name="T35" fmla="*/ 2147483647 h 410"/>
                  <a:gd name="T36" fmla="*/ 2147483647 w 625"/>
                  <a:gd name="T37" fmla="*/ 2147483647 h 410"/>
                  <a:gd name="T38" fmla="*/ 2147483647 w 625"/>
                  <a:gd name="T39" fmla="*/ 2147483647 h 410"/>
                  <a:gd name="T40" fmla="*/ 2147483647 w 625"/>
                  <a:gd name="T41" fmla="*/ 2147483647 h 410"/>
                  <a:gd name="T42" fmla="*/ 2147483647 w 625"/>
                  <a:gd name="T43" fmla="*/ 2147483647 h 410"/>
                  <a:gd name="T44" fmla="*/ 2147483647 w 625"/>
                  <a:gd name="T45" fmla="*/ 2147483647 h 410"/>
                  <a:gd name="T46" fmla="*/ 2147483647 w 625"/>
                  <a:gd name="T47" fmla="*/ 2147483647 h 410"/>
                  <a:gd name="T48" fmla="*/ 2147483647 w 625"/>
                  <a:gd name="T49" fmla="*/ 2147483647 h 410"/>
                  <a:gd name="T50" fmla="*/ 2147483647 w 625"/>
                  <a:gd name="T51" fmla="*/ 2147483647 h 410"/>
                  <a:gd name="T52" fmla="*/ 2147483647 w 625"/>
                  <a:gd name="T53" fmla="*/ 2147483647 h 410"/>
                  <a:gd name="T54" fmla="*/ 2147483647 w 625"/>
                  <a:gd name="T55" fmla="*/ 2147483647 h 410"/>
                  <a:gd name="T56" fmla="*/ 2147483647 w 625"/>
                  <a:gd name="T57" fmla="*/ 2147483647 h 410"/>
                  <a:gd name="T58" fmla="*/ 2147483647 w 625"/>
                  <a:gd name="T59" fmla="*/ 2147483647 h 410"/>
                  <a:gd name="T60" fmla="*/ 2147483647 w 625"/>
                  <a:gd name="T61" fmla="*/ 2147483647 h 410"/>
                  <a:gd name="T62" fmla="*/ 2147483647 w 625"/>
                  <a:gd name="T63" fmla="*/ 2147483647 h 410"/>
                  <a:gd name="T64" fmla="*/ 2147483647 w 625"/>
                  <a:gd name="T65" fmla="*/ 2147483647 h 410"/>
                  <a:gd name="T66" fmla="*/ 2147483647 w 625"/>
                  <a:gd name="T67" fmla="*/ 2147483647 h 410"/>
                  <a:gd name="T68" fmla="*/ 2147483647 w 625"/>
                  <a:gd name="T69" fmla="*/ 2147483647 h 410"/>
                  <a:gd name="T70" fmla="*/ 2147483647 w 625"/>
                  <a:gd name="T71" fmla="*/ 2147483647 h 410"/>
                  <a:gd name="T72" fmla="*/ 2147483647 w 625"/>
                  <a:gd name="T73" fmla="*/ 2147483647 h 410"/>
                  <a:gd name="T74" fmla="*/ 2147483647 w 625"/>
                  <a:gd name="T75" fmla="*/ 2147483647 h 410"/>
                  <a:gd name="T76" fmla="*/ 2147483647 w 625"/>
                  <a:gd name="T77" fmla="*/ 2147483647 h 410"/>
                  <a:gd name="T78" fmla="*/ 2147483647 w 625"/>
                  <a:gd name="T79" fmla="*/ 2147483647 h 410"/>
                  <a:gd name="T80" fmla="*/ 2147483647 w 625"/>
                  <a:gd name="T81" fmla="*/ 2147483647 h 410"/>
                  <a:gd name="T82" fmla="*/ 2147483647 w 625"/>
                  <a:gd name="T83" fmla="*/ 2147483647 h 410"/>
                  <a:gd name="T84" fmla="*/ 2147483647 w 625"/>
                  <a:gd name="T85" fmla="*/ 2147483647 h 410"/>
                  <a:gd name="T86" fmla="*/ 2147483647 w 625"/>
                  <a:gd name="T87" fmla="*/ 2147483647 h 410"/>
                  <a:gd name="T88" fmla="*/ 2147483647 w 625"/>
                  <a:gd name="T89" fmla="*/ 2147483647 h 410"/>
                  <a:gd name="T90" fmla="*/ 2147483647 w 625"/>
                  <a:gd name="T91" fmla="*/ 2147483647 h 410"/>
                  <a:gd name="T92" fmla="*/ 2147483647 w 625"/>
                  <a:gd name="T93" fmla="*/ 2147483647 h 410"/>
                  <a:gd name="T94" fmla="*/ 2147483647 w 625"/>
                  <a:gd name="T95" fmla="*/ 2147483647 h 410"/>
                  <a:gd name="T96" fmla="*/ 2147483647 w 625"/>
                  <a:gd name="T97" fmla="*/ 2147483647 h 410"/>
                  <a:gd name="T98" fmla="*/ 2147483647 w 625"/>
                  <a:gd name="T99" fmla="*/ 2147483647 h 410"/>
                  <a:gd name="T100" fmla="*/ 2147483647 w 625"/>
                  <a:gd name="T101" fmla="*/ 2147483647 h 410"/>
                  <a:gd name="T102" fmla="*/ 2147483647 w 625"/>
                  <a:gd name="T103" fmla="*/ 2147483647 h 410"/>
                  <a:gd name="T104" fmla="*/ 2147483647 w 625"/>
                  <a:gd name="T105" fmla="*/ 2147483647 h 410"/>
                  <a:gd name="T106" fmla="*/ 2147483647 w 625"/>
                  <a:gd name="T107" fmla="*/ 2147483647 h 410"/>
                  <a:gd name="T108" fmla="*/ 2147483647 w 625"/>
                  <a:gd name="T109" fmla="*/ 2147483647 h 410"/>
                  <a:gd name="T110" fmla="*/ 2147483647 w 625"/>
                  <a:gd name="T111" fmla="*/ 2147483647 h 410"/>
                  <a:gd name="T112" fmla="*/ 2147483647 w 625"/>
                  <a:gd name="T113" fmla="*/ 2147483647 h 41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625"/>
                  <a:gd name="T172" fmla="*/ 0 h 410"/>
                  <a:gd name="T173" fmla="*/ 625 w 625"/>
                  <a:gd name="T174" fmla="*/ 410 h 41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625" h="410">
                    <a:moveTo>
                      <a:pt x="625" y="280"/>
                    </a:moveTo>
                    <a:lnTo>
                      <a:pt x="621" y="274"/>
                    </a:lnTo>
                    <a:lnTo>
                      <a:pt x="623" y="268"/>
                    </a:lnTo>
                    <a:lnTo>
                      <a:pt x="623" y="262"/>
                    </a:lnTo>
                    <a:lnTo>
                      <a:pt x="623" y="258"/>
                    </a:lnTo>
                    <a:lnTo>
                      <a:pt x="617" y="250"/>
                    </a:lnTo>
                    <a:lnTo>
                      <a:pt x="611" y="246"/>
                    </a:lnTo>
                    <a:lnTo>
                      <a:pt x="595" y="238"/>
                    </a:lnTo>
                    <a:lnTo>
                      <a:pt x="589" y="234"/>
                    </a:lnTo>
                    <a:lnTo>
                      <a:pt x="585" y="230"/>
                    </a:lnTo>
                    <a:lnTo>
                      <a:pt x="579" y="218"/>
                    </a:lnTo>
                    <a:lnTo>
                      <a:pt x="575" y="204"/>
                    </a:lnTo>
                    <a:lnTo>
                      <a:pt x="571" y="198"/>
                    </a:lnTo>
                    <a:lnTo>
                      <a:pt x="567" y="194"/>
                    </a:lnTo>
                    <a:lnTo>
                      <a:pt x="541" y="176"/>
                    </a:lnTo>
                    <a:lnTo>
                      <a:pt x="527" y="168"/>
                    </a:lnTo>
                    <a:lnTo>
                      <a:pt x="523" y="164"/>
                    </a:lnTo>
                    <a:lnTo>
                      <a:pt x="523" y="160"/>
                    </a:lnTo>
                    <a:lnTo>
                      <a:pt x="523" y="148"/>
                    </a:lnTo>
                    <a:lnTo>
                      <a:pt x="521" y="144"/>
                    </a:lnTo>
                    <a:lnTo>
                      <a:pt x="519" y="142"/>
                    </a:lnTo>
                    <a:lnTo>
                      <a:pt x="513" y="138"/>
                    </a:lnTo>
                    <a:lnTo>
                      <a:pt x="505" y="134"/>
                    </a:lnTo>
                    <a:lnTo>
                      <a:pt x="495" y="132"/>
                    </a:lnTo>
                    <a:lnTo>
                      <a:pt x="485" y="130"/>
                    </a:lnTo>
                    <a:lnTo>
                      <a:pt x="477" y="128"/>
                    </a:lnTo>
                    <a:lnTo>
                      <a:pt x="473" y="122"/>
                    </a:lnTo>
                    <a:lnTo>
                      <a:pt x="473" y="120"/>
                    </a:lnTo>
                    <a:lnTo>
                      <a:pt x="473" y="116"/>
                    </a:lnTo>
                    <a:lnTo>
                      <a:pt x="473" y="106"/>
                    </a:lnTo>
                    <a:lnTo>
                      <a:pt x="453" y="106"/>
                    </a:lnTo>
                    <a:lnTo>
                      <a:pt x="447" y="106"/>
                    </a:lnTo>
                    <a:lnTo>
                      <a:pt x="443" y="100"/>
                    </a:lnTo>
                    <a:lnTo>
                      <a:pt x="439" y="94"/>
                    </a:lnTo>
                    <a:lnTo>
                      <a:pt x="437" y="86"/>
                    </a:lnTo>
                    <a:lnTo>
                      <a:pt x="439" y="78"/>
                    </a:lnTo>
                    <a:lnTo>
                      <a:pt x="443" y="74"/>
                    </a:lnTo>
                    <a:lnTo>
                      <a:pt x="447" y="68"/>
                    </a:lnTo>
                    <a:lnTo>
                      <a:pt x="447" y="62"/>
                    </a:lnTo>
                    <a:lnTo>
                      <a:pt x="447" y="54"/>
                    </a:lnTo>
                    <a:lnTo>
                      <a:pt x="443" y="48"/>
                    </a:lnTo>
                    <a:lnTo>
                      <a:pt x="435" y="34"/>
                    </a:lnTo>
                    <a:lnTo>
                      <a:pt x="423" y="22"/>
                    </a:lnTo>
                    <a:lnTo>
                      <a:pt x="413" y="10"/>
                    </a:lnTo>
                    <a:lnTo>
                      <a:pt x="403" y="4"/>
                    </a:lnTo>
                    <a:lnTo>
                      <a:pt x="395" y="2"/>
                    </a:lnTo>
                    <a:lnTo>
                      <a:pt x="389" y="0"/>
                    </a:lnTo>
                    <a:lnTo>
                      <a:pt x="379" y="2"/>
                    </a:lnTo>
                    <a:lnTo>
                      <a:pt x="373" y="8"/>
                    </a:lnTo>
                    <a:lnTo>
                      <a:pt x="365" y="12"/>
                    </a:lnTo>
                    <a:lnTo>
                      <a:pt x="357" y="16"/>
                    </a:lnTo>
                    <a:lnTo>
                      <a:pt x="357" y="22"/>
                    </a:lnTo>
                    <a:lnTo>
                      <a:pt x="355" y="28"/>
                    </a:lnTo>
                    <a:lnTo>
                      <a:pt x="353" y="34"/>
                    </a:lnTo>
                    <a:lnTo>
                      <a:pt x="349" y="38"/>
                    </a:lnTo>
                    <a:lnTo>
                      <a:pt x="339" y="46"/>
                    </a:lnTo>
                    <a:lnTo>
                      <a:pt x="329" y="52"/>
                    </a:lnTo>
                    <a:lnTo>
                      <a:pt x="309" y="72"/>
                    </a:lnTo>
                    <a:lnTo>
                      <a:pt x="297" y="80"/>
                    </a:lnTo>
                    <a:lnTo>
                      <a:pt x="287" y="88"/>
                    </a:lnTo>
                    <a:lnTo>
                      <a:pt x="275" y="92"/>
                    </a:lnTo>
                    <a:lnTo>
                      <a:pt x="261" y="96"/>
                    </a:lnTo>
                    <a:lnTo>
                      <a:pt x="243" y="98"/>
                    </a:lnTo>
                    <a:lnTo>
                      <a:pt x="225" y="100"/>
                    </a:lnTo>
                    <a:lnTo>
                      <a:pt x="227" y="104"/>
                    </a:lnTo>
                    <a:lnTo>
                      <a:pt x="231" y="108"/>
                    </a:lnTo>
                    <a:lnTo>
                      <a:pt x="227" y="118"/>
                    </a:lnTo>
                    <a:lnTo>
                      <a:pt x="221" y="126"/>
                    </a:lnTo>
                    <a:lnTo>
                      <a:pt x="215" y="134"/>
                    </a:lnTo>
                    <a:lnTo>
                      <a:pt x="207" y="142"/>
                    </a:lnTo>
                    <a:lnTo>
                      <a:pt x="199" y="144"/>
                    </a:lnTo>
                    <a:lnTo>
                      <a:pt x="191" y="148"/>
                    </a:lnTo>
                    <a:lnTo>
                      <a:pt x="171" y="150"/>
                    </a:lnTo>
                    <a:lnTo>
                      <a:pt x="153" y="152"/>
                    </a:lnTo>
                    <a:lnTo>
                      <a:pt x="133" y="156"/>
                    </a:lnTo>
                    <a:lnTo>
                      <a:pt x="129" y="158"/>
                    </a:lnTo>
                    <a:lnTo>
                      <a:pt x="125" y="162"/>
                    </a:lnTo>
                    <a:lnTo>
                      <a:pt x="119" y="166"/>
                    </a:lnTo>
                    <a:lnTo>
                      <a:pt x="113" y="166"/>
                    </a:lnTo>
                    <a:lnTo>
                      <a:pt x="109" y="166"/>
                    </a:lnTo>
                    <a:lnTo>
                      <a:pt x="107" y="162"/>
                    </a:lnTo>
                    <a:lnTo>
                      <a:pt x="101" y="156"/>
                    </a:lnTo>
                    <a:lnTo>
                      <a:pt x="95" y="160"/>
                    </a:lnTo>
                    <a:lnTo>
                      <a:pt x="87" y="164"/>
                    </a:lnTo>
                    <a:lnTo>
                      <a:pt x="68" y="168"/>
                    </a:lnTo>
                    <a:lnTo>
                      <a:pt x="52" y="172"/>
                    </a:lnTo>
                    <a:lnTo>
                      <a:pt x="48" y="174"/>
                    </a:lnTo>
                    <a:lnTo>
                      <a:pt x="44" y="176"/>
                    </a:lnTo>
                    <a:lnTo>
                      <a:pt x="32" y="192"/>
                    </a:lnTo>
                    <a:lnTo>
                      <a:pt x="22" y="208"/>
                    </a:lnTo>
                    <a:lnTo>
                      <a:pt x="12" y="224"/>
                    </a:lnTo>
                    <a:lnTo>
                      <a:pt x="0" y="240"/>
                    </a:lnTo>
                    <a:lnTo>
                      <a:pt x="4" y="244"/>
                    </a:lnTo>
                    <a:lnTo>
                      <a:pt x="6" y="246"/>
                    </a:lnTo>
                    <a:lnTo>
                      <a:pt x="8" y="250"/>
                    </a:lnTo>
                    <a:lnTo>
                      <a:pt x="8" y="256"/>
                    </a:lnTo>
                    <a:lnTo>
                      <a:pt x="8" y="268"/>
                    </a:lnTo>
                    <a:lnTo>
                      <a:pt x="8" y="280"/>
                    </a:lnTo>
                    <a:lnTo>
                      <a:pt x="12" y="294"/>
                    </a:lnTo>
                    <a:lnTo>
                      <a:pt x="18" y="308"/>
                    </a:lnTo>
                    <a:lnTo>
                      <a:pt x="24" y="322"/>
                    </a:lnTo>
                    <a:lnTo>
                      <a:pt x="38" y="346"/>
                    </a:lnTo>
                    <a:lnTo>
                      <a:pt x="52" y="366"/>
                    </a:lnTo>
                    <a:lnTo>
                      <a:pt x="56" y="370"/>
                    </a:lnTo>
                    <a:lnTo>
                      <a:pt x="60" y="374"/>
                    </a:lnTo>
                    <a:lnTo>
                      <a:pt x="72" y="382"/>
                    </a:lnTo>
                    <a:lnTo>
                      <a:pt x="78" y="388"/>
                    </a:lnTo>
                    <a:lnTo>
                      <a:pt x="83" y="394"/>
                    </a:lnTo>
                    <a:lnTo>
                      <a:pt x="85" y="400"/>
                    </a:lnTo>
                    <a:lnTo>
                      <a:pt x="87" y="410"/>
                    </a:lnTo>
                    <a:lnTo>
                      <a:pt x="93" y="388"/>
                    </a:lnTo>
                    <a:lnTo>
                      <a:pt x="97" y="378"/>
                    </a:lnTo>
                    <a:lnTo>
                      <a:pt x="103" y="370"/>
                    </a:lnTo>
                    <a:lnTo>
                      <a:pt x="109" y="362"/>
                    </a:lnTo>
                    <a:lnTo>
                      <a:pt x="117" y="356"/>
                    </a:lnTo>
                    <a:lnTo>
                      <a:pt x="127" y="352"/>
                    </a:lnTo>
                    <a:lnTo>
                      <a:pt x="141" y="350"/>
                    </a:lnTo>
                    <a:lnTo>
                      <a:pt x="159" y="352"/>
                    </a:lnTo>
                    <a:lnTo>
                      <a:pt x="173" y="356"/>
                    </a:lnTo>
                    <a:lnTo>
                      <a:pt x="207" y="356"/>
                    </a:lnTo>
                    <a:lnTo>
                      <a:pt x="207" y="340"/>
                    </a:lnTo>
                    <a:lnTo>
                      <a:pt x="207" y="330"/>
                    </a:lnTo>
                    <a:lnTo>
                      <a:pt x="211" y="320"/>
                    </a:lnTo>
                    <a:lnTo>
                      <a:pt x="215" y="310"/>
                    </a:lnTo>
                    <a:lnTo>
                      <a:pt x="221" y="300"/>
                    </a:lnTo>
                    <a:lnTo>
                      <a:pt x="229" y="292"/>
                    </a:lnTo>
                    <a:lnTo>
                      <a:pt x="237" y="286"/>
                    </a:lnTo>
                    <a:lnTo>
                      <a:pt x="245" y="282"/>
                    </a:lnTo>
                    <a:lnTo>
                      <a:pt x="253" y="280"/>
                    </a:lnTo>
                    <a:lnTo>
                      <a:pt x="261" y="280"/>
                    </a:lnTo>
                    <a:lnTo>
                      <a:pt x="267" y="284"/>
                    </a:lnTo>
                    <a:lnTo>
                      <a:pt x="277" y="294"/>
                    </a:lnTo>
                    <a:lnTo>
                      <a:pt x="285" y="304"/>
                    </a:lnTo>
                    <a:lnTo>
                      <a:pt x="293" y="312"/>
                    </a:lnTo>
                    <a:lnTo>
                      <a:pt x="311" y="320"/>
                    </a:lnTo>
                    <a:lnTo>
                      <a:pt x="335" y="326"/>
                    </a:lnTo>
                    <a:lnTo>
                      <a:pt x="357" y="328"/>
                    </a:lnTo>
                    <a:lnTo>
                      <a:pt x="379" y="330"/>
                    </a:lnTo>
                    <a:lnTo>
                      <a:pt x="387" y="328"/>
                    </a:lnTo>
                    <a:lnTo>
                      <a:pt x="393" y="326"/>
                    </a:lnTo>
                    <a:lnTo>
                      <a:pt x="397" y="320"/>
                    </a:lnTo>
                    <a:lnTo>
                      <a:pt x="401" y="314"/>
                    </a:lnTo>
                    <a:lnTo>
                      <a:pt x="405" y="310"/>
                    </a:lnTo>
                    <a:lnTo>
                      <a:pt x="409" y="304"/>
                    </a:lnTo>
                    <a:lnTo>
                      <a:pt x="415" y="300"/>
                    </a:lnTo>
                    <a:lnTo>
                      <a:pt x="423" y="300"/>
                    </a:lnTo>
                    <a:lnTo>
                      <a:pt x="429" y="302"/>
                    </a:lnTo>
                    <a:lnTo>
                      <a:pt x="433" y="304"/>
                    </a:lnTo>
                    <a:lnTo>
                      <a:pt x="435" y="304"/>
                    </a:lnTo>
                    <a:lnTo>
                      <a:pt x="443" y="304"/>
                    </a:lnTo>
                    <a:lnTo>
                      <a:pt x="451" y="302"/>
                    </a:lnTo>
                    <a:lnTo>
                      <a:pt x="463" y="296"/>
                    </a:lnTo>
                    <a:lnTo>
                      <a:pt x="477" y="290"/>
                    </a:lnTo>
                    <a:lnTo>
                      <a:pt x="483" y="286"/>
                    </a:lnTo>
                    <a:lnTo>
                      <a:pt x="489" y="286"/>
                    </a:lnTo>
                    <a:lnTo>
                      <a:pt x="493" y="290"/>
                    </a:lnTo>
                    <a:lnTo>
                      <a:pt x="497" y="290"/>
                    </a:lnTo>
                    <a:lnTo>
                      <a:pt x="505" y="290"/>
                    </a:lnTo>
                    <a:lnTo>
                      <a:pt x="517" y="290"/>
                    </a:lnTo>
                    <a:lnTo>
                      <a:pt x="523" y="286"/>
                    </a:lnTo>
                    <a:lnTo>
                      <a:pt x="529" y="282"/>
                    </a:lnTo>
                    <a:lnTo>
                      <a:pt x="529" y="272"/>
                    </a:lnTo>
                    <a:lnTo>
                      <a:pt x="539" y="272"/>
                    </a:lnTo>
                    <a:lnTo>
                      <a:pt x="547" y="272"/>
                    </a:lnTo>
                    <a:lnTo>
                      <a:pt x="563" y="278"/>
                    </a:lnTo>
                    <a:lnTo>
                      <a:pt x="577" y="282"/>
                    </a:lnTo>
                    <a:lnTo>
                      <a:pt x="587" y="284"/>
                    </a:lnTo>
                    <a:lnTo>
                      <a:pt x="595" y="286"/>
                    </a:lnTo>
                    <a:lnTo>
                      <a:pt x="605" y="284"/>
                    </a:lnTo>
                    <a:lnTo>
                      <a:pt x="611" y="282"/>
                    </a:lnTo>
                    <a:lnTo>
                      <a:pt x="623" y="280"/>
                    </a:lnTo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67" name="Freeform 28"/>
              <p:cNvSpPr>
                <a:spLocks/>
              </p:cNvSpPr>
              <p:nvPr/>
            </p:nvSpPr>
            <p:spPr bwMode="gray">
              <a:xfrm>
                <a:off x="3902075" y="3299620"/>
                <a:ext cx="549275" cy="620712"/>
              </a:xfrm>
              <a:custGeom>
                <a:avLst/>
                <a:gdLst>
                  <a:gd name="T0" fmla="*/ 2147483647 w 379"/>
                  <a:gd name="T1" fmla="*/ 2147483647 h 429"/>
                  <a:gd name="T2" fmla="*/ 2147483647 w 379"/>
                  <a:gd name="T3" fmla="*/ 2147483647 h 429"/>
                  <a:gd name="T4" fmla="*/ 2147483647 w 379"/>
                  <a:gd name="T5" fmla="*/ 2147483647 h 429"/>
                  <a:gd name="T6" fmla="*/ 2147483647 w 379"/>
                  <a:gd name="T7" fmla="*/ 2147483647 h 429"/>
                  <a:gd name="T8" fmla="*/ 2147483647 w 379"/>
                  <a:gd name="T9" fmla="*/ 2147483647 h 429"/>
                  <a:gd name="T10" fmla="*/ 2147483647 w 379"/>
                  <a:gd name="T11" fmla="*/ 2147483647 h 429"/>
                  <a:gd name="T12" fmla="*/ 2147483647 w 379"/>
                  <a:gd name="T13" fmla="*/ 2147483647 h 429"/>
                  <a:gd name="T14" fmla="*/ 2147483647 w 379"/>
                  <a:gd name="T15" fmla="*/ 2147483647 h 429"/>
                  <a:gd name="T16" fmla="*/ 2147483647 w 379"/>
                  <a:gd name="T17" fmla="*/ 2147483647 h 429"/>
                  <a:gd name="T18" fmla="*/ 2147483647 w 379"/>
                  <a:gd name="T19" fmla="*/ 2147483647 h 429"/>
                  <a:gd name="T20" fmla="*/ 2147483647 w 379"/>
                  <a:gd name="T21" fmla="*/ 2147483647 h 429"/>
                  <a:gd name="T22" fmla="*/ 2147483647 w 379"/>
                  <a:gd name="T23" fmla="*/ 2147483647 h 429"/>
                  <a:gd name="T24" fmla="*/ 2147483647 w 379"/>
                  <a:gd name="T25" fmla="*/ 2147483647 h 429"/>
                  <a:gd name="T26" fmla="*/ 2147483647 w 379"/>
                  <a:gd name="T27" fmla="*/ 2147483647 h 429"/>
                  <a:gd name="T28" fmla="*/ 2147483647 w 379"/>
                  <a:gd name="T29" fmla="*/ 2147483647 h 429"/>
                  <a:gd name="T30" fmla="*/ 2147483647 w 379"/>
                  <a:gd name="T31" fmla="*/ 2147483647 h 429"/>
                  <a:gd name="T32" fmla="*/ 2147483647 w 379"/>
                  <a:gd name="T33" fmla="*/ 2147483647 h 429"/>
                  <a:gd name="T34" fmla="*/ 2147483647 w 379"/>
                  <a:gd name="T35" fmla="*/ 2147483647 h 429"/>
                  <a:gd name="T36" fmla="*/ 2147483647 w 379"/>
                  <a:gd name="T37" fmla="*/ 2147483647 h 429"/>
                  <a:gd name="T38" fmla="*/ 2147483647 w 379"/>
                  <a:gd name="T39" fmla="*/ 2147483647 h 429"/>
                  <a:gd name="T40" fmla="*/ 2147483647 w 379"/>
                  <a:gd name="T41" fmla="*/ 2147483647 h 429"/>
                  <a:gd name="T42" fmla="*/ 2147483647 w 379"/>
                  <a:gd name="T43" fmla="*/ 2147483647 h 429"/>
                  <a:gd name="T44" fmla="*/ 2147483647 w 379"/>
                  <a:gd name="T45" fmla="*/ 2147483647 h 429"/>
                  <a:gd name="T46" fmla="*/ 2147483647 w 379"/>
                  <a:gd name="T47" fmla="*/ 2147483647 h 429"/>
                  <a:gd name="T48" fmla="*/ 2147483647 w 379"/>
                  <a:gd name="T49" fmla="*/ 2147483647 h 429"/>
                  <a:gd name="T50" fmla="*/ 2147483647 w 379"/>
                  <a:gd name="T51" fmla="*/ 2147483647 h 429"/>
                  <a:gd name="T52" fmla="*/ 2147483647 w 379"/>
                  <a:gd name="T53" fmla="*/ 2147483647 h 429"/>
                  <a:gd name="T54" fmla="*/ 2147483647 w 379"/>
                  <a:gd name="T55" fmla="*/ 2147483647 h 429"/>
                  <a:gd name="T56" fmla="*/ 2147483647 w 379"/>
                  <a:gd name="T57" fmla="*/ 2147483647 h 429"/>
                  <a:gd name="T58" fmla="*/ 2147483647 w 379"/>
                  <a:gd name="T59" fmla="*/ 2147483647 h 429"/>
                  <a:gd name="T60" fmla="*/ 2147483647 w 379"/>
                  <a:gd name="T61" fmla="*/ 2147483647 h 429"/>
                  <a:gd name="T62" fmla="*/ 2147483647 w 379"/>
                  <a:gd name="T63" fmla="*/ 2147483647 h 429"/>
                  <a:gd name="T64" fmla="*/ 2147483647 w 379"/>
                  <a:gd name="T65" fmla="*/ 2147483647 h 429"/>
                  <a:gd name="T66" fmla="*/ 2147483647 w 379"/>
                  <a:gd name="T67" fmla="*/ 2147483647 h 429"/>
                  <a:gd name="T68" fmla="*/ 2147483647 w 379"/>
                  <a:gd name="T69" fmla="*/ 2147483647 h 429"/>
                  <a:gd name="T70" fmla="*/ 2147483647 w 379"/>
                  <a:gd name="T71" fmla="*/ 2147483647 h 429"/>
                  <a:gd name="T72" fmla="*/ 2147483647 w 379"/>
                  <a:gd name="T73" fmla="*/ 2147483647 h 429"/>
                  <a:gd name="T74" fmla="*/ 2147483647 w 379"/>
                  <a:gd name="T75" fmla="*/ 2147483647 h 429"/>
                  <a:gd name="T76" fmla="*/ 2147483647 w 379"/>
                  <a:gd name="T77" fmla="*/ 2147483647 h 429"/>
                  <a:gd name="T78" fmla="*/ 2147483647 w 379"/>
                  <a:gd name="T79" fmla="*/ 2147483647 h 429"/>
                  <a:gd name="T80" fmla="*/ 2147483647 w 379"/>
                  <a:gd name="T81" fmla="*/ 2147483647 h 429"/>
                  <a:gd name="T82" fmla="*/ 2147483647 w 379"/>
                  <a:gd name="T83" fmla="*/ 2147483647 h 429"/>
                  <a:gd name="T84" fmla="*/ 2147483647 w 379"/>
                  <a:gd name="T85" fmla="*/ 2147483647 h 429"/>
                  <a:gd name="T86" fmla="*/ 2147483647 w 379"/>
                  <a:gd name="T87" fmla="*/ 2147483647 h 429"/>
                  <a:gd name="T88" fmla="*/ 2147483647 w 379"/>
                  <a:gd name="T89" fmla="*/ 2147483647 h 429"/>
                  <a:gd name="T90" fmla="*/ 2147483647 w 379"/>
                  <a:gd name="T91" fmla="*/ 2147483647 h 429"/>
                  <a:gd name="T92" fmla="*/ 2147483647 w 379"/>
                  <a:gd name="T93" fmla="*/ 2147483647 h 429"/>
                  <a:gd name="T94" fmla="*/ 2147483647 w 379"/>
                  <a:gd name="T95" fmla="*/ 2147483647 h 429"/>
                  <a:gd name="T96" fmla="*/ 2147483647 w 379"/>
                  <a:gd name="T97" fmla="*/ 2147483647 h 429"/>
                  <a:gd name="T98" fmla="*/ 2147483647 w 379"/>
                  <a:gd name="T99" fmla="*/ 2147483647 h 429"/>
                  <a:gd name="T100" fmla="*/ 2147483647 w 379"/>
                  <a:gd name="T101" fmla="*/ 2147483647 h 429"/>
                  <a:gd name="T102" fmla="*/ 2147483647 w 379"/>
                  <a:gd name="T103" fmla="*/ 2147483647 h 429"/>
                  <a:gd name="T104" fmla="*/ 2147483647 w 379"/>
                  <a:gd name="T105" fmla="*/ 2147483647 h 42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79"/>
                  <a:gd name="T160" fmla="*/ 0 h 429"/>
                  <a:gd name="T161" fmla="*/ 379 w 379"/>
                  <a:gd name="T162" fmla="*/ 429 h 42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79" h="429">
                    <a:moveTo>
                      <a:pt x="257" y="56"/>
                    </a:moveTo>
                    <a:lnTo>
                      <a:pt x="253" y="64"/>
                    </a:lnTo>
                    <a:lnTo>
                      <a:pt x="250" y="72"/>
                    </a:lnTo>
                    <a:lnTo>
                      <a:pt x="248" y="82"/>
                    </a:lnTo>
                    <a:lnTo>
                      <a:pt x="244" y="92"/>
                    </a:lnTo>
                    <a:lnTo>
                      <a:pt x="236" y="86"/>
                    </a:lnTo>
                    <a:lnTo>
                      <a:pt x="230" y="84"/>
                    </a:lnTo>
                    <a:lnTo>
                      <a:pt x="224" y="82"/>
                    </a:lnTo>
                    <a:lnTo>
                      <a:pt x="212" y="82"/>
                    </a:lnTo>
                    <a:lnTo>
                      <a:pt x="202" y="80"/>
                    </a:lnTo>
                    <a:lnTo>
                      <a:pt x="186" y="74"/>
                    </a:lnTo>
                    <a:lnTo>
                      <a:pt x="170" y="68"/>
                    </a:lnTo>
                    <a:lnTo>
                      <a:pt x="160" y="66"/>
                    </a:lnTo>
                    <a:lnTo>
                      <a:pt x="150" y="66"/>
                    </a:lnTo>
                    <a:lnTo>
                      <a:pt x="130" y="68"/>
                    </a:lnTo>
                    <a:lnTo>
                      <a:pt x="122" y="70"/>
                    </a:lnTo>
                    <a:lnTo>
                      <a:pt x="116" y="72"/>
                    </a:lnTo>
                    <a:lnTo>
                      <a:pt x="112" y="76"/>
                    </a:lnTo>
                    <a:lnTo>
                      <a:pt x="108" y="82"/>
                    </a:lnTo>
                    <a:lnTo>
                      <a:pt x="106" y="88"/>
                    </a:lnTo>
                    <a:lnTo>
                      <a:pt x="104" y="98"/>
                    </a:lnTo>
                    <a:lnTo>
                      <a:pt x="104" y="129"/>
                    </a:lnTo>
                    <a:lnTo>
                      <a:pt x="116" y="127"/>
                    </a:lnTo>
                    <a:lnTo>
                      <a:pt x="124" y="123"/>
                    </a:lnTo>
                    <a:lnTo>
                      <a:pt x="134" y="119"/>
                    </a:lnTo>
                    <a:lnTo>
                      <a:pt x="146" y="117"/>
                    </a:lnTo>
                    <a:lnTo>
                      <a:pt x="154" y="119"/>
                    </a:lnTo>
                    <a:lnTo>
                      <a:pt x="160" y="125"/>
                    </a:lnTo>
                    <a:lnTo>
                      <a:pt x="164" y="133"/>
                    </a:lnTo>
                    <a:lnTo>
                      <a:pt x="166" y="143"/>
                    </a:lnTo>
                    <a:lnTo>
                      <a:pt x="164" y="149"/>
                    </a:lnTo>
                    <a:lnTo>
                      <a:pt x="162" y="153"/>
                    </a:lnTo>
                    <a:lnTo>
                      <a:pt x="152" y="159"/>
                    </a:lnTo>
                    <a:lnTo>
                      <a:pt x="146" y="163"/>
                    </a:lnTo>
                    <a:lnTo>
                      <a:pt x="142" y="167"/>
                    </a:lnTo>
                    <a:lnTo>
                      <a:pt x="138" y="173"/>
                    </a:lnTo>
                    <a:lnTo>
                      <a:pt x="136" y="181"/>
                    </a:lnTo>
                    <a:lnTo>
                      <a:pt x="138" y="187"/>
                    </a:lnTo>
                    <a:lnTo>
                      <a:pt x="142" y="191"/>
                    </a:lnTo>
                    <a:lnTo>
                      <a:pt x="154" y="197"/>
                    </a:lnTo>
                    <a:lnTo>
                      <a:pt x="166" y="203"/>
                    </a:lnTo>
                    <a:lnTo>
                      <a:pt x="170" y="207"/>
                    </a:lnTo>
                    <a:lnTo>
                      <a:pt x="170" y="213"/>
                    </a:lnTo>
                    <a:lnTo>
                      <a:pt x="168" y="231"/>
                    </a:lnTo>
                    <a:lnTo>
                      <a:pt x="164" y="251"/>
                    </a:lnTo>
                    <a:lnTo>
                      <a:pt x="154" y="285"/>
                    </a:lnTo>
                    <a:lnTo>
                      <a:pt x="152" y="295"/>
                    </a:lnTo>
                    <a:lnTo>
                      <a:pt x="150" y="299"/>
                    </a:lnTo>
                    <a:lnTo>
                      <a:pt x="146" y="299"/>
                    </a:lnTo>
                    <a:lnTo>
                      <a:pt x="136" y="287"/>
                    </a:lnTo>
                    <a:lnTo>
                      <a:pt x="130" y="289"/>
                    </a:lnTo>
                    <a:lnTo>
                      <a:pt x="126" y="293"/>
                    </a:lnTo>
                    <a:lnTo>
                      <a:pt x="120" y="295"/>
                    </a:lnTo>
                    <a:lnTo>
                      <a:pt x="114" y="297"/>
                    </a:lnTo>
                    <a:lnTo>
                      <a:pt x="108" y="295"/>
                    </a:lnTo>
                    <a:lnTo>
                      <a:pt x="104" y="293"/>
                    </a:lnTo>
                    <a:lnTo>
                      <a:pt x="96" y="285"/>
                    </a:lnTo>
                    <a:lnTo>
                      <a:pt x="90" y="277"/>
                    </a:lnTo>
                    <a:lnTo>
                      <a:pt x="88" y="273"/>
                    </a:lnTo>
                    <a:lnTo>
                      <a:pt x="84" y="273"/>
                    </a:lnTo>
                    <a:lnTo>
                      <a:pt x="78" y="275"/>
                    </a:lnTo>
                    <a:lnTo>
                      <a:pt x="72" y="279"/>
                    </a:lnTo>
                    <a:lnTo>
                      <a:pt x="64" y="293"/>
                    </a:lnTo>
                    <a:lnTo>
                      <a:pt x="60" y="295"/>
                    </a:lnTo>
                    <a:lnTo>
                      <a:pt x="54" y="297"/>
                    </a:lnTo>
                    <a:lnTo>
                      <a:pt x="42" y="295"/>
                    </a:lnTo>
                    <a:lnTo>
                      <a:pt x="38" y="295"/>
                    </a:lnTo>
                    <a:lnTo>
                      <a:pt x="32" y="297"/>
                    </a:lnTo>
                    <a:lnTo>
                      <a:pt x="30" y="303"/>
                    </a:lnTo>
                    <a:lnTo>
                      <a:pt x="28" y="315"/>
                    </a:lnTo>
                    <a:lnTo>
                      <a:pt x="28" y="333"/>
                    </a:lnTo>
                    <a:lnTo>
                      <a:pt x="30" y="337"/>
                    </a:lnTo>
                    <a:lnTo>
                      <a:pt x="34" y="341"/>
                    </a:lnTo>
                    <a:lnTo>
                      <a:pt x="44" y="347"/>
                    </a:lnTo>
                    <a:lnTo>
                      <a:pt x="42" y="353"/>
                    </a:lnTo>
                    <a:lnTo>
                      <a:pt x="38" y="361"/>
                    </a:lnTo>
                    <a:lnTo>
                      <a:pt x="32" y="357"/>
                    </a:lnTo>
                    <a:lnTo>
                      <a:pt x="28" y="353"/>
                    </a:lnTo>
                    <a:lnTo>
                      <a:pt x="26" y="351"/>
                    </a:lnTo>
                    <a:lnTo>
                      <a:pt x="22" y="353"/>
                    </a:lnTo>
                    <a:lnTo>
                      <a:pt x="18" y="353"/>
                    </a:lnTo>
                    <a:lnTo>
                      <a:pt x="12" y="359"/>
                    </a:lnTo>
                    <a:lnTo>
                      <a:pt x="6" y="363"/>
                    </a:lnTo>
                    <a:lnTo>
                      <a:pt x="4" y="365"/>
                    </a:lnTo>
                    <a:lnTo>
                      <a:pt x="0" y="367"/>
                    </a:lnTo>
                    <a:lnTo>
                      <a:pt x="4" y="375"/>
                    </a:lnTo>
                    <a:lnTo>
                      <a:pt x="10" y="383"/>
                    </a:lnTo>
                    <a:lnTo>
                      <a:pt x="24" y="399"/>
                    </a:lnTo>
                    <a:lnTo>
                      <a:pt x="40" y="413"/>
                    </a:lnTo>
                    <a:lnTo>
                      <a:pt x="48" y="421"/>
                    </a:lnTo>
                    <a:lnTo>
                      <a:pt x="54" y="429"/>
                    </a:lnTo>
                    <a:lnTo>
                      <a:pt x="60" y="423"/>
                    </a:lnTo>
                    <a:lnTo>
                      <a:pt x="70" y="415"/>
                    </a:lnTo>
                    <a:lnTo>
                      <a:pt x="80" y="407"/>
                    </a:lnTo>
                    <a:lnTo>
                      <a:pt x="86" y="405"/>
                    </a:lnTo>
                    <a:lnTo>
                      <a:pt x="94" y="407"/>
                    </a:lnTo>
                    <a:lnTo>
                      <a:pt x="98" y="409"/>
                    </a:lnTo>
                    <a:lnTo>
                      <a:pt x="108" y="415"/>
                    </a:lnTo>
                    <a:lnTo>
                      <a:pt x="112" y="415"/>
                    </a:lnTo>
                    <a:lnTo>
                      <a:pt x="116" y="417"/>
                    </a:lnTo>
                    <a:lnTo>
                      <a:pt x="126" y="413"/>
                    </a:lnTo>
                    <a:lnTo>
                      <a:pt x="136" y="409"/>
                    </a:lnTo>
                    <a:lnTo>
                      <a:pt x="152" y="397"/>
                    </a:lnTo>
                    <a:lnTo>
                      <a:pt x="168" y="397"/>
                    </a:lnTo>
                    <a:lnTo>
                      <a:pt x="162" y="403"/>
                    </a:lnTo>
                    <a:lnTo>
                      <a:pt x="160" y="407"/>
                    </a:lnTo>
                    <a:lnTo>
                      <a:pt x="160" y="411"/>
                    </a:lnTo>
                    <a:lnTo>
                      <a:pt x="162" y="419"/>
                    </a:lnTo>
                    <a:lnTo>
                      <a:pt x="166" y="423"/>
                    </a:lnTo>
                    <a:lnTo>
                      <a:pt x="172" y="425"/>
                    </a:lnTo>
                    <a:lnTo>
                      <a:pt x="178" y="425"/>
                    </a:lnTo>
                    <a:lnTo>
                      <a:pt x="190" y="423"/>
                    </a:lnTo>
                    <a:lnTo>
                      <a:pt x="202" y="417"/>
                    </a:lnTo>
                    <a:lnTo>
                      <a:pt x="210" y="407"/>
                    </a:lnTo>
                    <a:lnTo>
                      <a:pt x="214" y="403"/>
                    </a:lnTo>
                    <a:lnTo>
                      <a:pt x="214" y="399"/>
                    </a:lnTo>
                    <a:lnTo>
                      <a:pt x="214" y="393"/>
                    </a:lnTo>
                    <a:lnTo>
                      <a:pt x="218" y="389"/>
                    </a:lnTo>
                    <a:lnTo>
                      <a:pt x="226" y="385"/>
                    </a:lnTo>
                    <a:lnTo>
                      <a:pt x="238" y="379"/>
                    </a:lnTo>
                    <a:lnTo>
                      <a:pt x="248" y="373"/>
                    </a:lnTo>
                    <a:lnTo>
                      <a:pt x="253" y="369"/>
                    </a:lnTo>
                    <a:lnTo>
                      <a:pt x="255" y="361"/>
                    </a:lnTo>
                    <a:lnTo>
                      <a:pt x="259" y="343"/>
                    </a:lnTo>
                    <a:lnTo>
                      <a:pt x="261" y="323"/>
                    </a:lnTo>
                    <a:lnTo>
                      <a:pt x="261" y="305"/>
                    </a:lnTo>
                    <a:lnTo>
                      <a:pt x="263" y="293"/>
                    </a:lnTo>
                    <a:lnTo>
                      <a:pt x="267" y="281"/>
                    </a:lnTo>
                    <a:lnTo>
                      <a:pt x="275" y="269"/>
                    </a:lnTo>
                    <a:lnTo>
                      <a:pt x="283" y="259"/>
                    </a:lnTo>
                    <a:lnTo>
                      <a:pt x="301" y="241"/>
                    </a:lnTo>
                    <a:lnTo>
                      <a:pt x="315" y="225"/>
                    </a:lnTo>
                    <a:lnTo>
                      <a:pt x="323" y="213"/>
                    </a:lnTo>
                    <a:lnTo>
                      <a:pt x="331" y="197"/>
                    </a:lnTo>
                    <a:lnTo>
                      <a:pt x="343" y="167"/>
                    </a:lnTo>
                    <a:lnTo>
                      <a:pt x="343" y="129"/>
                    </a:lnTo>
                    <a:lnTo>
                      <a:pt x="347" y="115"/>
                    </a:lnTo>
                    <a:lnTo>
                      <a:pt x="349" y="104"/>
                    </a:lnTo>
                    <a:lnTo>
                      <a:pt x="351" y="94"/>
                    </a:lnTo>
                    <a:lnTo>
                      <a:pt x="353" y="80"/>
                    </a:lnTo>
                    <a:lnTo>
                      <a:pt x="351" y="80"/>
                    </a:lnTo>
                    <a:lnTo>
                      <a:pt x="357" y="70"/>
                    </a:lnTo>
                    <a:lnTo>
                      <a:pt x="365" y="60"/>
                    </a:lnTo>
                    <a:lnTo>
                      <a:pt x="371" y="52"/>
                    </a:lnTo>
                    <a:lnTo>
                      <a:pt x="377" y="42"/>
                    </a:lnTo>
                    <a:lnTo>
                      <a:pt x="379" y="32"/>
                    </a:lnTo>
                    <a:lnTo>
                      <a:pt x="379" y="22"/>
                    </a:lnTo>
                    <a:lnTo>
                      <a:pt x="377" y="6"/>
                    </a:lnTo>
                    <a:lnTo>
                      <a:pt x="343" y="6"/>
                    </a:lnTo>
                    <a:lnTo>
                      <a:pt x="329" y="2"/>
                    </a:lnTo>
                    <a:lnTo>
                      <a:pt x="311" y="0"/>
                    </a:lnTo>
                    <a:lnTo>
                      <a:pt x="297" y="2"/>
                    </a:lnTo>
                    <a:lnTo>
                      <a:pt x="287" y="6"/>
                    </a:lnTo>
                    <a:lnTo>
                      <a:pt x="279" y="12"/>
                    </a:lnTo>
                    <a:lnTo>
                      <a:pt x="273" y="20"/>
                    </a:lnTo>
                    <a:lnTo>
                      <a:pt x="267" y="28"/>
                    </a:lnTo>
                    <a:lnTo>
                      <a:pt x="263" y="38"/>
                    </a:lnTo>
                    <a:lnTo>
                      <a:pt x="257" y="60"/>
                    </a:lnTo>
                    <a:lnTo>
                      <a:pt x="257" y="56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68" name="Freeform 30"/>
              <p:cNvSpPr>
                <a:spLocks/>
              </p:cNvSpPr>
              <p:nvPr/>
            </p:nvSpPr>
            <p:spPr bwMode="gray">
              <a:xfrm>
                <a:off x="3797300" y="3405982"/>
                <a:ext cx="130175" cy="85725"/>
              </a:xfrm>
              <a:custGeom>
                <a:avLst/>
                <a:gdLst>
                  <a:gd name="T0" fmla="*/ 2147483647 w 90"/>
                  <a:gd name="T1" fmla="*/ 0 h 59"/>
                  <a:gd name="T2" fmla="*/ 2147483647 w 90"/>
                  <a:gd name="T3" fmla="*/ 0 h 59"/>
                  <a:gd name="T4" fmla="*/ 2147483647 w 90"/>
                  <a:gd name="T5" fmla="*/ 2147483647 h 59"/>
                  <a:gd name="T6" fmla="*/ 2147483647 w 90"/>
                  <a:gd name="T7" fmla="*/ 2147483647 h 59"/>
                  <a:gd name="T8" fmla="*/ 2147483647 w 90"/>
                  <a:gd name="T9" fmla="*/ 2147483647 h 59"/>
                  <a:gd name="T10" fmla="*/ 2147483647 w 90"/>
                  <a:gd name="T11" fmla="*/ 2147483647 h 59"/>
                  <a:gd name="T12" fmla="*/ 0 w 90"/>
                  <a:gd name="T13" fmla="*/ 2147483647 h 59"/>
                  <a:gd name="T14" fmla="*/ 0 w 90"/>
                  <a:gd name="T15" fmla="*/ 2147483647 h 59"/>
                  <a:gd name="T16" fmla="*/ 2147483647 w 90"/>
                  <a:gd name="T17" fmla="*/ 2147483647 h 59"/>
                  <a:gd name="T18" fmla="*/ 2147483647 w 90"/>
                  <a:gd name="T19" fmla="*/ 2147483647 h 59"/>
                  <a:gd name="T20" fmla="*/ 2147483647 w 90"/>
                  <a:gd name="T21" fmla="*/ 2147483647 h 59"/>
                  <a:gd name="T22" fmla="*/ 2147483647 w 90"/>
                  <a:gd name="T23" fmla="*/ 2147483647 h 5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0"/>
                  <a:gd name="T37" fmla="*/ 0 h 59"/>
                  <a:gd name="T38" fmla="*/ 90 w 90"/>
                  <a:gd name="T39" fmla="*/ 59 h 5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0" h="59">
                    <a:moveTo>
                      <a:pt x="90" y="0"/>
                    </a:moveTo>
                    <a:lnTo>
                      <a:pt x="16" y="0"/>
                    </a:lnTo>
                    <a:lnTo>
                      <a:pt x="14" y="6"/>
                    </a:lnTo>
                    <a:lnTo>
                      <a:pt x="12" y="12"/>
                    </a:lnTo>
                    <a:lnTo>
                      <a:pt x="8" y="22"/>
                    </a:lnTo>
                    <a:lnTo>
                      <a:pt x="2" y="30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51"/>
                    </a:lnTo>
                    <a:lnTo>
                      <a:pt x="6" y="59"/>
                    </a:lnTo>
                    <a:lnTo>
                      <a:pt x="90" y="59"/>
                    </a:lnTo>
                    <a:lnTo>
                      <a:pt x="90" y="2"/>
                    </a:lnTo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69" name="Freeform 32"/>
              <p:cNvSpPr>
                <a:spLocks/>
              </p:cNvSpPr>
              <p:nvPr/>
            </p:nvSpPr>
            <p:spPr bwMode="gray">
              <a:xfrm>
                <a:off x="3203575" y="2670970"/>
                <a:ext cx="209550" cy="433387"/>
              </a:xfrm>
              <a:custGeom>
                <a:avLst/>
                <a:gdLst>
                  <a:gd name="T0" fmla="*/ 2147483647 w 144"/>
                  <a:gd name="T1" fmla="*/ 2147483647 h 300"/>
                  <a:gd name="T2" fmla="*/ 2147483647 w 144"/>
                  <a:gd name="T3" fmla="*/ 2147483647 h 300"/>
                  <a:gd name="T4" fmla="*/ 2147483647 w 144"/>
                  <a:gd name="T5" fmla="*/ 2147483647 h 300"/>
                  <a:gd name="T6" fmla="*/ 2147483647 w 144"/>
                  <a:gd name="T7" fmla="*/ 2147483647 h 300"/>
                  <a:gd name="T8" fmla="*/ 2147483647 w 144"/>
                  <a:gd name="T9" fmla="*/ 2147483647 h 300"/>
                  <a:gd name="T10" fmla="*/ 2147483647 w 144"/>
                  <a:gd name="T11" fmla="*/ 2147483647 h 300"/>
                  <a:gd name="T12" fmla="*/ 2147483647 w 144"/>
                  <a:gd name="T13" fmla="*/ 2147483647 h 300"/>
                  <a:gd name="T14" fmla="*/ 2147483647 w 144"/>
                  <a:gd name="T15" fmla="*/ 2147483647 h 300"/>
                  <a:gd name="T16" fmla="*/ 2147483647 w 144"/>
                  <a:gd name="T17" fmla="*/ 2147483647 h 300"/>
                  <a:gd name="T18" fmla="*/ 2147483647 w 144"/>
                  <a:gd name="T19" fmla="*/ 2147483647 h 300"/>
                  <a:gd name="T20" fmla="*/ 2147483647 w 144"/>
                  <a:gd name="T21" fmla="*/ 2147483647 h 300"/>
                  <a:gd name="T22" fmla="*/ 2147483647 w 144"/>
                  <a:gd name="T23" fmla="*/ 2147483647 h 300"/>
                  <a:gd name="T24" fmla="*/ 2147483647 w 144"/>
                  <a:gd name="T25" fmla="*/ 2147483647 h 300"/>
                  <a:gd name="T26" fmla="*/ 2147483647 w 144"/>
                  <a:gd name="T27" fmla="*/ 2147483647 h 300"/>
                  <a:gd name="T28" fmla="*/ 2147483647 w 144"/>
                  <a:gd name="T29" fmla="*/ 2147483647 h 300"/>
                  <a:gd name="T30" fmla="*/ 2147483647 w 144"/>
                  <a:gd name="T31" fmla="*/ 2147483647 h 300"/>
                  <a:gd name="T32" fmla="*/ 2147483647 w 144"/>
                  <a:gd name="T33" fmla="*/ 2147483647 h 300"/>
                  <a:gd name="T34" fmla="*/ 2147483647 w 144"/>
                  <a:gd name="T35" fmla="*/ 2147483647 h 300"/>
                  <a:gd name="T36" fmla="*/ 2147483647 w 144"/>
                  <a:gd name="T37" fmla="*/ 2147483647 h 300"/>
                  <a:gd name="T38" fmla="*/ 2147483647 w 144"/>
                  <a:gd name="T39" fmla="*/ 2147483647 h 300"/>
                  <a:gd name="T40" fmla="*/ 2147483647 w 144"/>
                  <a:gd name="T41" fmla="*/ 2147483647 h 300"/>
                  <a:gd name="T42" fmla="*/ 2147483647 w 144"/>
                  <a:gd name="T43" fmla="*/ 2147483647 h 300"/>
                  <a:gd name="T44" fmla="*/ 0 w 144"/>
                  <a:gd name="T45" fmla="*/ 2147483647 h 300"/>
                  <a:gd name="T46" fmla="*/ 2147483647 w 144"/>
                  <a:gd name="T47" fmla="*/ 2147483647 h 300"/>
                  <a:gd name="T48" fmla="*/ 2147483647 w 144"/>
                  <a:gd name="T49" fmla="*/ 2147483647 h 300"/>
                  <a:gd name="T50" fmla="*/ 2147483647 w 144"/>
                  <a:gd name="T51" fmla="*/ 2147483647 h 300"/>
                  <a:gd name="T52" fmla="*/ 2147483647 w 144"/>
                  <a:gd name="T53" fmla="*/ 2147483647 h 300"/>
                  <a:gd name="T54" fmla="*/ 2147483647 w 144"/>
                  <a:gd name="T55" fmla="*/ 2147483647 h 300"/>
                  <a:gd name="T56" fmla="*/ 2147483647 w 144"/>
                  <a:gd name="T57" fmla="*/ 2147483647 h 300"/>
                  <a:gd name="T58" fmla="*/ 2147483647 w 144"/>
                  <a:gd name="T59" fmla="*/ 2147483647 h 300"/>
                  <a:gd name="T60" fmla="*/ 2147483647 w 144"/>
                  <a:gd name="T61" fmla="*/ 2147483647 h 300"/>
                  <a:gd name="T62" fmla="*/ 2147483647 w 144"/>
                  <a:gd name="T63" fmla="*/ 2147483647 h 300"/>
                  <a:gd name="T64" fmla="*/ 2147483647 w 144"/>
                  <a:gd name="T65" fmla="*/ 2147483647 h 30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44"/>
                  <a:gd name="T100" fmla="*/ 0 h 300"/>
                  <a:gd name="T101" fmla="*/ 144 w 144"/>
                  <a:gd name="T102" fmla="*/ 300 h 30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44" h="300">
                    <a:moveTo>
                      <a:pt x="90" y="296"/>
                    </a:moveTo>
                    <a:lnTo>
                      <a:pt x="88" y="298"/>
                    </a:lnTo>
                    <a:lnTo>
                      <a:pt x="88" y="214"/>
                    </a:lnTo>
                    <a:lnTo>
                      <a:pt x="86" y="204"/>
                    </a:lnTo>
                    <a:lnTo>
                      <a:pt x="88" y="196"/>
                    </a:lnTo>
                    <a:lnTo>
                      <a:pt x="92" y="188"/>
                    </a:lnTo>
                    <a:lnTo>
                      <a:pt x="96" y="182"/>
                    </a:lnTo>
                    <a:lnTo>
                      <a:pt x="100" y="174"/>
                    </a:lnTo>
                    <a:lnTo>
                      <a:pt x="102" y="166"/>
                    </a:lnTo>
                    <a:lnTo>
                      <a:pt x="102" y="158"/>
                    </a:lnTo>
                    <a:lnTo>
                      <a:pt x="104" y="150"/>
                    </a:lnTo>
                    <a:lnTo>
                      <a:pt x="108" y="142"/>
                    </a:lnTo>
                    <a:lnTo>
                      <a:pt x="114" y="136"/>
                    </a:lnTo>
                    <a:lnTo>
                      <a:pt x="128" y="122"/>
                    </a:lnTo>
                    <a:lnTo>
                      <a:pt x="134" y="116"/>
                    </a:lnTo>
                    <a:lnTo>
                      <a:pt x="138" y="108"/>
                    </a:lnTo>
                    <a:lnTo>
                      <a:pt x="142" y="98"/>
                    </a:lnTo>
                    <a:lnTo>
                      <a:pt x="144" y="86"/>
                    </a:lnTo>
                    <a:lnTo>
                      <a:pt x="142" y="74"/>
                    </a:lnTo>
                    <a:lnTo>
                      <a:pt x="138" y="66"/>
                    </a:lnTo>
                    <a:lnTo>
                      <a:pt x="136" y="58"/>
                    </a:lnTo>
                    <a:lnTo>
                      <a:pt x="134" y="46"/>
                    </a:lnTo>
                    <a:lnTo>
                      <a:pt x="134" y="30"/>
                    </a:lnTo>
                    <a:lnTo>
                      <a:pt x="136" y="34"/>
                    </a:lnTo>
                    <a:lnTo>
                      <a:pt x="128" y="26"/>
                    </a:lnTo>
                    <a:lnTo>
                      <a:pt x="118" y="16"/>
                    </a:lnTo>
                    <a:lnTo>
                      <a:pt x="108" y="4"/>
                    </a:lnTo>
                    <a:lnTo>
                      <a:pt x="102" y="2"/>
                    </a:lnTo>
                    <a:lnTo>
                      <a:pt x="98" y="0"/>
                    </a:lnTo>
                    <a:lnTo>
                      <a:pt x="92" y="2"/>
                    </a:lnTo>
                    <a:lnTo>
                      <a:pt x="84" y="8"/>
                    </a:lnTo>
                    <a:lnTo>
                      <a:pt x="76" y="12"/>
                    </a:lnTo>
                    <a:lnTo>
                      <a:pt x="74" y="16"/>
                    </a:lnTo>
                    <a:lnTo>
                      <a:pt x="72" y="26"/>
                    </a:lnTo>
                    <a:lnTo>
                      <a:pt x="68" y="36"/>
                    </a:lnTo>
                    <a:lnTo>
                      <a:pt x="64" y="40"/>
                    </a:lnTo>
                    <a:lnTo>
                      <a:pt x="58" y="44"/>
                    </a:lnTo>
                    <a:lnTo>
                      <a:pt x="54" y="46"/>
                    </a:lnTo>
                    <a:lnTo>
                      <a:pt x="46" y="46"/>
                    </a:lnTo>
                    <a:lnTo>
                      <a:pt x="38" y="48"/>
                    </a:lnTo>
                    <a:lnTo>
                      <a:pt x="30" y="50"/>
                    </a:lnTo>
                    <a:lnTo>
                      <a:pt x="22" y="52"/>
                    </a:lnTo>
                    <a:lnTo>
                      <a:pt x="14" y="56"/>
                    </a:lnTo>
                    <a:lnTo>
                      <a:pt x="8" y="62"/>
                    </a:lnTo>
                    <a:lnTo>
                      <a:pt x="4" y="70"/>
                    </a:lnTo>
                    <a:lnTo>
                      <a:pt x="0" y="78"/>
                    </a:lnTo>
                    <a:lnTo>
                      <a:pt x="0" y="88"/>
                    </a:lnTo>
                    <a:lnTo>
                      <a:pt x="2" y="100"/>
                    </a:lnTo>
                    <a:lnTo>
                      <a:pt x="6" y="112"/>
                    </a:lnTo>
                    <a:lnTo>
                      <a:pt x="12" y="120"/>
                    </a:lnTo>
                    <a:lnTo>
                      <a:pt x="20" y="130"/>
                    </a:lnTo>
                    <a:lnTo>
                      <a:pt x="26" y="138"/>
                    </a:lnTo>
                    <a:lnTo>
                      <a:pt x="34" y="148"/>
                    </a:lnTo>
                    <a:lnTo>
                      <a:pt x="38" y="160"/>
                    </a:lnTo>
                    <a:lnTo>
                      <a:pt x="40" y="172"/>
                    </a:lnTo>
                    <a:lnTo>
                      <a:pt x="38" y="198"/>
                    </a:lnTo>
                    <a:lnTo>
                      <a:pt x="32" y="224"/>
                    </a:lnTo>
                    <a:lnTo>
                      <a:pt x="28" y="250"/>
                    </a:lnTo>
                    <a:lnTo>
                      <a:pt x="26" y="280"/>
                    </a:lnTo>
                    <a:lnTo>
                      <a:pt x="28" y="286"/>
                    </a:lnTo>
                    <a:lnTo>
                      <a:pt x="30" y="292"/>
                    </a:lnTo>
                    <a:lnTo>
                      <a:pt x="36" y="298"/>
                    </a:lnTo>
                    <a:lnTo>
                      <a:pt x="40" y="300"/>
                    </a:lnTo>
                    <a:lnTo>
                      <a:pt x="50" y="300"/>
                    </a:lnTo>
                    <a:lnTo>
                      <a:pt x="62" y="298"/>
                    </a:lnTo>
                    <a:lnTo>
                      <a:pt x="88" y="294"/>
                    </a:lnTo>
                    <a:lnTo>
                      <a:pt x="90" y="296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0" name="Freeform 33"/>
              <p:cNvSpPr>
                <a:spLocks/>
              </p:cNvSpPr>
              <p:nvPr/>
            </p:nvSpPr>
            <p:spPr bwMode="gray">
              <a:xfrm>
                <a:off x="3146425" y="2759870"/>
                <a:ext cx="115888" cy="360362"/>
              </a:xfrm>
              <a:custGeom>
                <a:avLst/>
                <a:gdLst>
                  <a:gd name="T0" fmla="*/ 2147483647 w 80"/>
                  <a:gd name="T1" fmla="*/ 2147483647 h 248"/>
                  <a:gd name="T2" fmla="*/ 2147483647 w 80"/>
                  <a:gd name="T3" fmla="*/ 2147483647 h 248"/>
                  <a:gd name="T4" fmla="*/ 2147483647 w 80"/>
                  <a:gd name="T5" fmla="*/ 2147483647 h 248"/>
                  <a:gd name="T6" fmla="*/ 2147483647 w 80"/>
                  <a:gd name="T7" fmla="*/ 2147483647 h 248"/>
                  <a:gd name="T8" fmla="*/ 2147483647 w 80"/>
                  <a:gd name="T9" fmla="*/ 2147483647 h 248"/>
                  <a:gd name="T10" fmla="*/ 2147483647 w 80"/>
                  <a:gd name="T11" fmla="*/ 2147483647 h 248"/>
                  <a:gd name="T12" fmla="*/ 2147483647 w 80"/>
                  <a:gd name="T13" fmla="*/ 2147483647 h 248"/>
                  <a:gd name="T14" fmla="*/ 2147483647 w 80"/>
                  <a:gd name="T15" fmla="*/ 2147483647 h 248"/>
                  <a:gd name="T16" fmla="*/ 2147483647 w 80"/>
                  <a:gd name="T17" fmla="*/ 2147483647 h 248"/>
                  <a:gd name="T18" fmla="*/ 2147483647 w 80"/>
                  <a:gd name="T19" fmla="*/ 2147483647 h 248"/>
                  <a:gd name="T20" fmla="*/ 2147483647 w 80"/>
                  <a:gd name="T21" fmla="*/ 2147483647 h 248"/>
                  <a:gd name="T22" fmla="*/ 2147483647 w 80"/>
                  <a:gd name="T23" fmla="*/ 2147483647 h 248"/>
                  <a:gd name="T24" fmla="*/ 2147483647 w 80"/>
                  <a:gd name="T25" fmla="*/ 2147483647 h 248"/>
                  <a:gd name="T26" fmla="*/ 2147483647 w 80"/>
                  <a:gd name="T27" fmla="*/ 2147483647 h 248"/>
                  <a:gd name="T28" fmla="*/ 2147483647 w 80"/>
                  <a:gd name="T29" fmla="*/ 2147483647 h 248"/>
                  <a:gd name="T30" fmla="*/ 2147483647 w 80"/>
                  <a:gd name="T31" fmla="*/ 2147483647 h 248"/>
                  <a:gd name="T32" fmla="*/ 2147483647 w 80"/>
                  <a:gd name="T33" fmla="*/ 2147483647 h 248"/>
                  <a:gd name="T34" fmla="*/ 2147483647 w 80"/>
                  <a:gd name="T35" fmla="*/ 2147483647 h 248"/>
                  <a:gd name="T36" fmla="*/ 2147483647 w 80"/>
                  <a:gd name="T37" fmla="*/ 2147483647 h 248"/>
                  <a:gd name="T38" fmla="*/ 2147483647 w 80"/>
                  <a:gd name="T39" fmla="*/ 2147483647 h 248"/>
                  <a:gd name="T40" fmla="*/ 2147483647 w 80"/>
                  <a:gd name="T41" fmla="*/ 2147483647 h 248"/>
                  <a:gd name="T42" fmla="*/ 2147483647 w 80"/>
                  <a:gd name="T43" fmla="*/ 2147483647 h 248"/>
                  <a:gd name="T44" fmla="*/ 2147483647 w 80"/>
                  <a:gd name="T45" fmla="*/ 2147483647 h 248"/>
                  <a:gd name="T46" fmla="*/ 2147483647 w 80"/>
                  <a:gd name="T47" fmla="*/ 2147483647 h 248"/>
                  <a:gd name="T48" fmla="*/ 2147483647 w 80"/>
                  <a:gd name="T49" fmla="*/ 2147483647 h 248"/>
                  <a:gd name="T50" fmla="*/ 2147483647 w 80"/>
                  <a:gd name="T51" fmla="*/ 2147483647 h 248"/>
                  <a:gd name="T52" fmla="*/ 2147483647 w 80"/>
                  <a:gd name="T53" fmla="*/ 2147483647 h 248"/>
                  <a:gd name="T54" fmla="*/ 2147483647 w 80"/>
                  <a:gd name="T55" fmla="*/ 2147483647 h 248"/>
                  <a:gd name="T56" fmla="*/ 2147483647 w 80"/>
                  <a:gd name="T57" fmla="*/ 2147483647 h 248"/>
                  <a:gd name="T58" fmla="*/ 2147483647 w 80"/>
                  <a:gd name="T59" fmla="*/ 2147483647 h 248"/>
                  <a:gd name="T60" fmla="*/ 2147483647 w 80"/>
                  <a:gd name="T61" fmla="*/ 2147483647 h 248"/>
                  <a:gd name="T62" fmla="*/ 2147483647 w 80"/>
                  <a:gd name="T63" fmla="*/ 2147483647 h 248"/>
                  <a:gd name="T64" fmla="*/ 2147483647 w 80"/>
                  <a:gd name="T65" fmla="*/ 2147483647 h 248"/>
                  <a:gd name="T66" fmla="*/ 2147483647 w 80"/>
                  <a:gd name="T67" fmla="*/ 2147483647 h 248"/>
                  <a:gd name="T68" fmla="*/ 2147483647 w 80"/>
                  <a:gd name="T69" fmla="*/ 2147483647 h 248"/>
                  <a:gd name="T70" fmla="*/ 2147483647 w 80"/>
                  <a:gd name="T71" fmla="*/ 2147483647 h 248"/>
                  <a:gd name="T72" fmla="*/ 2147483647 w 80"/>
                  <a:gd name="T73" fmla="*/ 2147483647 h 248"/>
                  <a:gd name="T74" fmla="*/ 2147483647 w 80"/>
                  <a:gd name="T75" fmla="*/ 2147483647 h 248"/>
                  <a:gd name="T76" fmla="*/ 2147483647 w 80"/>
                  <a:gd name="T77" fmla="*/ 2147483647 h 248"/>
                  <a:gd name="T78" fmla="*/ 2147483647 w 80"/>
                  <a:gd name="T79" fmla="*/ 2147483647 h 248"/>
                  <a:gd name="T80" fmla="*/ 2147483647 w 80"/>
                  <a:gd name="T81" fmla="*/ 2147483647 h 248"/>
                  <a:gd name="T82" fmla="*/ 2147483647 w 80"/>
                  <a:gd name="T83" fmla="*/ 2147483647 h 248"/>
                  <a:gd name="T84" fmla="*/ 2147483647 w 80"/>
                  <a:gd name="T85" fmla="*/ 2147483647 h 248"/>
                  <a:gd name="T86" fmla="*/ 2147483647 w 80"/>
                  <a:gd name="T87" fmla="*/ 2147483647 h 248"/>
                  <a:gd name="T88" fmla="*/ 2147483647 w 80"/>
                  <a:gd name="T89" fmla="*/ 2147483647 h 248"/>
                  <a:gd name="T90" fmla="*/ 2147483647 w 80"/>
                  <a:gd name="T91" fmla="*/ 2147483647 h 248"/>
                  <a:gd name="T92" fmla="*/ 2147483647 w 80"/>
                  <a:gd name="T93" fmla="*/ 2147483647 h 248"/>
                  <a:gd name="T94" fmla="*/ 2147483647 w 80"/>
                  <a:gd name="T95" fmla="*/ 2147483647 h 248"/>
                  <a:gd name="T96" fmla="*/ 2147483647 w 80"/>
                  <a:gd name="T97" fmla="*/ 2147483647 h 248"/>
                  <a:gd name="T98" fmla="*/ 2147483647 w 80"/>
                  <a:gd name="T99" fmla="*/ 2147483647 h 248"/>
                  <a:gd name="T100" fmla="*/ 2147483647 w 80"/>
                  <a:gd name="T101" fmla="*/ 2147483647 h 248"/>
                  <a:gd name="T102" fmla="*/ 2147483647 w 80"/>
                  <a:gd name="T103" fmla="*/ 2147483647 h 248"/>
                  <a:gd name="T104" fmla="*/ 0 w 80"/>
                  <a:gd name="T105" fmla="*/ 2147483647 h 248"/>
                  <a:gd name="T106" fmla="*/ 0 w 80"/>
                  <a:gd name="T107" fmla="*/ 2147483647 h 248"/>
                  <a:gd name="T108" fmla="*/ 0 w 80"/>
                  <a:gd name="T109" fmla="*/ 2147483647 h 248"/>
                  <a:gd name="T110" fmla="*/ 2147483647 w 80"/>
                  <a:gd name="T111" fmla="*/ 2147483647 h 248"/>
                  <a:gd name="T112" fmla="*/ 2147483647 w 80"/>
                  <a:gd name="T113" fmla="*/ 0 h 248"/>
                  <a:gd name="T114" fmla="*/ 2147483647 w 80"/>
                  <a:gd name="T115" fmla="*/ 0 h 248"/>
                  <a:gd name="T116" fmla="*/ 2147483647 w 80"/>
                  <a:gd name="T117" fmla="*/ 0 h 248"/>
                  <a:gd name="T118" fmla="*/ 2147483647 w 80"/>
                  <a:gd name="T119" fmla="*/ 2147483647 h 248"/>
                  <a:gd name="T120" fmla="*/ 2147483647 w 80"/>
                  <a:gd name="T121" fmla="*/ 2147483647 h 248"/>
                  <a:gd name="T122" fmla="*/ 2147483647 w 80"/>
                  <a:gd name="T123" fmla="*/ 2147483647 h 248"/>
                  <a:gd name="T124" fmla="*/ 2147483647 w 80"/>
                  <a:gd name="T125" fmla="*/ 2147483647 h 2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80"/>
                  <a:gd name="T190" fmla="*/ 0 h 248"/>
                  <a:gd name="T191" fmla="*/ 80 w 80"/>
                  <a:gd name="T192" fmla="*/ 248 h 2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80" h="248">
                    <a:moveTo>
                      <a:pt x="42" y="14"/>
                    </a:moveTo>
                    <a:lnTo>
                      <a:pt x="40" y="26"/>
                    </a:lnTo>
                    <a:lnTo>
                      <a:pt x="42" y="38"/>
                    </a:lnTo>
                    <a:lnTo>
                      <a:pt x="46" y="50"/>
                    </a:lnTo>
                    <a:lnTo>
                      <a:pt x="52" y="58"/>
                    </a:lnTo>
                    <a:lnTo>
                      <a:pt x="60" y="68"/>
                    </a:lnTo>
                    <a:lnTo>
                      <a:pt x="66" y="76"/>
                    </a:lnTo>
                    <a:lnTo>
                      <a:pt x="74" y="86"/>
                    </a:lnTo>
                    <a:lnTo>
                      <a:pt x="78" y="98"/>
                    </a:lnTo>
                    <a:lnTo>
                      <a:pt x="80" y="110"/>
                    </a:lnTo>
                    <a:lnTo>
                      <a:pt x="78" y="136"/>
                    </a:lnTo>
                    <a:lnTo>
                      <a:pt x="72" y="162"/>
                    </a:lnTo>
                    <a:lnTo>
                      <a:pt x="68" y="188"/>
                    </a:lnTo>
                    <a:lnTo>
                      <a:pt x="66" y="218"/>
                    </a:lnTo>
                    <a:lnTo>
                      <a:pt x="68" y="224"/>
                    </a:lnTo>
                    <a:lnTo>
                      <a:pt x="70" y="230"/>
                    </a:lnTo>
                    <a:lnTo>
                      <a:pt x="76" y="236"/>
                    </a:lnTo>
                    <a:lnTo>
                      <a:pt x="80" y="238"/>
                    </a:lnTo>
                    <a:lnTo>
                      <a:pt x="64" y="244"/>
                    </a:lnTo>
                    <a:lnTo>
                      <a:pt x="56" y="246"/>
                    </a:lnTo>
                    <a:lnTo>
                      <a:pt x="48" y="248"/>
                    </a:lnTo>
                    <a:lnTo>
                      <a:pt x="44" y="246"/>
                    </a:lnTo>
                    <a:lnTo>
                      <a:pt x="38" y="244"/>
                    </a:lnTo>
                    <a:lnTo>
                      <a:pt x="30" y="232"/>
                    </a:lnTo>
                    <a:lnTo>
                      <a:pt x="22" y="220"/>
                    </a:lnTo>
                    <a:lnTo>
                      <a:pt x="20" y="214"/>
                    </a:lnTo>
                    <a:lnTo>
                      <a:pt x="20" y="208"/>
                    </a:lnTo>
                    <a:lnTo>
                      <a:pt x="20" y="202"/>
                    </a:lnTo>
                    <a:lnTo>
                      <a:pt x="22" y="196"/>
                    </a:lnTo>
                    <a:lnTo>
                      <a:pt x="24" y="192"/>
                    </a:lnTo>
                    <a:lnTo>
                      <a:pt x="26" y="188"/>
                    </a:lnTo>
                    <a:lnTo>
                      <a:pt x="26" y="178"/>
                    </a:lnTo>
                    <a:lnTo>
                      <a:pt x="28" y="158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28" y="128"/>
                    </a:lnTo>
                    <a:lnTo>
                      <a:pt x="24" y="124"/>
                    </a:lnTo>
                    <a:lnTo>
                      <a:pt x="20" y="120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20" y="108"/>
                    </a:lnTo>
                    <a:lnTo>
                      <a:pt x="22" y="102"/>
                    </a:lnTo>
                    <a:lnTo>
                      <a:pt x="24" y="96"/>
                    </a:lnTo>
                    <a:lnTo>
                      <a:pt x="26" y="92"/>
                    </a:lnTo>
                    <a:lnTo>
                      <a:pt x="24" y="86"/>
                    </a:lnTo>
                    <a:lnTo>
                      <a:pt x="20" y="80"/>
                    </a:lnTo>
                    <a:lnTo>
                      <a:pt x="16" y="76"/>
                    </a:lnTo>
                    <a:lnTo>
                      <a:pt x="14" y="68"/>
                    </a:lnTo>
                    <a:lnTo>
                      <a:pt x="14" y="48"/>
                    </a:lnTo>
                    <a:lnTo>
                      <a:pt x="12" y="42"/>
                    </a:lnTo>
                    <a:lnTo>
                      <a:pt x="8" y="34"/>
                    </a:lnTo>
                    <a:lnTo>
                      <a:pt x="2" y="26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8" y="0"/>
                    </a:lnTo>
                    <a:lnTo>
                      <a:pt x="26" y="4"/>
                    </a:lnTo>
                    <a:lnTo>
                      <a:pt x="34" y="8"/>
                    </a:lnTo>
                    <a:lnTo>
                      <a:pt x="44" y="10"/>
                    </a:lnTo>
                    <a:lnTo>
                      <a:pt x="42" y="14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1" name="Freeform 36"/>
              <p:cNvSpPr>
                <a:spLocks/>
              </p:cNvSpPr>
              <p:nvPr/>
            </p:nvSpPr>
            <p:spPr bwMode="gray">
              <a:xfrm>
                <a:off x="2355850" y="2921795"/>
                <a:ext cx="257175" cy="307975"/>
              </a:xfrm>
              <a:custGeom>
                <a:avLst/>
                <a:gdLst>
                  <a:gd name="T0" fmla="*/ 2147483647 w 178"/>
                  <a:gd name="T1" fmla="*/ 2147483647 h 212"/>
                  <a:gd name="T2" fmla="*/ 2147483647 w 178"/>
                  <a:gd name="T3" fmla="*/ 2147483647 h 212"/>
                  <a:gd name="T4" fmla="*/ 2147483647 w 178"/>
                  <a:gd name="T5" fmla="*/ 2147483647 h 212"/>
                  <a:gd name="T6" fmla="*/ 2147483647 w 178"/>
                  <a:gd name="T7" fmla="*/ 2147483647 h 212"/>
                  <a:gd name="T8" fmla="*/ 2147483647 w 178"/>
                  <a:gd name="T9" fmla="*/ 2147483647 h 212"/>
                  <a:gd name="T10" fmla="*/ 2147483647 w 178"/>
                  <a:gd name="T11" fmla="*/ 2147483647 h 212"/>
                  <a:gd name="T12" fmla="*/ 2147483647 w 178"/>
                  <a:gd name="T13" fmla="*/ 2147483647 h 212"/>
                  <a:gd name="T14" fmla="*/ 2147483647 w 178"/>
                  <a:gd name="T15" fmla="*/ 2147483647 h 212"/>
                  <a:gd name="T16" fmla="*/ 2147483647 w 178"/>
                  <a:gd name="T17" fmla="*/ 2147483647 h 212"/>
                  <a:gd name="T18" fmla="*/ 2147483647 w 178"/>
                  <a:gd name="T19" fmla="*/ 2147483647 h 212"/>
                  <a:gd name="T20" fmla="*/ 2147483647 w 178"/>
                  <a:gd name="T21" fmla="*/ 0 h 212"/>
                  <a:gd name="T22" fmla="*/ 2147483647 w 178"/>
                  <a:gd name="T23" fmla="*/ 2147483647 h 212"/>
                  <a:gd name="T24" fmla="*/ 2147483647 w 178"/>
                  <a:gd name="T25" fmla="*/ 2147483647 h 212"/>
                  <a:gd name="T26" fmla="*/ 2147483647 w 178"/>
                  <a:gd name="T27" fmla="*/ 2147483647 h 212"/>
                  <a:gd name="T28" fmla="*/ 2147483647 w 178"/>
                  <a:gd name="T29" fmla="*/ 2147483647 h 212"/>
                  <a:gd name="T30" fmla="*/ 2147483647 w 178"/>
                  <a:gd name="T31" fmla="*/ 2147483647 h 212"/>
                  <a:gd name="T32" fmla="*/ 2147483647 w 178"/>
                  <a:gd name="T33" fmla="*/ 2147483647 h 212"/>
                  <a:gd name="T34" fmla="*/ 2147483647 w 178"/>
                  <a:gd name="T35" fmla="*/ 2147483647 h 212"/>
                  <a:gd name="T36" fmla="*/ 2147483647 w 178"/>
                  <a:gd name="T37" fmla="*/ 2147483647 h 212"/>
                  <a:gd name="T38" fmla="*/ 2147483647 w 178"/>
                  <a:gd name="T39" fmla="*/ 2147483647 h 212"/>
                  <a:gd name="T40" fmla="*/ 2147483647 w 178"/>
                  <a:gd name="T41" fmla="*/ 2147483647 h 212"/>
                  <a:gd name="T42" fmla="*/ 2147483647 w 178"/>
                  <a:gd name="T43" fmla="*/ 2147483647 h 212"/>
                  <a:gd name="T44" fmla="*/ 2147483647 w 178"/>
                  <a:gd name="T45" fmla="*/ 2147483647 h 212"/>
                  <a:gd name="T46" fmla="*/ 2147483647 w 178"/>
                  <a:gd name="T47" fmla="*/ 2147483647 h 212"/>
                  <a:gd name="T48" fmla="*/ 2147483647 w 178"/>
                  <a:gd name="T49" fmla="*/ 2147483647 h 212"/>
                  <a:gd name="T50" fmla="*/ 2147483647 w 178"/>
                  <a:gd name="T51" fmla="*/ 2147483647 h 212"/>
                  <a:gd name="T52" fmla="*/ 2147483647 w 178"/>
                  <a:gd name="T53" fmla="*/ 2147483647 h 212"/>
                  <a:gd name="T54" fmla="*/ 2147483647 w 178"/>
                  <a:gd name="T55" fmla="*/ 2147483647 h 212"/>
                  <a:gd name="T56" fmla="*/ 2147483647 w 178"/>
                  <a:gd name="T57" fmla="*/ 2147483647 h 212"/>
                  <a:gd name="T58" fmla="*/ 2147483647 w 178"/>
                  <a:gd name="T59" fmla="*/ 2147483647 h 212"/>
                  <a:gd name="T60" fmla="*/ 2147483647 w 178"/>
                  <a:gd name="T61" fmla="*/ 2147483647 h 212"/>
                  <a:gd name="T62" fmla="*/ 2147483647 w 178"/>
                  <a:gd name="T63" fmla="*/ 2147483647 h 212"/>
                  <a:gd name="T64" fmla="*/ 2147483647 w 178"/>
                  <a:gd name="T65" fmla="*/ 2147483647 h 212"/>
                  <a:gd name="T66" fmla="*/ 2147483647 w 178"/>
                  <a:gd name="T67" fmla="*/ 2147483647 h 21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78"/>
                  <a:gd name="T103" fmla="*/ 0 h 212"/>
                  <a:gd name="T104" fmla="*/ 178 w 178"/>
                  <a:gd name="T105" fmla="*/ 212 h 21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78" h="212">
                    <a:moveTo>
                      <a:pt x="138" y="44"/>
                    </a:moveTo>
                    <a:lnTo>
                      <a:pt x="134" y="44"/>
                    </a:lnTo>
                    <a:lnTo>
                      <a:pt x="128" y="44"/>
                    </a:lnTo>
                    <a:lnTo>
                      <a:pt x="128" y="52"/>
                    </a:lnTo>
                    <a:lnTo>
                      <a:pt x="124" y="58"/>
                    </a:lnTo>
                    <a:lnTo>
                      <a:pt x="118" y="64"/>
                    </a:lnTo>
                    <a:lnTo>
                      <a:pt x="110" y="66"/>
                    </a:lnTo>
                    <a:lnTo>
                      <a:pt x="106" y="64"/>
                    </a:lnTo>
                    <a:lnTo>
                      <a:pt x="100" y="62"/>
                    </a:lnTo>
                    <a:lnTo>
                      <a:pt x="96" y="56"/>
                    </a:lnTo>
                    <a:lnTo>
                      <a:pt x="94" y="52"/>
                    </a:lnTo>
                    <a:lnTo>
                      <a:pt x="94" y="50"/>
                    </a:lnTo>
                    <a:lnTo>
                      <a:pt x="96" y="48"/>
                    </a:lnTo>
                    <a:lnTo>
                      <a:pt x="98" y="46"/>
                    </a:lnTo>
                    <a:lnTo>
                      <a:pt x="100" y="42"/>
                    </a:lnTo>
                    <a:lnTo>
                      <a:pt x="98" y="26"/>
                    </a:lnTo>
                    <a:lnTo>
                      <a:pt x="96" y="20"/>
                    </a:lnTo>
                    <a:lnTo>
                      <a:pt x="94" y="14"/>
                    </a:lnTo>
                    <a:lnTo>
                      <a:pt x="90" y="8"/>
                    </a:lnTo>
                    <a:lnTo>
                      <a:pt x="84" y="4"/>
                    </a:lnTo>
                    <a:lnTo>
                      <a:pt x="78" y="2"/>
                    </a:lnTo>
                    <a:lnTo>
                      <a:pt x="68" y="0"/>
                    </a:lnTo>
                    <a:lnTo>
                      <a:pt x="58" y="2"/>
                    </a:lnTo>
                    <a:lnTo>
                      <a:pt x="50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2" y="24"/>
                    </a:lnTo>
                    <a:lnTo>
                      <a:pt x="40" y="32"/>
                    </a:lnTo>
                    <a:lnTo>
                      <a:pt x="36" y="38"/>
                    </a:lnTo>
                    <a:lnTo>
                      <a:pt x="20" y="58"/>
                    </a:lnTo>
                    <a:lnTo>
                      <a:pt x="0" y="78"/>
                    </a:lnTo>
                    <a:lnTo>
                      <a:pt x="8" y="88"/>
                    </a:lnTo>
                    <a:lnTo>
                      <a:pt x="14" y="96"/>
                    </a:lnTo>
                    <a:lnTo>
                      <a:pt x="22" y="102"/>
                    </a:lnTo>
                    <a:lnTo>
                      <a:pt x="30" y="106"/>
                    </a:lnTo>
                    <a:lnTo>
                      <a:pt x="46" y="114"/>
                    </a:lnTo>
                    <a:lnTo>
                      <a:pt x="64" y="124"/>
                    </a:lnTo>
                    <a:lnTo>
                      <a:pt x="74" y="136"/>
                    </a:lnTo>
                    <a:lnTo>
                      <a:pt x="84" y="148"/>
                    </a:lnTo>
                    <a:lnTo>
                      <a:pt x="92" y="162"/>
                    </a:lnTo>
                    <a:lnTo>
                      <a:pt x="98" y="168"/>
                    </a:lnTo>
                    <a:lnTo>
                      <a:pt x="104" y="174"/>
                    </a:lnTo>
                    <a:lnTo>
                      <a:pt x="120" y="184"/>
                    </a:lnTo>
                    <a:lnTo>
                      <a:pt x="138" y="194"/>
                    </a:lnTo>
                    <a:lnTo>
                      <a:pt x="176" y="212"/>
                    </a:lnTo>
                    <a:lnTo>
                      <a:pt x="172" y="208"/>
                    </a:lnTo>
                    <a:lnTo>
                      <a:pt x="170" y="202"/>
                    </a:lnTo>
                    <a:lnTo>
                      <a:pt x="170" y="188"/>
                    </a:lnTo>
                    <a:lnTo>
                      <a:pt x="170" y="180"/>
                    </a:lnTo>
                    <a:lnTo>
                      <a:pt x="174" y="174"/>
                    </a:lnTo>
                    <a:lnTo>
                      <a:pt x="178" y="162"/>
                    </a:lnTo>
                    <a:lnTo>
                      <a:pt x="178" y="146"/>
                    </a:lnTo>
                    <a:lnTo>
                      <a:pt x="172" y="142"/>
                    </a:lnTo>
                    <a:lnTo>
                      <a:pt x="168" y="138"/>
                    </a:lnTo>
                    <a:lnTo>
                      <a:pt x="166" y="132"/>
                    </a:lnTo>
                    <a:lnTo>
                      <a:pt x="160" y="126"/>
                    </a:lnTo>
                    <a:lnTo>
                      <a:pt x="152" y="122"/>
                    </a:lnTo>
                    <a:lnTo>
                      <a:pt x="144" y="120"/>
                    </a:lnTo>
                    <a:lnTo>
                      <a:pt x="126" y="116"/>
                    </a:lnTo>
                    <a:lnTo>
                      <a:pt x="128" y="116"/>
                    </a:lnTo>
                    <a:lnTo>
                      <a:pt x="128" y="106"/>
                    </a:lnTo>
                    <a:lnTo>
                      <a:pt x="130" y="100"/>
                    </a:lnTo>
                    <a:lnTo>
                      <a:pt x="134" y="94"/>
                    </a:lnTo>
                    <a:lnTo>
                      <a:pt x="138" y="86"/>
                    </a:lnTo>
                    <a:lnTo>
                      <a:pt x="140" y="80"/>
                    </a:lnTo>
                    <a:lnTo>
                      <a:pt x="140" y="72"/>
                    </a:lnTo>
                    <a:lnTo>
                      <a:pt x="138" y="64"/>
                    </a:lnTo>
                    <a:lnTo>
                      <a:pt x="136" y="50"/>
                    </a:lnTo>
                    <a:lnTo>
                      <a:pt x="138" y="44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2" name="Freeform 37"/>
              <p:cNvSpPr>
                <a:spLocks/>
              </p:cNvSpPr>
              <p:nvPr/>
            </p:nvSpPr>
            <p:spPr bwMode="gray">
              <a:xfrm>
                <a:off x="2244725" y="2812257"/>
                <a:ext cx="195263" cy="223838"/>
              </a:xfrm>
              <a:custGeom>
                <a:avLst/>
                <a:gdLst>
                  <a:gd name="T0" fmla="*/ 2147483647 w 134"/>
                  <a:gd name="T1" fmla="*/ 2147483647 h 154"/>
                  <a:gd name="T2" fmla="*/ 2147483647 w 134"/>
                  <a:gd name="T3" fmla="*/ 2147483647 h 154"/>
                  <a:gd name="T4" fmla="*/ 2147483647 w 134"/>
                  <a:gd name="T5" fmla="*/ 2147483647 h 154"/>
                  <a:gd name="T6" fmla="*/ 2147483647 w 134"/>
                  <a:gd name="T7" fmla="*/ 2147483647 h 154"/>
                  <a:gd name="T8" fmla="*/ 2147483647 w 134"/>
                  <a:gd name="T9" fmla="*/ 2147483647 h 154"/>
                  <a:gd name="T10" fmla="*/ 2147483647 w 134"/>
                  <a:gd name="T11" fmla="*/ 2147483647 h 154"/>
                  <a:gd name="T12" fmla="*/ 2147483647 w 134"/>
                  <a:gd name="T13" fmla="*/ 2147483647 h 154"/>
                  <a:gd name="T14" fmla="*/ 2147483647 w 134"/>
                  <a:gd name="T15" fmla="*/ 2147483647 h 154"/>
                  <a:gd name="T16" fmla="*/ 2147483647 w 134"/>
                  <a:gd name="T17" fmla="*/ 2147483647 h 154"/>
                  <a:gd name="T18" fmla="*/ 2147483647 w 134"/>
                  <a:gd name="T19" fmla="*/ 2147483647 h 154"/>
                  <a:gd name="T20" fmla="*/ 2147483647 w 134"/>
                  <a:gd name="T21" fmla="*/ 2147483647 h 154"/>
                  <a:gd name="T22" fmla="*/ 2147483647 w 134"/>
                  <a:gd name="T23" fmla="*/ 2147483647 h 154"/>
                  <a:gd name="T24" fmla="*/ 2147483647 w 134"/>
                  <a:gd name="T25" fmla="*/ 2147483647 h 154"/>
                  <a:gd name="T26" fmla="*/ 2147483647 w 134"/>
                  <a:gd name="T27" fmla="*/ 2147483647 h 154"/>
                  <a:gd name="T28" fmla="*/ 2147483647 w 134"/>
                  <a:gd name="T29" fmla="*/ 2147483647 h 154"/>
                  <a:gd name="T30" fmla="*/ 2147483647 w 134"/>
                  <a:gd name="T31" fmla="*/ 2147483647 h 154"/>
                  <a:gd name="T32" fmla="*/ 2147483647 w 134"/>
                  <a:gd name="T33" fmla="*/ 2147483647 h 154"/>
                  <a:gd name="T34" fmla="*/ 2147483647 w 134"/>
                  <a:gd name="T35" fmla="*/ 2147483647 h 154"/>
                  <a:gd name="T36" fmla="*/ 2147483647 w 134"/>
                  <a:gd name="T37" fmla="*/ 2147483647 h 154"/>
                  <a:gd name="T38" fmla="*/ 2147483647 w 134"/>
                  <a:gd name="T39" fmla="*/ 2147483647 h 154"/>
                  <a:gd name="T40" fmla="*/ 2147483647 w 134"/>
                  <a:gd name="T41" fmla="*/ 2147483647 h 154"/>
                  <a:gd name="T42" fmla="*/ 2147483647 w 134"/>
                  <a:gd name="T43" fmla="*/ 2147483647 h 154"/>
                  <a:gd name="T44" fmla="*/ 0 w 134"/>
                  <a:gd name="T45" fmla="*/ 2147483647 h 154"/>
                  <a:gd name="T46" fmla="*/ 0 w 134"/>
                  <a:gd name="T47" fmla="*/ 2147483647 h 154"/>
                  <a:gd name="T48" fmla="*/ 0 w 134"/>
                  <a:gd name="T49" fmla="*/ 2147483647 h 154"/>
                  <a:gd name="T50" fmla="*/ 2147483647 w 134"/>
                  <a:gd name="T51" fmla="*/ 2147483647 h 154"/>
                  <a:gd name="T52" fmla="*/ 2147483647 w 134"/>
                  <a:gd name="T53" fmla="*/ 2147483647 h 154"/>
                  <a:gd name="T54" fmla="*/ 2147483647 w 134"/>
                  <a:gd name="T55" fmla="*/ 2147483647 h 154"/>
                  <a:gd name="T56" fmla="*/ 2147483647 w 134"/>
                  <a:gd name="T57" fmla="*/ 2147483647 h 154"/>
                  <a:gd name="T58" fmla="*/ 2147483647 w 134"/>
                  <a:gd name="T59" fmla="*/ 2147483647 h 154"/>
                  <a:gd name="T60" fmla="*/ 2147483647 w 134"/>
                  <a:gd name="T61" fmla="*/ 0 h 154"/>
                  <a:gd name="T62" fmla="*/ 2147483647 w 134"/>
                  <a:gd name="T63" fmla="*/ 0 h 154"/>
                  <a:gd name="T64" fmla="*/ 2147483647 w 134"/>
                  <a:gd name="T65" fmla="*/ 0 h 154"/>
                  <a:gd name="T66" fmla="*/ 2147483647 w 134"/>
                  <a:gd name="T67" fmla="*/ 0 h 154"/>
                  <a:gd name="T68" fmla="*/ 2147483647 w 134"/>
                  <a:gd name="T69" fmla="*/ 2147483647 h 154"/>
                  <a:gd name="T70" fmla="*/ 2147483647 w 134"/>
                  <a:gd name="T71" fmla="*/ 2147483647 h 154"/>
                  <a:gd name="T72" fmla="*/ 2147483647 w 134"/>
                  <a:gd name="T73" fmla="*/ 2147483647 h 154"/>
                  <a:gd name="T74" fmla="*/ 2147483647 w 134"/>
                  <a:gd name="T75" fmla="*/ 2147483647 h 154"/>
                  <a:gd name="T76" fmla="*/ 2147483647 w 134"/>
                  <a:gd name="T77" fmla="*/ 2147483647 h 154"/>
                  <a:gd name="T78" fmla="*/ 2147483647 w 134"/>
                  <a:gd name="T79" fmla="*/ 2147483647 h 154"/>
                  <a:gd name="T80" fmla="*/ 2147483647 w 134"/>
                  <a:gd name="T81" fmla="*/ 2147483647 h 154"/>
                  <a:gd name="T82" fmla="*/ 2147483647 w 134"/>
                  <a:gd name="T83" fmla="*/ 2147483647 h 154"/>
                  <a:gd name="T84" fmla="*/ 2147483647 w 134"/>
                  <a:gd name="T85" fmla="*/ 2147483647 h 154"/>
                  <a:gd name="T86" fmla="*/ 2147483647 w 134"/>
                  <a:gd name="T87" fmla="*/ 2147483647 h 154"/>
                  <a:gd name="T88" fmla="*/ 2147483647 w 134"/>
                  <a:gd name="T89" fmla="*/ 2147483647 h 154"/>
                  <a:gd name="T90" fmla="*/ 2147483647 w 134"/>
                  <a:gd name="T91" fmla="*/ 2147483647 h 154"/>
                  <a:gd name="T92" fmla="*/ 2147483647 w 134"/>
                  <a:gd name="T93" fmla="*/ 2147483647 h 1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4"/>
                  <a:gd name="T142" fmla="*/ 0 h 154"/>
                  <a:gd name="T143" fmla="*/ 134 w 134"/>
                  <a:gd name="T144" fmla="*/ 154 h 1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4" h="154">
                    <a:moveTo>
                      <a:pt x="134" y="78"/>
                    </a:moveTo>
                    <a:lnTo>
                      <a:pt x="128" y="80"/>
                    </a:lnTo>
                    <a:lnTo>
                      <a:pt x="124" y="82"/>
                    </a:lnTo>
                    <a:lnTo>
                      <a:pt x="120" y="86"/>
                    </a:lnTo>
                    <a:lnTo>
                      <a:pt x="120" y="92"/>
                    </a:lnTo>
                    <a:lnTo>
                      <a:pt x="116" y="102"/>
                    </a:lnTo>
                    <a:lnTo>
                      <a:pt x="112" y="114"/>
                    </a:lnTo>
                    <a:lnTo>
                      <a:pt x="96" y="134"/>
                    </a:lnTo>
                    <a:lnTo>
                      <a:pt x="76" y="154"/>
                    </a:lnTo>
                    <a:lnTo>
                      <a:pt x="62" y="146"/>
                    </a:lnTo>
                    <a:lnTo>
                      <a:pt x="52" y="138"/>
                    </a:lnTo>
                    <a:lnTo>
                      <a:pt x="44" y="132"/>
                    </a:lnTo>
                    <a:lnTo>
                      <a:pt x="32" y="124"/>
                    </a:lnTo>
                    <a:lnTo>
                      <a:pt x="20" y="118"/>
                    </a:lnTo>
                    <a:lnTo>
                      <a:pt x="16" y="114"/>
                    </a:lnTo>
                    <a:lnTo>
                      <a:pt x="12" y="110"/>
                    </a:lnTo>
                    <a:lnTo>
                      <a:pt x="10" y="104"/>
                    </a:lnTo>
                    <a:lnTo>
                      <a:pt x="10" y="98"/>
                    </a:lnTo>
                    <a:lnTo>
                      <a:pt x="12" y="92"/>
                    </a:lnTo>
                    <a:lnTo>
                      <a:pt x="10" y="86"/>
                    </a:lnTo>
                    <a:lnTo>
                      <a:pt x="8" y="82"/>
                    </a:lnTo>
                    <a:lnTo>
                      <a:pt x="4" y="78"/>
                    </a:lnTo>
                    <a:lnTo>
                      <a:pt x="0" y="72"/>
                    </a:lnTo>
                    <a:lnTo>
                      <a:pt x="0" y="62"/>
                    </a:lnTo>
                    <a:lnTo>
                      <a:pt x="0" y="50"/>
                    </a:lnTo>
                    <a:lnTo>
                      <a:pt x="4" y="40"/>
                    </a:lnTo>
                    <a:lnTo>
                      <a:pt x="10" y="28"/>
                    </a:lnTo>
                    <a:lnTo>
                      <a:pt x="16" y="18"/>
                    </a:lnTo>
                    <a:lnTo>
                      <a:pt x="24" y="10"/>
                    </a:lnTo>
                    <a:lnTo>
                      <a:pt x="34" y="4"/>
                    </a:lnTo>
                    <a:lnTo>
                      <a:pt x="44" y="0"/>
                    </a:lnTo>
                    <a:lnTo>
                      <a:pt x="54" y="0"/>
                    </a:lnTo>
                    <a:lnTo>
                      <a:pt x="76" y="0"/>
                    </a:lnTo>
                    <a:lnTo>
                      <a:pt x="86" y="0"/>
                    </a:lnTo>
                    <a:lnTo>
                      <a:pt x="96" y="4"/>
                    </a:lnTo>
                    <a:lnTo>
                      <a:pt x="104" y="12"/>
                    </a:lnTo>
                    <a:lnTo>
                      <a:pt x="112" y="20"/>
                    </a:lnTo>
                    <a:lnTo>
                      <a:pt x="116" y="30"/>
                    </a:lnTo>
                    <a:lnTo>
                      <a:pt x="122" y="42"/>
                    </a:lnTo>
                    <a:lnTo>
                      <a:pt x="124" y="54"/>
                    </a:lnTo>
                    <a:lnTo>
                      <a:pt x="126" y="68"/>
                    </a:lnTo>
                    <a:lnTo>
                      <a:pt x="124" y="72"/>
                    </a:lnTo>
                    <a:lnTo>
                      <a:pt x="122" y="74"/>
                    </a:lnTo>
                    <a:lnTo>
                      <a:pt x="118" y="76"/>
                    </a:lnTo>
                    <a:lnTo>
                      <a:pt x="124" y="78"/>
                    </a:lnTo>
                    <a:lnTo>
                      <a:pt x="128" y="76"/>
                    </a:lnTo>
                    <a:lnTo>
                      <a:pt x="134" y="78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3" name="Freeform 38"/>
              <p:cNvSpPr>
                <a:spLocks/>
              </p:cNvSpPr>
              <p:nvPr/>
            </p:nvSpPr>
            <p:spPr bwMode="gray">
              <a:xfrm>
                <a:off x="2141538" y="2607470"/>
                <a:ext cx="468312" cy="411162"/>
              </a:xfrm>
              <a:custGeom>
                <a:avLst/>
                <a:gdLst>
                  <a:gd name="T0" fmla="*/ 2147483647 w 324"/>
                  <a:gd name="T1" fmla="*/ 2147483647 h 284"/>
                  <a:gd name="T2" fmla="*/ 2147483647 w 324"/>
                  <a:gd name="T3" fmla="*/ 2147483647 h 284"/>
                  <a:gd name="T4" fmla="*/ 2147483647 w 324"/>
                  <a:gd name="T5" fmla="*/ 2147483647 h 284"/>
                  <a:gd name="T6" fmla="*/ 2147483647 w 324"/>
                  <a:gd name="T7" fmla="*/ 2147483647 h 284"/>
                  <a:gd name="T8" fmla="*/ 2147483647 w 324"/>
                  <a:gd name="T9" fmla="*/ 2147483647 h 284"/>
                  <a:gd name="T10" fmla="*/ 2147483647 w 324"/>
                  <a:gd name="T11" fmla="*/ 2147483647 h 284"/>
                  <a:gd name="T12" fmla="*/ 2147483647 w 324"/>
                  <a:gd name="T13" fmla="*/ 2147483647 h 284"/>
                  <a:gd name="T14" fmla="*/ 2147483647 w 324"/>
                  <a:gd name="T15" fmla="*/ 2147483647 h 284"/>
                  <a:gd name="T16" fmla="*/ 2147483647 w 324"/>
                  <a:gd name="T17" fmla="*/ 2147483647 h 284"/>
                  <a:gd name="T18" fmla="*/ 2147483647 w 324"/>
                  <a:gd name="T19" fmla="*/ 2147483647 h 284"/>
                  <a:gd name="T20" fmla="*/ 2147483647 w 324"/>
                  <a:gd name="T21" fmla="*/ 2147483647 h 284"/>
                  <a:gd name="T22" fmla="*/ 2147483647 w 324"/>
                  <a:gd name="T23" fmla="*/ 2147483647 h 284"/>
                  <a:gd name="T24" fmla="*/ 2147483647 w 324"/>
                  <a:gd name="T25" fmla="*/ 2147483647 h 284"/>
                  <a:gd name="T26" fmla="*/ 2147483647 w 324"/>
                  <a:gd name="T27" fmla="*/ 2147483647 h 284"/>
                  <a:gd name="T28" fmla="*/ 2147483647 w 324"/>
                  <a:gd name="T29" fmla="*/ 2147483647 h 284"/>
                  <a:gd name="T30" fmla="*/ 2147483647 w 324"/>
                  <a:gd name="T31" fmla="*/ 2147483647 h 284"/>
                  <a:gd name="T32" fmla="*/ 2147483647 w 324"/>
                  <a:gd name="T33" fmla="*/ 2147483647 h 284"/>
                  <a:gd name="T34" fmla="*/ 2147483647 w 324"/>
                  <a:gd name="T35" fmla="*/ 2147483647 h 284"/>
                  <a:gd name="T36" fmla="*/ 2147483647 w 324"/>
                  <a:gd name="T37" fmla="*/ 2147483647 h 284"/>
                  <a:gd name="T38" fmla="*/ 2147483647 w 324"/>
                  <a:gd name="T39" fmla="*/ 2147483647 h 284"/>
                  <a:gd name="T40" fmla="*/ 2147483647 w 324"/>
                  <a:gd name="T41" fmla="*/ 2147483647 h 284"/>
                  <a:gd name="T42" fmla="*/ 2147483647 w 324"/>
                  <a:gd name="T43" fmla="*/ 2147483647 h 284"/>
                  <a:gd name="T44" fmla="*/ 2147483647 w 324"/>
                  <a:gd name="T45" fmla="*/ 2147483647 h 284"/>
                  <a:gd name="T46" fmla="*/ 2147483647 w 324"/>
                  <a:gd name="T47" fmla="*/ 2147483647 h 284"/>
                  <a:gd name="T48" fmla="*/ 2147483647 w 324"/>
                  <a:gd name="T49" fmla="*/ 2147483647 h 284"/>
                  <a:gd name="T50" fmla="*/ 2147483647 w 324"/>
                  <a:gd name="T51" fmla="*/ 2147483647 h 284"/>
                  <a:gd name="T52" fmla="*/ 2147483647 w 324"/>
                  <a:gd name="T53" fmla="*/ 2147483647 h 284"/>
                  <a:gd name="T54" fmla="*/ 2147483647 w 324"/>
                  <a:gd name="T55" fmla="*/ 2147483647 h 284"/>
                  <a:gd name="T56" fmla="*/ 2147483647 w 324"/>
                  <a:gd name="T57" fmla="*/ 2147483647 h 284"/>
                  <a:gd name="T58" fmla="*/ 2147483647 w 324"/>
                  <a:gd name="T59" fmla="*/ 2147483647 h 284"/>
                  <a:gd name="T60" fmla="*/ 2147483647 w 324"/>
                  <a:gd name="T61" fmla="*/ 2147483647 h 284"/>
                  <a:gd name="T62" fmla="*/ 2147483647 w 324"/>
                  <a:gd name="T63" fmla="*/ 0 h 284"/>
                  <a:gd name="T64" fmla="*/ 2147483647 w 324"/>
                  <a:gd name="T65" fmla="*/ 2147483647 h 284"/>
                  <a:gd name="T66" fmla="*/ 2147483647 w 324"/>
                  <a:gd name="T67" fmla="*/ 2147483647 h 284"/>
                  <a:gd name="T68" fmla="*/ 2147483647 w 324"/>
                  <a:gd name="T69" fmla="*/ 2147483647 h 284"/>
                  <a:gd name="T70" fmla="*/ 2147483647 w 324"/>
                  <a:gd name="T71" fmla="*/ 2147483647 h 284"/>
                  <a:gd name="T72" fmla="*/ 2147483647 w 324"/>
                  <a:gd name="T73" fmla="*/ 2147483647 h 284"/>
                  <a:gd name="T74" fmla="*/ 2147483647 w 324"/>
                  <a:gd name="T75" fmla="*/ 2147483647 h 284"/>
                  <a:gd name="T76" fmla="*/ 0 w 324"/>
                  <a:gd name="T77" fmla="*/ 2147483647 h 284"/>
                  <a:gd name="T78" fmla="*/ 2147483647 w 324"/>
                  <a:gd name="T79" fmla="*/ 2147483647 h 284"/>
                  <a:gd name="T80" fmla="*/ 2147483647 w 324"/>
                  <a:gd name="T81" fmla="*/ 2147483647 h 284"/>
                  <a:gd name="T82" fmla="*/ 2147483647 w 324"/>
                  <a:gd name="T83" fmla="*/ 2147483647 h 284"/>
                  <a:gd name="T84" fmla="*/ 2147483647 w 324"/>
                  <a:gd name="T85" fmla="*/ 2147483647 h 284"/>
                  <a:gd name="T86" fmla="*/ 2147483647 w 324"/>
                  <a:gd name="T87" fmla="*/ 2147483647 h 284"/>
                  <a:gd name="T88" fmla="*/ 2147483647 w 324"/>
                  <a:gd name="T89" fmla="*/ 2147483647 h 284"/>
                  <a:gd name="T90" fmla="*/ 2147483647 w 324"/>
                  <a:gd name="T91" fmla="*/ 2147483647 h 284"/>
                  <a:gd name="T92" fmla="*/ 2147483647 w 324"/>
                  <a:gd name="T93" fmla="*/ 2147483647 h 28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24"/>
                  <a:gd name="T142" fmla="*/ 0 h 284"/>
                  <a:gd name="T143" fmla="*/ 324 w 324"/>
                  <a:gd name="T144" fmla="*/ 284 h 28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24" h="284">
                    <a:moveTo>
                      <a:pt x="216" y="218"/>
                    </a:moveTo>
                    <a:lnTo>
                      <a:pt x="226" y="220"/>
                    </a:lnTo>
                    <a:lnTo>
                      <a:pt x="232" y="222"/>
                    </a:lnTo>
                    <a:lnTo>
                      <a:pt x="238" y="226"/>
                    </a:lnTo>
                    <a:lnTo>
                      <a:pt x="242" y="232"/>
                    </a:lnTo>
                    <a:lnTo>
                      <a:pt x="244" y="238"/>
                    </a:lnTo>
                    <a:lnTo>
                      <a:pt x="246" y="244"/>
                    </a:lnTo>
                    <a:lnTo>
                      <a:pt x="248" y="260"/>
                    </a:lnTo>
                    <a:lnTo>
                      <a:pt x="246" y="264"/>
                    </a:lnTo>
                    <a:lnTo>
                      <a:pt x="244" y="266"/>
                    </a:lnTo>
                    <a:lnTo>
                      <a:pt x="242" y="268"/>
                    </a:lnTo>
                    <a:lnTo>
                      <a:pt x="242" y="270"/>
                    </a:lnTo>
                    <a:lnTo>
                      <a:pt x="244" y="274"/>
                    </a:lnTo>
                    <a:lnTo>
                      <a:pt x="248" y="280"/>
                    </a:lnTo>
                    <a:lnTo>
                      <a:pt x="254" y="282"/>
                    </a:lnTo>
                    <a:lnTo>
                      <a:pt x="258" y="284"/>
                    </a:lnTo>
                    <a:lnTo>
                      <a:pt x="266" y="282"/>
                    </a:lnTo>
                    <a:lnTo>
                      <a:pt x="272" y="276"/>
                    </a:lnTo>
                    <a:lnTo>
                      <a:pt x="276" y="270"/>
                    </a:lnTo>
                    <a:lnTo>
                      <a:pt x="276" y="262"/>
                    </a:lnTo>
                    <a:lnTo>
                      <a:pt x="282" y="262"/>
                    </a:lnTo>
                    <a:lnTo>
                      <a:pt x="286" y="262"/>
                    </a:lnTo>
                    <a:lnTo>
                      <a:pt x="284" y="268"/>
                    </a:lnTo>
                    <a:lnTo>
                      <a:pt x="292" y="264"/>
                    </a:lnTo>
                    <a:lnTo>
                      <a:pt x="300" y="260"/>
                    </a:lnTo>
                    <a:lnTo>
                      <a:pt x="304" y="252"/>
                    </a:lnTo>
                    <a:lnTo>
                      <a:pt x="306" y="244"/>
                    </a:lnTo>
                    <a:lnTo>
                      <a:pt x="302" y="242"/>
                    </a:lnTo>
                    <a:lnTo>
                      <a:pt x="298" y="238"/>
                    </a:lnTo>
                    <a:lnTo>
                      <a:pt x="296" y="234"/>
                    </a:lnTo>
                    <a:lnTo>
                      <a:pt x="296" y="230"/>
                    </a:lnTo>
                    <a:lnTo>
                      <a:pt x="296" y="226"/>
                    </a:lnTo>
                    <a:lnTo>
                      <a:pt x="300" y="222"/>
                    </a:lnTo>
                    <a:lnTo>
                      <a:pt x="304" y="220"/>
                    </a:lnTo>
                    <a:lnTo>
                      <a:pt x="306" y="220"/>
                    </a:lnTo>
                    <a:lnTo>
                      <a:pt x="312" y="222"/>
                    </a:lnTo>
                    <a:lnTo>
                      <a:pt x="316" y="224"/>
                    </a:lnTo>
                    <a:lnTo>
                      <a:pt x="318" y="224"/>
                    </a:lnTo>
                    <a:lnTo>
                      <a:pt x="324" y="224"/>
                    </a:lnTo>
                    <a:lnTo>
                      <a:pt x="316" y="214"/>
                    </a:lnTo>
                    <a:lnTo>
                      <a:pt x="314" y="208"/>
                    </a:lnTo>
                    <a:lnTo>
                      <a:pt x="312" y="202"/>
                    </a:lnTo>
                    <a:lnTo>
                      <a:pt x="312" y="190"/>
                    </a:lnTo>
                    <a:lnTo>
                      <a:pt x="312" y="186"/>
                    </a:lnTo>
                    <a:lnTo>
                      <a:pt x="310" y="180"/>
                    </a:lnTo>
                    <a:lnTo>
                      <a:pt x="308" y="174"/>
                    </a:lnTo>
                    <a:lnTo>
                      <a:pt x="306" y="166"/>
                    </a:lnTo>
                    <a:lnTo>
                      <a:pt x="308" y="158"/>
                    </a:lnTo>
                    <a:lnTo>
                      <a:pt x="310" y="150"/>
                    </a:lnTo>
                    <a:lnTo>
                      <a:pt x="314" y="144"/>
                    </a:lnTo>
                    <a:lnTo>
                      <a:pt x="320" y="138"/>
                    </a:lnTo>
                    <a:lnTo>
                      <a:pt x="314" y="126"/>
                    </a:lnTo>
                    <a:lnTo>
                      <a:pt x="310" y="116"/>
                    </a:lnTo>
                    <a:lnTo>
                      <a:pt x="304" y="104"/>
                    </a:lnTo>
                    <a:lnTo>
                      <a:pt x="298" y="100"/>
                    </a:lnTo>
                    <a:lnTo>
                      <a:pt x="292" y="96"/>
                    </a:lnTo>
                    <a:lnTo>
                      <a:pt x="298" y="92"/>
                    </a:lnTo>
                    <a:lnTo>
                      <a:pt x="300" y="90"/>
                    </a:lnTo>
                    <a:lnTo>
                      <a:pt x="302" y="86"/>
                    </a:lnTo>
                    <a:lnTo>
                      <a:pt x="288" y="54"/>
                    </a:lnTo>
                    <a:lnTo>
                      <a:pt x="278" y="32"/>
                    </a:lnTo>
                    <a:lnTo>
                      <a:pt x="274" y="26"/>
                    </a:lnTo>
                    <a:lnTo>
                      <a:pt x="270" y="22"/>
                    </a:lnTo>
                    <a:lnTo>
                      <a:pt x="268" y="24"/>
                    </a:lnTo>
                    <a:lnTo>
                      <a:pt x="264" y="26"/>
                    </a:lnTo>
                    <a:lnTo>
                      <a:pt x="258" y="34"/>
                    </a:lnTo>
                    <a:lnTo>
                      <a:pt x="250" y="40"/>
                    </a:lnTo>
                    <a:lnTo>
                      <a:pt x="246" y="42"/>
                    </a:lnTo>
                    <a:lnTo>
                      <a:pt x="240" y="44"/>
                    </a:lnTo>
                    <a:lnTo>
                      <a:pt x="236" y="42"/>
                    </a:lnTo>
                    <a:lnTo>
                      <a:pt x="230" y="40"/>
                    </a:lnTo>
                    <a:lnTo>
                      <a:pt x="226" y="36"/>
                    </a:lnTo>
                    <a:lnTo>
                      <a:pt x="220" y="36"/>
                    </a:lnTo>
                    <a:lnTo>
                      <a:pt x="216" y="36"/>
                    </a:lnTo>
                    <a:lnTo>
                      <a:pt x="212" y="40"/>
                    </a:lnTo>
                    <a:lnTo>
                      <a:pt x="210" y="44"/>
                    </a:lnTo>
                    <a:lnTo>
                      <a:pt x="204" y="46"/>
                    </a:lnTo>
                    <a:lnTo>
                      <a:pt x="200" y="44"/>
                    </a:lnTo>
                    <a:lnTo>
                      <a:pt x="196" y="42"/>
                    </a:lnTo>
                    <a:lnTo>
                      <a:pt x="188" y="34"/>
                    </a:lnTo>
                    <a:lnTo>
                      <a:pt x="182" y="38"/>
                    </a:lnTo>
                    <a:lnTo>
                      <a:pt x="178" y="38"/>
                    </a:lnTo>
                    <a:lnTo>
                      <a:pt x="174" y="38"/>
                    </a:lnTo>
                    <a:lnTo>
                      <a:pt x="170" y="38"/>
                    </a:lnTo>
                    <a:lnTo>
                      <a:pt x="166" y="34"/>
                    </a:lnTo>
                    <a:lnTo>
                      <a:pt x="164" y="30"/>
                    </a:lnTo>
                    <a:lnTo>
                      <a:pt x="164" y="26"/>
                    </a:lnTo>
                    <a:lnTo>
                      <a:pt x="164" y="24"/>
                    </a:lnTo>
                    <a:lnTo>
                      <a:pt x="164" y="22"/>
                    </a:lnTo>
                    <a:lnTo>
                      <a:pt x="148" y="22"/>
                    </a:lnTo>
                    <a:lnTo>
                      <a:pt x="128" y="22"/>
                    </a:lnTo>
                    <a:lnTo>
                      <a:pt x="112" y="20"/>
                    </a:lnTo>
                    <a:lnTo>
                      <a:pt x="96" y="14"/>
                    </a:lnTo>
                    <a:lnTo>
                      <a:pt x="92" y="10"/>
                    </a:lnTo>
                    <a:lnTo>
                      <a:pt x="88" y="4"/>
                    </a:lnTo>
                    <a:lnTo>
                      <a:pt x="82" y="0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8" y="2"/>
                    </a:lnTo>
                    <a:lnTo>
                      <a:pt x="64" y="6"/>
                    </a:lnTo>
                    <a:lnTo>
                      <a:pt x="60" y="20"/>
                    </a:lnTo>
                    <a:lnTo>
                      <a:pt x="50" y="20"/>
                    </a:lnTo>
                    <a:lnTo>
                      <a:pt x="52" y="26"/>
                    </a:lnTo>
                    <a:lnTo>
                      <a:pt x="56" y="32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36" y="50"/>
                    </a:lnTo>
                    <a:lnTo>
                      <a:pt x="26" y="52"/>
                    </a:lnTo>
                    <a:lnTo>
                      <a:pt x="18" y="54"/>
                    </a:lnTo>
                    <a:lnTo>
                      <a:pt x="10" y="60"/>
                    </a:lnTo>
                    <a:lnTo>
                      <a:pt x="4" y="66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2" y="84"/>
                    </a:lnTo>
                    <a:lnTo>
                      <a:pt x="4" y="92"/>
                    </a:lnTo>
                    <a:lnTo>
                      <a:pt x="10" y="106"/>
                    </a:lnTo>
                    <a:lnTo>
                      <a:pt x="20" y="118"/>
                    </a:lnTo>
                    <a:lnTo>
                      <a:pt x="32" y="130"/>
                    </a:lnTo>
                    <a:lnTo>
                      <a:pt x="56" y="154"/>
                    </a:lnTo>
                    <a:lnTo>
                      <a:pt x="68" y="166"/>
                    </a:lnTo>
                    <a:lnTo>
                      <a:pt x="76" y="180"/>
                    </a:lnTo>
                    <a:lnTo>
                      <a:pt x="86" y="166"/>
                    </a:lnTo>
                    <a:lnTo>
                      <a:pt x="96" y="152"/>
                    </a:lnTo>
                    <a:lnTo>
                      <a:pt x="104" y="148"/>
                    </a:lnTo>
                    <a:lnTo>
                      <a:pt x="110" y="144"/>
                    </a:lnTo>
                    <a:lnTo>
                      <a:pt x="118" y="142"/>
                    </a:lnTo>
                    <a:lnTo>
                      <a:pt x="126" y="142"/>
                    </a:lnTo>
                    <a:lnTo>
                      <a:pt x="148" y="142"/>
                    </a:lnTo>
                    <a:lnTo>
                      <a:pt x="158" y="142"/>
                    </a:lnTo>
                    <a:lnTo>
                      <a:pt x="168" y="146"/>
                    </a:lnTo>
                    <a:lnTo>
                      <a:pt x="176" y="154"/>
                    </a:lnTo>
                    <a:lnTo>
                      <a:pt x="184" y="162"/>
                    </a:lnTo>
                    <a:lnTo>
                      <a:pt x="188" y="172"/>
                    </a:lnTo>
                    <a:lnTo>
                      <a:pt x="194" y="184"/>
                    </a:lnTo>
                    <a:lnTo>
                      <a:pt x="196" y="196"/>
                    </a:lnTo>
                    <a:lnTo>
                      <a:pt x="198" y="210"/>
                    </a:lnTo>
                    <a:lnTo>
                      <a:pt x="194" y="216"/>
                    </a:lnTo>
                    <a:lnTo>
                      <a:pt x="190" y="220"/>
                    </a:lnTo>
                    <a:lnTo>
                      <a:pt x="216" y="218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4" name="Freeform 39"/>
              <p:cNvSpPr>
                <a:spLocks/>
              </p:cNvSpPr>
              <p:nvPr/>
            </p:nvSpPr>
            <p:spPr bwMode="gray">
              <a:xfrm>
                <a:off x="2047875" y="2601120"/>
                <a:ext cx="196850" cy="112712"/>
              </a:xfrm>
              <a:custGeom>
                <a:avLst/>
                <a:gdLst>
                  <a:gd name="T0" fmla="*/ 2147483647 w 136"/>
                  <a:gd name="T1" fmla="*/ 2147483647 h 78"/>
                  <a:gd name="T2" fmla="*/ 2147483647 w 136"/>
                  <a:gd name="T3" fmla="*/ 2147483647 h 78"/>
                  <a:gd name="T4" fmla="*/ 2147483647 w 136"/>
                  <a:gd name="T5" fmla="*/ 2147483647 h 78"/>
                  <a:gd name="T6" fmla="*/ 2147483647 w 136"/>
                  <a:gd name="T7" fmla="*/ 2147483647 h 78"/>
                  <a:gd name="T8" fmla="*/ 2147483647 w 136"/>
                  <a:gd name="T9" fmla="*/ 2147483647 h 78"/>
                  <a:gd name="T10" fmla="*/ 2147483647 w 136"/>
                  <a:gd name="T11" fmla="*/ 2147483647 h 78"/>
                  <a:gd name="T12" fmla="*/ 2147483647 w 136"/>
                  <a:gd name="T13" fmla="*/ 2147483647 h 78"/>
                  <a:gd name="T14" fmla="*/ 2147483647 w 136"/>
                  <a:gd name="T15" fmla="*/ 2147483647 h 78"/>
                  <a:gd name="T16" fmla="*/ 2147483647 w 136"/>
                  <a:gd name="T17" fmla="*/ 2147483647 h 78"/>
                  <a:gd name="T18" fmla="*/ 2147483647 w 136"/>
                  <a:gd name="T19" fmla="*/ 2147483647 h 78"/>
                  <a:gd name="T20" fmla="*/ 2147483647 w 136"/>
                  <a:gd name="T21" fmla="*/ 2147483647 h 78"/>
                  <a:gd name="T22" fmla="*/ 2147483647 w 136"/>
                  <a:gd name="T23" fmla="*/ 2147483647 h 78"/>
                  <a:gd name="T24" fmla="*/ 2147483647 w 136"/>
                  <a:gd name="T25" fmla="*/ 2147483647 h 78"/>
                  <a:gd name="T26" fmla="*/ 2147483647 w 136"/>
                  <a:gd name="T27" fmla="*/ 2147483647 h 78"/>
                  <a:gd name="T28" fmla="*/ 2147483647 w 136"/>
                  <a:gd name="T29" fmla="*/ 2147483647 h 78"/>
                  <a:gd name="T30" fmla="*/ 2147483647 w 136"/>
                  <a:gd name="T31" fmla="*/ 2147483647 h 78"/>
                  <a:gd name="T32" fmla="*/ 2147483647 w 136"/>
                  <a:gd name="T33" fmla="*/ 2147483647 h 78"/>
                  <a:gd name="T34" fmla="*/ 2147483647 w 136"/>
                  <a:gd name="T35" fmla="*/ 2147483647 h 78"/>
                  <a:gd name="T36" fmla="*/ 2147483647 w 136"/>
                  <a:gd name="T37" fmla="*/ 2147483647 h 78"/>
                  <a:gd name="T38" fmla="*/ 2147483647 w 136"/>
                  <a:gd name="T39" fmla="*/ 2147483647 h 78"/>
                  <a:gd name="T40" fmla="*/ 2147483647 w 136"/>
                  <a:gd name="T41" fmla="*/ 2147483647 h 78"/>
                  <a:gd name="T42" fmla="*/ 2147483647 w 136"/>
                  <a:gd name="T43" fmla="*/ 2147483647 h 78"/>
                  <a:gd name="T44" fmla="*/ 2147483647 w 136"/>
                  <a:gd name="T45" fmla="*/ 2147483647 h 78"/>
                  <a:gd name="T46" fmla="*/ 2147483647 w 136"/>
                  <a:gd name="T47" fmla="*/ 2147483647 h 78"/>
                  <a:gd name="T48" fmla="*/ 2147483647 w 136"/>
                  <a:gd name="T49" fmla="*/ 2147483647 h 78"/>
                  <a:gd name="T50" fmla="*/ 2147483647 w 136"/>
                  <a:gd name="T51" fmla="*/ 2147483647 h 78"/>
                  <a:gd name="T52" fmla="*/ 2147483647 w 136"/>
                  <a:gd name="T53" fmla="*/ 2147483647 h 78"/>
                  <a:gd name="T54" fmla="*/ 2147483647 w 136"/>
                  <a:gd name="T55" fmla="*/ 2147483647 h 78"/>
                  <a:gd name="T56" fmla="*/ 2147483647 w 136"/>
                  <a:gd name="T57" fmla="*/ 2147483647 h 78"/>
                  <a:gd name="T58" fmla="*/ 2147483647 w 136"/>
                  <a:gd name="T59" fmla="*/ 2147483647 h 78"/>
                  <a:gd name="T60" fmla="*/ 2147483647 w 136"/>
                  <a:gd name="T61" fmla="*/ 2147483647 h 78"/>
                  <a:gd name="T62" fmla="*/ 2147483647 w 136"/>
                  <a:gd name="T63" fmla="*/ 2147483647 h 78"/>
                  <a:gd name="T64" fmla="*/ 2147483647 w 136"/>
                  <a:gd name="T65" fmla="*/ 2147483647 h 78"/>
                  <a:gd name="T66" fmla="*/ 0 w 136"/>
                  <a:gd name="T67" fmla="*/ 2147483647 h 78"/>
                  <a:gd name="T68" fmla="*/ 2147483647 w 136"/>
                  <a:gd name="T69" fmla="*/ 2147483647 h 78"/>
                  <a:gd name="T70" fmla="*/ 2147483647 w 136"/>
                  <a:gd name="T71" fmla="*/ 0 h 78"/>
                  <a:gd name="T72" fmla="*/ 2147483647 w 136"/>
                  <a:gd name="T73" fmla="*/ 0 h 78"/>
                  <a:gd name="T74" fmla="*/ 2147483647 w 136"/>
                  <a:gd name="T75" fmla="*/ 2147483647 h 78"/>
                  <a:gd name="T76" fmla="*/ 2147483647 w 136"/>
                  <a:gd name="T77" fmla="*/ 2147483647 h 7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36"/>
                  <a:gd name="T118" fmla="*/ 0 h 78"/>
                  <a:gd name="T119" fmla="*/ 136 w 136"/>
                  <a:gd name="T120" fmla="*/ 78 h 78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36" h="78">
                    <a:moveTo>
                      <a:pt x="136" y="4"/>
                    </a:moveTo>
                    <a:lnTo>
                      <a:pt x="134" y="4"/>
                    </a:lnTo>
                    <a:lnTo>
                      <a:pt x="132" y="6"/>
                    </a:lnTo>
                    <a:lnTo>
                      <a:pt x="128" y="10"/>
                    </a:lnTo>
                    <a:lnTo>
                      <a:pt x="124" y="24"/>
                    </a:lnTo>
                    <a:lnTo>
                      <a:pt x="114" y="24"/>
                    </a:lnTo>
                    <a:lnTo>
                      <a:pt x="116" y="30"/>
                    </a:lnTo>
                    <a:lnTo>
                      <a:pt x="120" y="36"/>
                    </a:lnTo>
                    <a:lnTo>
                      <a:pt x="122" y="40"/>
                    </a:lnTo>
                    <a:lnTo>
                      <a:pt x="124" y="46"/>
                    </a:lnTo>
                    <a:lnTo>
                      <a:pt x="124" y="50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00" y="54"/>
                    </a:lnTo>
                    <a:lnTo>
                      <a:pt x="90" y="56"/>
                    </a:lnTo>
                    <a:lnTo>
                      <a:pt x="82" y="58"/>
                    </a:lnTo>
                    <a:lnTo>
                      <a:pt x="74" y="64"/>
                    </a:lnTo>
                    <a:lnTo>
                      <a:pt x="68" y="70"/>
                    </a:lnTo>
                    <a:lnTo>
                      <a:pt x="66" y="74"/>
                    </a:lnTo>
                    <a:lnTo>
                      <a:pt x="64" y="78"/>
                    </a:lnTo>
                    <a:lnTo>
                      <a:pt x="58" y="78"/>
                    </a:lnTo>
                    <a:lnTo>
                      <a:pt x="50" y="74"/>
                    </a:lnTo>
                    <a:lnTo>
                      <a:pt x="46" y="70"/>
                    </a:lnTo>
                    <a:lnTo>
                      <a:pt x="44" y="62"/>
                    </a:lnTo>
                    <a:lnTo>
                      <a:pt x="42" y="52"/>
                    </a:lnTo>
                    <a:lnTo>
                      <a:pt x="42" y="44"/>
                    </a:lnTo>
                    <a:lnTo>
                      <a:pt x="44" y="38"/>
                    </a:lnTo>
                    <a:lnTo>
                      <a:pt x="24" y="38"/>
                    </a:lnTo>
                    <a:lnTo>
                      <a:pt x="18" y="36"/>
                    </a:lnTo>
                    <a:lnTo>
                      <a:pt x="14" y="34"/>
                    </a:lnTo>
                    <a:lnTo>
                      <a:pt x="8" y="28"/>
                    </a:lnTo>
                    <a:lnTo>
                      <a:pt x="4" y="20"/>
                    </a:lnTo>
                    <a:lnTo>
                      <a:pt x="0" y="14"/>
                    </a:lnTo>
                    <a:lnTo>
                      <a:pt x="34" y="4"/>
                    </a:lnTo>
                    <a:lnTo>
                      <a:pt x="52" y="0"/>
                    </a:lnTo>
                    <a:lnTo>
                      <a:pt x="70" y="0"/>
                    </a:lnTo>
                    <a:lnTo>
                      <a:pt x="134" y="4"/>
                    </a:lnTo>
                    <a:lnTo>
                      <a:pt x="136" y="4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5" name="Freeform 41"/>
              <p:cNvSpPr>
                <a:spLocks/>
              </p:cNvSpPr>
              <p:nvPr/>
            </p:nvSpPr>
            <p:spPr bwMode="gray">
              <a:xfrm>
                <a:off x="2036763" y="2516982"/>
                <a:ext cx="193675" cy="49213"/>
              </a:xfrm>
              <a:custGeom>
                <a:avLst/>
                <a:gdLst>
                  <a:gd name="T0" fmla="*/ 2147483647 w 134"/>
                  <a:gd name="T1" fmla="*/ 2147483647 h 34"/>
                  <a:gd name="T2" fmla="*/ 0 w 134"/>
                  <a:gd name="T3" fmla="*/ 2147483647 h 34"/>
                  <a:gd name="T4" fmla="*/ 0 w 134"/>
                  <a:gd name="T5" fmla="*/ 2147483647 h 34"/>
                  <a:gd name="T6" fmla="*/ 2147483647 w 134"/>
                  <a:gd name="T7" fmla="*/ 2147483647 h 34"/>
                  <a:gd name="T8" fmla="*/ 2147483647 w 134"/>
                  <a:gd name="T9" fmla="*/ 2147483647 h 34"/>
                  <a:gd name="T10" fmla="*/ 2147483647 w 134"/>
                  <a:gd name="T11" fmla="*/ 2147483647 h 34"/>
                  <a:gd name="T12" fmla="*/ 2147483647 w 134"/>
                  <a:gd name="T13" fmla="*/ 2147483647 h 34"/>
                  <a:gd name="T14" fmla="*/ 2147483647 w 134"/>
                  <a:gd name="T15" fmla="*/ 2147483647 h 34"/>
                  <a:gd name="T16" fmla="*/ 2147483647 w 134"/>
                  <a:gd name="T17" fmla="*/ 2147483647 h 34"/>
                  <a:gd name="T18" fmla="*/ 2147483647 w 134"/>
                  <a:gd name="T19" fmla="*/ 2147483647 h 34"/>
                  <a:gd name="T20" fmla="*/ 2147483647 w 134"/>
                  <a:gd name="T21" fmla="*/ 2147483647 h 34"/>
                  <a:gd name="T22" fmla="*/ 2147483647 w 134"/>
                  <a:gd name="T23" fmla="*/ 2147483647 h 34"/>
                  <a:gd name="T24" fmla="*/ 2147483647 w 134"/>
                  <a:gd name="T25" fmla="*/ 2147483647 h 34"/>
                  <a:gd name="T26" fmla="*/ 2147483647 w 134"/>
                  <a:gd name="T27" fmla="*/ 2147483647 h 34"/>
                  <a:gd name="T28" fmla="*/ 2147483647 w 134"/>
                  <a:gd name="T29" fmla="*/ 2147483647 h 34"/>
                  <a:gd name="T30" fmla="*/ 2147483647 w 134"/>
                  <a:gd name="T31" fmla="*/ 2147483647 h 34"/>
                  <a:gd name="T32" fmla="*/ 2147483647 w 134"/>
                  <a:gd name="T33" fmla="*/ 2147483647 h 34"/>
                  <a:gd name="T34" fmla="*/ 2147483647 w 134"/>
                  <a:gd name="T35" fmla="*/ 2147483647 h 34"/>
                  <a:gd name="T36" fmla="*/ 2147483647 w 134"/>
                  <a:gd name="T37" fmla="*/ 2147483647 h 34"/>
                  <a:gd name="T38" fmla="*/ 2147483647 w 134"/>
                  <a:gd name="T39" fmla="*/ 2147483647 h 34"/>
                  <a:gd name="T40" fmla="*/ 2147483647 w 134"/>
                  <a:gd name="T41" fmla="*/ 2147483647 h 34"/>
                  <a:gd name="T42" fmla="*/ 2147483647 w 134"/>
                  <a:gd name="T43" fmla="*/ 2147483647 h 34"/>
                  <a:gd name="T44" fmla="*/ 2147483647 w 134"/>
                  <a:gd name="T45" fmla="*/ 2147483647 h 34"/>
                  <a:gd name="T46" fmla="*/ 2147483647 w 134"/>
                  <a:gd name="T47" fmla="*/ 2147483647 h 34"/>
                  <a:gd name="T48" fmla="*/ 2147483647 w 134"/>
                  <a:gd name="T49" fmla="*/ 2147483647 h 34"/>
                  <a:gd name="T50" fmla="*/ 2147483647 w 134"/>
                  <a:gd name="T51" fmla="*/ 2147483647 h 34"/>
                  <a:gd name="T52" fmla="*/ 2147483647 w 134"/>
                  <a:gd name="T53" fmla="*/ 0 h 34"/>
                  <a:gd name="T54" fmla="*/ 2147483647 w 134"/>
                  <a:gd name="T55" fmla="*/ 0 h 34"/>
                  <a:gd name="T56" fmla="*/ 2147483647 w 134"/>
                  <a:gd name="T57" fmla="*/ 2147483647 h 34"/>
                  <a:gd name="T58" fmla="*/ 2147483647 w 134"/>
                  <a:gd name="T59" fmla="*/ 2147483647 h 34"/>
                  <a:gd name="T60" fmla="*/ 2147483647 w 134"/>
                  <a:gd name="T61" fmla="*/ 2147483647 h 34"/>
                  <a:gd name="T62" fmla="*/ 2147483647 w 134"/>
                  <a:gd name="T63" fmla="*/ 2147483647 h 34"/>
                  <a:gd name="T64" fmla="*/ 2147483647 w 134"/>
                  <a:gd name="T65" fmla="*/ 2147483647 h 34"/>
                  <a:gd name="T66" fmla="*/ 2147483647 w 134"/>
                  <a:gd name="T67" fmla="*/ 2147483647 h 3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34"/>
                  <a:gd name="T103" fmla="*/ 0 h 34"/>
                  <a:gd name="T104" fmla="*/ 134 w 134"/>
                  <a:gd name="T105" fmla="*/ 34 h 3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34" h="34">
                    <a:moveTo>
                      <a:pt x="4" y="10"/>
                    </a:moveTo>
                    <a:lnTo>
                      <a:pt x="0" y="20"/>
                    </a:lnTo>
                    <a:lnTo>
                      <a:pt x="0" y="28"/>
                    </a:lnTo>
                    <a:lnTo>
                      <a:pt x="16" y="28"/>
                    </a:lnTo>
                    <a:lnTo>
                      <a:pt x="22" y="34"/>
                    </a:lnTo>
                    <a:lnTo>
                      <a:pt x="30" y="34"/>
                    </a:lnTo>
                    <a:lnTo>
                      <a:pt x="36" y="34"/>
                    </a:lnTo>
                    <a:lnTo>
                      <a:pt x="42" y="32"/>
                    </a:lnTo>
                    <a:lnTo>
                      <a:pt x="52" y="26"/>
                    </a:lnTo>
                    <a:lnTo>
                      <a:pt x="62" y="20"/>
                    </a:lnTo>
                    <a:lnTo>
                      <a:pt x="68" y="18"/>
                    </a:lnTo>
                    <a:lnTo>
                      <a:pt x="74" y="18"/>
                    </a:lnTo>
                    <a:lnTo>
                      <a:pt x="84" y="20"/>
                    </a:lnTo>
                    <a:lnTo>
                      <a:pt x="92" y="26"/>
                    </a:lnTo>
                    <a:lnTo>
                      <a:pt x="102" y="32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26" y="34"/>
                    </a:lnTo>
                    <a:lnTo>
                      <a:pt x="134" y="34"/>
                    </a:lnTo>
                    <a:lnTo>
                      <a:pt x="134" y="22"/>
                    </a:lnTo>
                    <a:lnTo>
                      <a:pt x="128" y="18"/>
                    </a:lnTo>
                    <a:lnTo>
                      <a:pt x="124" y="16"/>
                    </a:lnTo>
                    <a:lnTo>
                      <a:pt x="108" y="16"/>
                    </a:lnTo>
                    <a:lnTo>
                      <a:pt x="102" y="14"/>
                    </a:lnTo>
                    <a:lnTo>
                      <a:pt x="96" y="8"/>
                    </a:lnTo>
                    <a:lnTo>
                      <a:pt x="86" y="2"/>
                    </a:lnTo>
                    <a:lnTo>
                      <a:pt x="80" y="0"/>
                    </a:lnTo>
                    <a:lnTo>
                      <a:pt x="74" y="0"/>
                    </a:lnTo>
                    <a:lnTo>
                      <a:pt x="62" y="2"/>
                    </a:lnTo>
                    <a:lnTo>
                      <a:pt x="48" y="6"/>
                    </a:lnTo>
                    <a:lnTo>
                      <a:pt x="34" y="10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4" y="10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6" name="Freeform 42"/>
              <p:cNvSpPr>
                <a:spLocks/>
              </p:cNvSpPr>
              <p:nvPr/>
            </p:nvSpPr>
            <p:spPr bwMode="gray">
              <a:xfrm>
                <a:off x="2771775" y="2475707"/>
                <a:ext cx="547688" cy="392113"/>
              </a:xfrm>
              <a:custGeom>
                <a:avLst/>
                <a:gdLst>
                  <a:gd name="T0" fmla="*/ 2147483647 w 378"/>
                  <a:gd name="T1" fmla="*/ 2147483647 h 270"/>
                  <a:gd name="T2" fmla="*/ 2147483647 w 378"/>
                  <a:gd name="T3" fmla="*/ 2147483647 h 270"/>
                  <a:gd name="T4" fmla="*/ 2147483647 w 378"/>
                  <a:gd name="T5" fmla="*/ 2147483647 h 270"/>
                  <a:gd name="T6" fmla="*/ 2147483647 w 378"/>
                  <a:gd name="T7" fmla="*/ 2147483647 h 270"/>
                  <a:gd name="T8" fmla="*/ 2147483647 w 378"/>
                  <a:gd name="T9" fmla="*/ 2147483647 h 270"/>
                  <a:gd name="T10" fmla="*/ 2147483647 w 378"/>
                  <a:gd name="T11" fmla="*/ 2147483647 h 270"/>
                  <a:gd name="T12" fmla="*/ 2147483647 w 378"/>
                  <a:gd name="T13" fmla="*/ 2147483647 h 270"/>
                  <a:gd name="T14" fmla="*/ 2147483647 w 378"/>
                  <a:gd name="T15" fmla="*/ 2147483647 h 270"/>
                  <a:gd name="T16" fmla="*/ 2147483647 w 378"/>
                  <a:gd name="T17" fmla="*/ 2147483647 h 270"/>
                  <a:gd name="T18" fmla="*/ 2147483647 w 378"/>
                  <a:gd name="T19" fmla="*/ 0 h 270"/>
                  <a:gd name="T20" fmla="*/ 2147483647 w 378"/>
                  <a:gd name="T21" fmla="*/ 2147483647 h 270"/>
                  <a:gd name="T22" fmla="*/ 2147483647 w 378"/>
                  <a:gd name="T23" fmla="*/ 2147483647 h 270"/>
                  <a:gd name="T24" fmla="*/ 2147483647 w 378"/>
                  <a:gd name="T25" fmla="*/ 2147483647 h 270"/>
                  <a:gd name="T26" fmla="*/ 2147483647 w 378"/>
                  <a:gd name="T27" fmla="*/ 2147483647 h 270"/>
                  <a:gd name="T28" fmla="*/ 2147483647 w 378"/>
                  <a:gd name="T29" fmla="*/ 2147483647 h 270"/>
                  <a:gd name="T30" fmla="*/ 2147483647 w 378"/>
                  <a:gd name="T31" fmla="*/ 2147483647 h 270"/>
                  <a:gd name="T32" fmla="*/ 2147483647 w 378"/>
                  <a:gd name="T33" fmla="*/ 2147483647 h 270"/>
                  <a:gd name="T34" fmla="*/ 2147483647 w 378"/>
                  <a:gd name="T35" fmla="*/ 2147483647 h 270"/>
                  <a:gd name="T36" fmla="*/ 2147483647 w 378"/>
                  <a:gd name="T37" fmla="*/ 2147483647 h 270"/>
                  <a:gd name="T38" fmla="*/ 2147483647 w 378"/>
                  <a:gd name="T39" fmla="*/ 2147483647 h 270"/>
                  <a:gd name="T40" fmla="*/ 2147483647 w 378"/>
                  <a:gd name="T41" fmla="*/ 2147483647 h 270"/>
                  <a:gd name="T42" fmla="*/ 2147483647 w 378"/>
                  <a:gd name="T43" fmla="*/ 2147483647 h 270"/>
                  <a:gd name="T44" fmla="*/ 2147483647 w 378"/>
                  <a:gd name="T45" fmla="*/ 2147483647 h 270"/>
                  <a:gd name="T46" fmla="*/ 2147483647 w 378"/>
                  <a:gd name="T47" fmla="*/ 2147483647 h 270"/>
                  <a:gd name="T48" fmla="*/ 2147483647 w 378"/>
                  <a:gd name="T49" fmla="*/ 2147483647 h 270"/>
                  <a:gd name="T50" fmla="*/ 0 w 378"/>
                  <a:gd name="T51" fmla="*/ 2147483647 h 270"/>
                  <a:gd name="T52" fmla="*/ 2147483647 w 378"/>
                  <a:gd name="T53" fmla="*/ 2147483647 h 270"/>
                  <a:gd name="T54" fmla="*/ 2147483647 w 378"/>
                  <a:gd name="T55" fmla="*/ 2147483647 h 270"/>
                  <a:gd name="T56" fmla="*/ 2147483647 w 378"/>
                  <a:gd name="T57" fmla="*/ 2147483647 h 270"/>
                  <a:gd name="T58" fmla="*/ 2147483647 w 378"/>
                  <a:gd name="T59" fmla="*/ 2147483647 h 270"/>
                  <a:gd name="T60" fmla="*/ 2147483647 w 378"/>
                  <a:gd name="T61" fmla="*/ 2147483647 h 270"/>
                  <a:gd name="T62" fmla="*/ 2147483647 w 378"/>
                  <a:gd name="T63" fmla="*/ 2147483647 h 270"/>
                  <a:gd name="T64" fmla="*/ 2147483647 w 378"/>
                  <a:gd name="T65" fmla="*/ 2147483647 h 270"/>
                  <a:gd name="T66" fmla="*/ 2147483647 w 378"/>
                  <a:gd name="T67" fmla="*/ 2147483647 h 270"/>
                  <a:gd name="T68" fmla="*/ 2147483647 w 378"/>
                  <a:gd name="T69" fmla="*/ 2147483647 h 270"/>
                  <a:gd name="T70" fmla="*/ 2147483647 w 378"/>
                  <a:gd name="T71" fmla="*/ 2147483647 h 270"/>
                  <a:gd name="T72" fmla="*/ 2147483647 w 378"/>
                  <a:gd name="T73" fmla="*/ 2147483647 h 270"/>
                  <a:gd name="T74" fmla="*/ 2147483647 w 378"/>
                  <a:gd name="T75" fmla="*/ 2147483647 h 270"/>
                  <a:gd name="T76" fmla="*/ 2147483647 w 378"/>
                  <a:gd name="T77" fmla="*/ 2147483647 h 270"/>
                  <a:gd name="T78" fmla="*/ 2147483647 w 378"/>
                  <a:gd name="T79" fmla="*/ 2147483647 h 270"/>
                  <a:gd name="T80" fmla="*/ 2147483647 w 378"/>
                  <a:gd name="T81" fmla="*/ 2147483647 h 270"/>
                  <a:gd name="T82" fmla="*/ 2147483647 w 378"/>
                  <a:gd name="T83" fmla="*/ 2147483647 h 270"/>
                  <a:gd name="T84" fmla="*/ 2147483647 w 378"/>
                  <a:gd name="T85" fmla="*/ 2147483647 h 270"/>
                  <a:gd name="T86" fmla="*/ 2147483647 w 378"/>
                  <a:gd name="T87" fmla="*/ 2147483647 h 27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78"/>
                  <a:gd name="T133" fmla="*/ 0 h 270"/>
                  <a:gd name="T134" fmla="*/ 378 w 378"/>
                  <a:gd name="T135" fmla="*/ 270 h 27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78" h="270">
                    <a:moveTo>
                      <a:pt x="372" y="152"/>
                    </a:moveTo>
                    <a:lnTo>
                      <a:pt x="366" y="150"/>
                    </a:lnTo>
                    <a:lnTo>
                      <a:pt x="364" y="146"/>
                    </a:lnTo>
                    <a:lnTo>
                      <a:pt x="362" y="142"/>
                    </a:lnTo>
                    <a:lnTo>
                      <a:pt x="360" y="134"/>
                    </a:lnTo>
                    <a:lnTo>
                      <a:pt x="364" y="136"/>
                    </a:lnTo>
                    <a:lnTo>
                      <a:pt x="372" y="134"/>
                    </a:lnTo>
                    <a:lnTo>
                      <a:pt x="370" y="128"/>
                    </a:lnTo>
                    <a:lnTo>
                      <a:pt x="368" y="124"/>
                    </a:lnTo>
                    <a:lnTo>
                      <a:pt x="364" y="120"/>
                    </a:lnTo>
                    <a:lnTo>
                      <a:pt x="358" y="118"/>
                    </a:lnTo>
                    <a:lnTo>
                      <a:pt x="354" y="118"/>
                    </a:lnTo>
                    <a:lnTo>
                      <a:pt x="350" y="120"/>
                    </a:lnTo>
                    <a:lnTo>
                      <a:pt x="348" y="122"/>
                    </a:lnTo>
                    <a:lnTo>
                      <a:pt x="344" y="124"/>
                    </a:lnTo>
                    <a:lnTo>
                      <a:pt x="336" y="120"/>
                    </a:lnTo>
                    <a:lnTo>
                      <a:pt x="328" y="114"/>
                    </a:lnTo>
                    <a:lnTo>
                      <a:pt x="318" y="106"/>
                    </a:lnTo>
                    <a:lnTo>
                      <a:pt x="314" y="100"/>
                    </a:lnTo>
                    <a:lnTo>
                      <a:pt x="328" y="92"/>
                    </a:lnTo>
                    <a:lnTo>
                      <a:pt x="314" y="78"/>
                    </a:lnTo>
                    <a:lnTo>
                      <a:pt x="296" y="58"/>
                    </a:lnTo>
                    <a:lnTo>
                      <a:pt x="288" y="48"/>
                    </a:lnTo>
                    <a:lnTo>
                      <a:pt x="282" y="36"/>
                    </a:lnTo>
                    <a:lnTo>
                      <a:pt x="280" y="24"/>
                    </a:lnTo>
                    <a:lnTo>
                      <a:pt x="282" y="10"/>
                    </a:lnTo>
                    <a:lnTo>
                      <a:pt x="272" y="8"/>
                    </a:lnTo>
                    <a:lnTo>
                      <a:pt x="264" y="4"/>
                    </a:lnTo>
                    <a:lnTo>
                      <a:pt x="254" y="2"/>
                    </a:lnTo>
                    <a:lnTo>
                      <a:pt x="244" y="0"/>
                    </a:lnTo>
                    <a:lnTo>
                      <a:pt x="236" y="2"/>
                    </a:lnTo>
                    <a:lnTo>
                      <a:pt x="226" y="4"/>
                    </a:lnTo>
                    <a:lnTo>
                      <a:pt x="210" y="12"/>
                    </a:lnTo>
                    <a:lnTo>
                      <a:pt x="196" y="22"/>
                    </a:lnTo>
                    <a:lnTo>
                      <a:pt x="180" y="30"/>
                    </a:lnTo>
                    <a:lnTo>
                      <a:pt x="178" y="32"/>
                    </a:lnTo>
                    <a:lnTo>
                      <a:pt x="176" y="36"/>
                    </a:lnTo>
                    <a:lnTo>
                      <a:pt x="172" y="40"/>
                    </a:lnTo>
                    <a:lnTo>
                      <a:pt x="168" y="42"/>
                    </a:lnTo>
                    <a:lnTo>
                      <a:pt x="164" y="42"/>
                    </a:lnTo>
                    <a:lnTo>
                      <a:pt x="162" y="40"/>
                    </a:lnTo>
                    <a:lnTo>
                      <a:pt x="158" y="38"/>
                    </a:lnTo>
                    <a:lnTo>
                      <a:pt x="156" y="36"/>
                    </a:lnTo>
                    <a:lnTo>
                      <a:pt x="150" y="38"/>
                    </a:lnTo>
                    <a:lnTo>
                      <a:pt x="146" y="40"/>
                    </a:lnTo>
                    <a:lnTo>
                      <a:pt x="140" y="50"/>
                    </a:lnTo>
                    <a:lnTo>
                      <a:pt x="134" y="60"/>
                    </a:lnTo>
                    <a:lnTo>
                      <a:pt x="130" y="64"/>
                    </a:lnTo>
                    <a:lnTo>
                      <a:pt x="12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0" y="68"/>
                    </a:lnTo>
                    <a:lnTo>
                      <a:pt x="110" y="72"/>
                    </a:lnTo>
                    <a:lnTo>
                      <a:pt x="110" y="76"/>
                    </a:lnTo>
                    <a:lnTo>
                      <a:pt x="108" y="82"/>
                    </a:lnTo>
                    <a:lnTo>
                      <a:pt x="106" y="86"/>
                    </a:lnTo>
                    <a:lnTo>
                      <a:pt x="100" y="88"/>
                    </a:lnTo>
                    <a:lnTo>
                      <a:pt x="94" y="86"/>
                    </a:lnTo>
                    <a:lnTo>
                      <a:pt x="90" y="82"/>
                    </a:lnTo>
                    <a:lnTo>
                      <a:pt x="86" y="78"/>
                    </a:lnTo>
                    <a:lnTo>
                      <a:pt x="80" y="76"/>
                    </a:lnTo>
                    <a:lnTo>
                      <a:pt x="74" y="78"/>
                    </a:lnTo>
                    <a:lnTo>
                      <a:pt x="68" y="82"/>
                    </a:lnTo>
                    <a:lnTo>
                      <a:pt x="64" y="86"/>
                    </a:lnTo>
                    <a:lnTo>
                      <a:pt x="62" y="90"/>
                    </a:lnTo>
                    <a:lnTo>
                      <a:pt x="64" y="96"/>
                    </a:lnTo>
                    <a:lnTo>
                      <a:pt x="68" y="100"/>
                    </a:lnTo>
                    <a:lnTo>
                      <a:pt x="46" y="142"/>
                    </a:lnTo>
                    <a:lnTo>
                      <a:pt x="36" y="144"/>
                    </a:lnTo>
                    <a:lnTo>
                      <a:pt x="26" y="146"/>
                    </a:lnTo>
                    <a:lnTo>
                      <a:pt x="18" y="148"/>
                    </a:lnTo>
                    <a:lnTo>
                      <a:pt x="16" y="152"/>
                    </a:lnTo>
                    <a:lnTo>
                      <a:pt x="14" y="156"/>
                    </a:lnTo>
                    <a:lnTo>
                      <a:pt x="14" y="168"/>
                    </a:lnTo>
                    <a:lnTo>
                      <a:pt x="12" y="176"/>
                    </a:lnTo>
                    <a:lnTo>
                      <a:pt x="8" y="182"/>
                    </a:lnTo>
                    <a:lnTo>
                      <a:pt x="4" y="188"/>
                    </a:lnTo>
                    <a:lnTo>
                      <a:pt x="0" y="196"/>
                    </a:lnTo>
                    <a:lnTo>
                      <a:pt x="0" y="202"/>
                    </a:lnTo>
                    <a:lnTo>
                      <a:pt x="2" y="206"/>
                    </a:lnTo>
                    <a:lnTo>
                      <a:pt x="4" y="212"/>
                    </a:lnTo>
                    <a:lnTo>
                      <a:pt x="2" y="220"/>
                    </a:lnTo>
                    <a:lnTo>
                      <a:pt x="10" y="222"/>
                    </a:lnTo>
                    <a:lnTo>
                      <a:pt x="16" y="226"/>
                    </a:lnTo>
                    <a:lnTo>
                      <a:pt x="22" y="232"/>
                    </a:lnTo>
                    <a:lnTo>
                      <a:pt x="26" y="238"/>
                    </a:lnTo>
                    <a:lnTo>
                      <a:pt x="30" y="244"/>
                    </a:lnTo>
                    <a:lnTo>
                      <a:pt x="34" y="250"/>
                    </a:lnTo>
                    <a:lnTo>
                      <a:pt x="42" y="254"/>
                    </a:lnTo>
                    <a:lnTo>
                      <a:pt x="50" y="254"/>
                    </a:lnTo>
                    <a:lnTo>
                      <a:pt x="62" y="254"/>
                    </a:lnTo>
                    <a:lnTo>
                      <a:pt x="70" y="250"/>
                    </a:lnTo>
                    <a:lnTo>
                      <a:pt x="78" y="246"/>
                    </a:lnTo>
                    <a:lnTo>
                      <a:pt x="88" y="246"/>
                    </a:lnTo>
                    <a:lnTo>
                      <a:pt x="96" y="246"/>
                    </a:lnTo>
                    <a:lnTo>
                      <a:pt x="102" y="248"/>
                    </a:lnTo>
                    <a:lnTo>
                      <a:pt x="110" y="254"/>
                    </a:lnTo>
                    <a:lnTo>
                      <a:pt x="118" y="264"/>
                    </a:lnTo>
                    <a:lnTo>
                      <a:pt x="124" y="270"/>
                    </a:lnTo>
                    <a:lnTo>
                      <a:pt x="122" y="256"/>
                    </a:lnTo>
                    <a:lnTo>
                      <a:pt x="122" y="216"/>
                    </a:lnTo>
                    <a:lnTo>
                      <a:pt x="124" y="206"/>
                    </a:lnTo>
                    <a:lnTo>
                      <a:pt x="128" y="200"/>
                    </a:lnTo>
                    <a:lnTo>
                      <a:pt x="134" y="196"/>
                    </a:lnTo>
                    <a:lnTo>
                      <a:pt x="140" y="194"/>
                    </a:lnTo>
                    <a:lnTo>
                      <a:pt x="202" y="202"/>
                    </a:lnTo>
                    <a:lnTo>
                      <a:pt x="214" y="202"/>
                    </a:lnTo>
                    <a:lnTo>
                      <a:pt x="222" y="204"/>
                    </a:lnTo>
                    <a:lnTo>
                      <a:pt x="238" y="206"/>
                    </a:lnTo>
                    <a:lnTo>
                      <a:pt x="246" y="200"/>
                    </a:lnTo>
                    <a:lnTo>
                      <a:pt x="248" y="198"/>
                    </a:lnTo>
                    <a:lnTo>
                      <a:pt x="252" y="198"/>
                    </a:lnTo>
                    <a:lnTo>
                      <a:pt x="256" y="200"/>
                    </a:lnTo>
                    <a:lnTo>
                      <a:pt x="262" y="202"/>
                    </a:lnTo>
                    <a:lnTo>
                      <a:pt x="260" y="200"/>
                    </a:lnTo>
                    <a:lnTo>
                      <a:pt x="262" y="196"/>
                    </a:lnTo>
                    <a:lnTo>
                      <a:pt x="266" y="196"/>
                    </a:lnTo>
                    <a:lnTo>
                      <a:pt x="276" y="196"/>
                    </a:lnTo>
                    <a:lnTo>
                      <a:pt x="284" y="200"/>
                    </a:lnTo>
                    <a:lnTo>
                      <a:pt x="292" y="204"/>
                    </a:lnTo>
                    <a:lnTo>
                      <a:pt x="302" y="206"/>
                    </a:lnTo>
                    <a:lnTo>
                      <a:pt x="304" y="200"/>
                    </a:lnTo>
                    <a:lnTo>
                      <a:pt x="308" y="194"/>
                    </a:lnTo>
                    <a:lnTo>
                      <a:pt x="318" y="186"/>
                    </a:lnTo>
                    <a:lnTo>
                      <a:pt x="330" y="182"/>
                    </a:lnTo>
                    <a:lnTo>
                      <a:pt x="344" y="180"/>
                    </a:lnTo>
                    <a:lnTo>
                      <a:pt x="352" y="180"/>
                    </a:lnTo>
                    <a:lnTo>
                      <a:pt x="356" y="178"/>
                    </a:lnTo>
                    <a:lnTo>
                      <a:pt x="362" y="174"/>
                    </a:lnTo>
                    <a:lnTo>
                      <a:pt x="366" y="170"/>
                    </a:lnTo>
                    <a:lnTo>
                      <a:pt x="370" y="160"/>
                    </a:lnTo>
                    <a:lnTo>
                      <a:pt x="372" y="150"/>
                    </a:lnTo>
                    <a:lnTo>
                      <a:pt x="378" y="144"/>
                    </a:lnTo>
                    <a:lnTo>
                      <a:pt x="372" y="152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7" name="Freeform 44"/>
              <p:cNvSpPr>
                <a:spLocks/>
              </p:cNvSpPr>
              <p:nvPr/>
            </p:nvSpPr>
            <p:spPr bwMode="gray">
              <a:xfrm>
                <a:off x="4081463" y="1908970"/>
                <a:ext cx="728662" cy="1131887"/>
              </a:xfrm>
              <a:custGeom>
                <a:avLst/>
                <a:gdLst>
                  <a:gd name="T0" fmla="*/ 2147483647 w 503"/>
                  <a:gd name="T1" fmla="*/ 2147483647 h 782"/>
                  <a:gd name="T2" fmla="*/ 2147483647 w 503"/>
                  <a:gd name="T3" fmla="*/ 2147483647 h 782"/>
                  <a:gd name="T4" fmla="*/ 2147483647 w 503"/>
                  <a:gd name="T5" fmla="*/ 2147483647 h 782"/>
                  <a:gd name="T6" fmla="*/ 2147483647 w 503"/>
                  <a:gd name="T7" fmla="*/ 2147483647 h 782"/>
                  <a:gd name="T8" fmla="*/ 2147483647 w 503"/>
                  <a:gd name="T9" fmla="*/ 2147483647 h 782"/>
                  <a:gd name="T10" fmla="*/ 0 w 503"/>
                  <a:gd name="T11" fmla="*/ 2147483647 h 782"/>
                  <a:gd name="T12" fmla="*/ 2147483647 w 503"/>
                  <a:gd name="T13" fmla="*/ 2147483647 h 782"/>
                  <a:gd name="T14" fmla="*/ 2147483647 w 503"/>
                  <a:gd name="T15" fmla="*/ 2147483647 h 782"/>
                  <a:gd name="T16" fmla="*/ 2147483647 w 503"/>
                  <a:gd name="T17" fmla="*/ 2147483647 h 782"/>
                  <a:gd name="T18" fmla="*/ 2147483647 w 503"/>
                  <a:gd name="T19" fmla="*/ 2147483647 h 782"/>
                  <a:gd name="T20" fmla="*/ 2147483647 w 503"/>
                  <a:gd name="T21" fmla="*/ 2147483647 h 782"/>
                  <a:gd name="T22" fmla="*/ 2147483647 w 503"/>
                  <a:gd name="T23" fmla="*/ 2147483647 h 782"/>
                  <a:gd name="T24" fmla="*/ 2147483647 w 503"/>
                  <a:gd name="T25" fmla="*/ 2147483647 h 782"/>
                  <a:gd name="T26" fmla="*/ 2147483647 w 503"/>
                  <a:gd name="T27" fmla="*/ 2147483647 h 782"/>
                  <a:gd name="T28" fmla="*/ 2147483647 w 503"/>
                  <a:gd name="T29" fmla="*/ 2147483647 h 782"/>
                  <a:gd name="T30" fmla="*/ 2147483647 w 503"/>
                  <a:gd name="T31" fmla="*/ 2147483647 h 782"/>
                  <a:gd name="T32" fmla="*/ 2147483647 w 503"/>
                  <a:gd name="T33" fmla="*/ 2147483647 h 782"/>
                  <a:gd name="T34" fmla="*/ 2147483647 w 503"/>
                  <a:gd name="T35" fmla="*/ 2147483647 h 782"/>
                  <a:gd name="T36" fmla="*/ 2147483647 w 503"/>
                  <a:gd name="T37" fmla="*/ 2147483647 h 782"/>
                  <a:gd name="T38" fmla="*/ 2147483647 w 503"/>
                  <a:gd name="T39" fmla="*/ 2147483647 h 782"/>
                  <a:gd name="T40" fmla="*/ 2147483647 w 503"/>
                  <a:gd name="T41" fmla="*/ 2147483647 h 782"/>
                  <a:gd name="T42" fmla="*/ 2147483647 w 503"/>
                  <a:gd name="T43" fmla="*/ 2147483647 h 782"/>
                  <a:gd name="T44" fmla="*/ 2147483647 w 503"/>
                  <a:gd name="T45" fmla="*/ 2147483647 h 782"/>
                  <a:gd name="T46" fmla="*/ 2147483647 w 503"/>
                  <a:gd name="T47" fmla="*/ 2147483647 h 782"/>
                  <a:gd name="T48" fmla="*/ 2147483647 w 503"/>
                  <a:gd name="T49" fmla="*/ 2147483647 h 782"/>
                  <a:gd name="T50" fmla="*/ 2147483647 w 503"/>
                  <a:gd name="T51" fmla="*/ 2147483647 h 782"/>
                  <a:gd name="T52" fmla="*/ 2147483647 w 503"/>
                  <a:gd name="T53" fmla="*/ 2147483647 h 782"/>
                  <a:gd name="T54" fmla="*/ 2147483647 w 503"/>
                  <a:gd name="T55" fmla="*/ 2147483647 h 782"/>
                  <a:gd name="T56" fmla="*/ 2147483647 w 503"/>
                  <a:gd name="T57" fmla="*/ 2147483647 h 782"/>
                  <a:gd name="T58" fmla="*/ 2147483647 w 503"/>
                  <a:gd name="T59" fmla="*/ 2147483647 h 782"/>
                  <a:gd name="T60" fmla="*/ 2147483647 w 503"/>
                  <a:gd name="T61" fmla="*/ 2147483647 h 782"/>
                  <a:gd name="T62" fmla="*/ 2147483647 w 503"/>
                  <a:gd name="T63" fmla="*/ 2147483647 h 782"/>
                  <a:gd name="T64" fmla="*/ 2147483647 w 503"/>
                  <a:gd name="T65" fmla="*/ 2147483647 h 782"/>
                  <a:gd name="T66" fmla="*/ 2147483647 w 503"/>
                  <a:gd name="T67" fmla="*/ 2147483647 h 782"/>
                  <a:gd name="T68" fmla="*/ 2147483647 w 503"/>
                  <a:gd name="T69" fmla="*/ 2147483647 h 782"/>
                  <a:gd name="T70" fmla="*/ 2147483647 w 503"/>
                  <a:gd name="T71" fmla="*/ 2147483647 h 782"/>
                  <a:gd name="T72" fmla="*/ 2147483647 w 503"/>
                  <a:gd name="T73" fmla="*/ 2147483647 h 782"/>
                  <a:gd name="T74" fmla="*/ 2147483647 w 503"/>
                  <a:gd name="T75" fmla="*/ 2147483647 h 782"/>
                  <a:gd name="T76" fmla="*/ 2147483647 w 503"/>
                  <a:gd name="T77" fmla="*/ 2147483647 h 782"/>
                  <a:gd name="T78" fmla="*/ 2147483647 w 503"/>
                  <a:gd name="T79" fmla="*/ 2147483647 h 782"/>
                  <a:gd name="T80" fmla="*/ 2147483647 w 503"/>
                  <a:gd name="T81" fmla="*/ 2147483647 h 782"/>
                  <a:gd name="T82" fmla="*/ 2147483647 w 503"/>
                  <a:gd name="T83" fmla="*/ 2147483647 h 782"/>
                  <a:gd name="T84" fmla="*/ 2147483647 w 503"/>
                  <a:gd name="T85" fmla="*/ 2147483647 h 782"/>
                  <a:gd name="T86" fmla="*/ 2147483647 w 503"/>
                  <a:gd name="T87" fmla="*/ 2147483647 h 782"/>
                  <a:gd name="T88" fmla="*/ 2147483647 w 503"/>
                  <a:gd name="T89" fmla="*/ 2147483647 h 78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503"/>
                  <a:gd name="T136" fmla="*/ 0 h 782"/>
                  <a:gd name="T137" fmla="*/ 503 w 503"/>
                  <a:gd name="T138" fmla="*/ 782 h 78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503" h="782">
                    <a:moveTo>
                      <a:pt x="129" y="0"/>
                    </a:moveTo>
                    <a:lnTo>
                      <a:pt x="82" y="26"/>
                    </a:lnTo>
                    <a:lnTo>
                      <a:pt x="82" y="104"/>
                    </a:lnTo>
                    <a:lnTo>
                      <a:pt x="90" y="112"/>
                    </a:lnTo>
                    <a:lnTo>
                      <a:pt x="100" y="126"/>
                    </a:lnTo>
                    <a:lnTo>
                      <a:pt x="110" y="142"/>
                    </a:lnTo>
                    <a:lnTo>
                      <a:pt x="114" y="154"/>
                    </a:lnTo>
                    <a:lnTo>
                      <a:pt x="112" y="158"/>
                    </a:lnTo>
                    <a:lnTo>
                      <a:pt x="110" y="160"/>
                    </a:lnTo>
                    <a:lnTo>
                      <a:pt x="104" y="166"/>
                    </a:lnTo>
                    <a:lnTo>
                      <a:pt x="104" y="232"/>
                    </a:lnTo>
                    <a:lnTo>
                      <a:pt x="94" y="318"/>
                    </a:lnTo>
                    <a:lnTo>
                      <a:pt x="74" y="340"/>
                    </a:lnTo>
                    <a:lnTo>
                      <a:pt x="54" y="366"/>
                    </a:lnTo>
                    <a:lnTo>
                      <a:pt x="12" y="424"/>
                    </a:lnTo>
                    <a:lnTo>
                      <a:pt x="4" y="434"/>
                    </a:lnTo>
                    <a:lnTo>
                      <a:pt x="2" y="438"/>
                    </a:lnTo>
                    <a:lnTo>
                      <a:pt x="0" y="446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6" y="472"/>
                    </a:lnTo>
                    <a:lnTo>
                      <a:pt x="12" y="480"/>
                    </a:lnTo>
                    <a:lnTo>
                      <a:pt x="22" y="492"/>
                    </a:lnTo>
                    <a:lnTo>
                      <a:pt x="32" y="504"/>
                    </a:lnTo>
                    <a:lnTo>
                      <a:pt x="42" y="514"/>
                    </a:lnTo>
                    <a:lnTo>
                      <a:pt x="50" y="522"/>
                    </a:lnTo>
                    <a:lnTo>
                      <a:pt x="64" y="544"/>
                    </a:lnTo>
                    <a:lnTo>
                      <a:pt x="64" y="578"/>
                    </a:lnTo>
                    <a:lnTo>
                      <a:pt x="72" y="596"/>
                    </a:lnTo>
                    <a:lnTo>
                      <a:pt x="78" y="614"/>
                    </a:lnTo>
                    <a:lnTo>
                      <a:pt x="82" y="630"/>
                    </a:lnTo>
                    <a:lnTo>
                      <a:pt x="88" y="648"/>
                    </a:lnTo>
                    <a:lnTo>
                      <a:pt x="68" y="648"/>
                    </a:lnTo>
                    <a:lnTo>
                      <a:pt x="48" y="650"/>
                    </a:lnTo>
                    <a:lnTo>
                      <a:pt x="38" y="650"/>
                    </a:lnTo>
                    <a:lnTo>
                      <a:pt x="32" y="654"/>
                    </a:lnTo>
                    <a:lnTo>
                      <a:pt x="26" y="660"/>
                    </a:lnTo>
                    <a:lnTo>
                      <a:pt x="26" y="670"/>
                    </a:lnTo>
                    <a:lnTo>
                      <a:pt x="26" y="678"/>
                    </a:lnTo>
                    <a:lnTo>
                      <a:pt x="28" y="686"/>
                    </a:lnTo>
                    <a:lnTo>
                      <a:pt x="32" y="692"/>
                    </a:lnTo>
                    <a:lnTo>
                      <a:pt x="38" y="696"/>
                    </a:lnTo>
                    <a:lnTo>
                      <a:pt x="50" y="704"/>
                    </a:lnTo>
                    <a:lnTo>
                      <a:pt x="60" y="714"/>
                    </a:lnTo>
                    <a:lnTo>
                      <a:pt x="72" y="728"/>
                    </a:lnTo>
                    <a:lnTo>
                      <a:pt x="84" y="744"/>
                    </a:lnTo>
                    <a:lnTo>
                      <a:pt x="92" y="760"/>
                    </a:lnTo>
                    <a:lnTo>
                      <a:pt x="100" y="782"/>
                    </a:lnTo>
                    <a:lnTo>
                      <a:pt x="112" y="778"/>
                    </a:lnTo>
                    <a:lnTo>
                      <a:pt x="124" y="774"/>
                    </a:lnTo>
                    <a:lnTo>
                      <a:pt x="137" y="772"/>
                    </a:lnTo>
                    <a:lnTo>
                      <a:pt x="141" y="770"/>
                    </a:lnTo>
                    <a:lnTo>
                      <a:pt x="147" y="766"/>
                    </a:lnTo>
                    <a:lnTo>
                      <a:pt x="153" y="772"/>
                    </a:lnTo>
                    <a:lnTo>
                      <a:pt x="155" y="776"/>
                    </a:lnTo>
                    <a:lnTo>
                      <a:pt x="159" y="776"/>
                    </a:lnTo>
                    <a:lnTo>
                      <a:pt x="165" y="776"/>
                    </a:lnTo>
                    <a:lnTo>
                      <a:pt x="171" y="772"/>
                    </a:lnTo>
                    <a:lnTo>
                      <a:pt x="175" y="768"/>
                    </a:lnTo>
                    <a:lnTo>
                      <a:pt x="179" y="766"/>
                    </a:lnTo>
                    <a:lnTo>
                      <a:pt x="199" y="762"/>
                    </a:lnTo>
                    <a:lnTo>
                      <a:pt x="217" y="760"/>
                    </a:lnTo>
                    <a:lnTo>
                      <a:pt x="237" y="758"/>
                    </a:lnTo>
                    <a:lnTo>
                      <a:pt x="245" y="754"/>
                    </a:lnTo>
                    <a:lnTo>
                      <a:pt x="253" y="752"/>
                    </a:lnTo>
                    <a:lnTo>
                      <a:pt x="261" y="744"/>
                    </a:lnTo>
                    <a:lnTo>
                      <a:pt x="267" y="736"/>
                    </a:lnTo>
                    <a:lnTo>
                      <a:pt x="273" y="728"/>
                    </a:lnTo>
                    <a:lnTo>
                      <a:pt x="277" y="718"/>
                    </a:lnTo>
                    <a:lnTo>
                      <a:pt x="273" y="714"/>
                    </a:lnTo>
                    <a:lnTo>
                      <a:pt x="271" y="710"/>
                    </a:lnTo>
                    <a:lnTo>
                      <a:pt x="289" y="708"/>
                    </a:lnTo>
                    <a:lnTo>
                      <a:pt x="307" y="706"/>
                    </a:lnTo>
                    <a:lnTo>
                      <a:pt x="321" y="702"/>
                    </a:lnTo>
                    <a:lnTo>
                      <a:pt x="333" y="698"/>
                    </a:lnTo>
                    <a:lnTo>
                      <a:pt x="343" y="690"/>
                    </a:lnTo>
                    <a:lnTo>
                      <a:pt x="355" y="682"/>
                    </a:lnTo>
                    <a:lnTo>
                      <a:pt x="375" y="662"/>
                    </a:lnTo>
                    <a:lnTo>
                      <a:pt x="385" y="656"/>
                    </a:lnTo>
                    <a:lnTo>
                      <a:pt x="395" y="648"/>
                    </a:lnTo>
                    <a:lnTo>
                      <a:pt x="399" y="644"/>
                    </a:lnTo>
                    <a:lnTo>
                      <a:pt x="401" y="638"/>
                    </a:lnTo>
                    <a:lnTo>
                      <a:pt x="403" y="632"/>
                    </a:lnTo>
                    <a:lnTo>
                      <a:pt x="403" y="626"/>
                    </a:lnTo>
                    <a:lnTo>
                      <a:pt x="411" y="622"/>
                    </a:lnTo>
                    <a:lnTo>
                      <a:pt x="419" y="618"/>
                    </a:lnTo>
                    <a:lnTo>
                      <a:pt x="425" y="612"/>
                    </a:lnTo>
                    <a:lnTo>
                      <a:pt x="435" y="610"/>
                    </a:lnTo>
                    <a:lnTo>
                      <a:pt x="441" y="612"/>
                    </a:lnTo>
                    <a:lnTo>
                      <a:pt x="449" y="614"/>
                    </a:lnTo>
                    <a:lnTo>
                      <a:pt x="459" y="620"/>
                    </a:lnTo>
                    <a:lnTo>
                      <a:pt x="455" y="614"/>
                    </a:lnTo>
                    <a:lnTo>
                      <a:pt x="455" y="608"/>
                    </a:lnTo>
                    <a:lnTo>
                      <a:pt x="455" y="604"/>
                    </a:lnTo>
                    <a:lnTo>
                      <a:pt x="457" y="602"/>
                    </a:lnTo>
                    <a:lnTo>
                      <a:pt x="459" y="600"/>
                    </a:lnTo>
                    <a:lnTo>
                      <a:pt x="461" y="596"/>
                    </a:lnTo>
                    <a:lnTo>
                      <a:pt x="459" y="588"/>
                    </a:lnTo>
                    <a:lnTo>
                      <a:pt x="455" y="584"/>
                    </a:lnTo>
                    <a:lnTo>
                      <a:pt x="449" y="582"/>
                    </a:lnTo>
                    <a:lnTo>
                      <a:pt x="445" y="578"/>
                    </a:lnTo>
                    <a:lnTo>
                      <a:pt x="443" y="572"/>
                    </a:lnTo>
                    <a:lnTo>
                      <a:pt x="441" y="564"/>
                    </a:lnTo>
                    <a:lnTo>
                      <a:pt x="437" y="544"/>
                    </a:lnTo>
                    <a:lnTo>
                      <a:pt x="433" y="536"/>
                    </a:lnTo>
                    <a:lnTo>
                      <a:pt x="429" y="528"/>
                    </a:lnTo>
                    <a:lnTo>
                      <a:pt x="421" y="524"/>
                    </a:lnTo>
                    <a:lnTo>
                      <a:pt x="411" y="522"/>
                    </a:lnTo>
                    <a:lnTo>
                      <a:pt x="407" y="522"/>
                    </a:lnTo>
                    <a:lnTo>
                      <a:pt x="405" y="520"/>
                    </a:lnTo>
                    <a:lnTo>
                      <a:pt x="403" y="514"/>
                    </a:lnTo>
                    <a:lnTo>
                      <a:pt x="405" y="508"/>
                    </a:lnTo>
                    <a:lnTo>
                      <a:pt x="409" y="502"/>
                    </a:lnTo>
                    <a:lnTo>
                      <a:pt x="419" y="496"/>
                    </a:lnTo>
                    <a:lnTo>
                      <a:pt x="417" y="496"/>
                    </a:lnTo>
                    <a:lnTo>
                      <a:pt x="423" y="492"/>
                    </a:lnTo>
                    <a:lnTo>
                      <a:pt x="425" y="486"/>
                    </a:lnTo>
                    <a:lnTo>
                      <a:pt x="423" y="482"/>
                    </a:lnTo>
                    <a:lnTo>
                      <a:pt x="421" y="476"/>
                    </a:lnTo>
                    <a:lnTo>
                      <a:pt x="417" y="468"/>
                    </a:lnTo>
                    <a:lnTo>
                      <a:pt x="431" y="460"/>
                    </a:lnTo>
                    <a:lnTo>
                      <a:pt x="437" y="454"/>
                    </a:lnTo>
                    <a:lnTo>
                      <a:pt x="439" y="448"/>
                    </a:lnTo>
                    <a:lnTo>
                      <a:pt x="439" y="446"/>
                    </a:lnTo>
                    <a:lnTo>
                      <a:pt x="435" y="442"/>
                    </a:lnTo>
                    <a:lnTo>
                      <a:pt x="433" y="440"/>
                    </a:lnTo>
                    <a:lnTo>
                      <a:pt x="431" y="434"/>
                    </a:lnTo>
                    <a:lnTo>
                      <a:pt x="431" y="428"/>
                    </a:lnTo>
                    <a:lnTo>
                      <a:pt x="443" y="428"/>
                    </a:lnTo>
                    <a:lnTo>
                      <a:pt x="447" y="418"/>
                    </a:lnTo>
                    <a:lnTo>
                      <a:pt x="453" y="408"/>
                    </a:lnTo>
                    <a:lnTo>
                      <a:pt x="455" y="394"/>
                    </a:lnTo>
                    <a:lnTo>
                      <a:pt x="457" y="382"/>
                    </a:lnTo>
                    <a:lnTo>
                      <a:pt x="479" y="378"/>
                    </a:lnTo>
                    <a:lnTo>
                      <a:pt x="503" y="376"/>
                    </a:lnTo>
                    <a:lnTo>
                      <a:pt x="499" y="188"/>
                    </a:lnTo>
                    <a:lnTo>
                      <a:pt x="129" y="0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8" name="Freeform 45"/>
              <p:cNvSpPr>
                <a:spLocks/>
              </p:cNvSpPr>
              <p:nvPr/>
            </p:nvSpPr>
            <p:spPr bwMode="gray">
              <a:xfrm>
                <a:off x="3178175" y="1910557"/>
                <a:ext cx="1068388" cy="809625"/>
              </a:xfrm>
              <a:custGeom>
                <a:avLst/>
                <a:gdLst>
                  <a:gd name="T0" fmla="*/ 2147483647 w 738"/>
                  <a:gd name="T1" fmla="*/ 2147483647 h 558"/>
                  <a:gd name="T2" fmla="*/ 2147483647 w 738"/>
                  <a:gd name="T3" fmla="*/ 2147483647 h 558"/>
                  <a:gd name="T4" fmla="*/ 2147483647 w 738"/>
                  <a:gd name="T5" fmla="*/ 2147483647 h 558"/>
                  <a:gd name="T6" fmla="*/ 2147483647 w 738"/>
                  <a:gd name="T7" fmla="*/ 2147483647 h 558"/>
                  <a:gd name="T8" fmla="*/ 2147483647 w 738"/>
                  <a:gd name="T9" fmla="*/ 2147483647 h 558"/>
                  <a:gd name="T10" fmla="*/ 2147483647 w 738"/>
                  <a:gd name="T11" fmla="*/ 2147483647 h 558"/>
                  <a:gd name="T12" fmla="*/ 2147483647 w 738"/>
                  <a:gd name="T13" fmla="*/ 2147483647 h 558"/>
                  <a:gd name="T14" fmla="*/ 2147483647 w 738"/>
                  <a:gd name="T15" fmla="*/ 2147483647 h 558"/>
                  <a:gd name="T16" fmla="*/ 2147483647 w 738"/>
                  <a:gd name="T17" fmla="*/ 2147483647 h 558"/>
                  <a:gd name="T18" fmla="*/ 2147483647 w 738"/>
                  <a:gd name="T19" fmla="*/ 2147483647 h 558"/>
                  <a:gd name="T20" fmla="*/ 2147483647 w 738"/>
                  <a:gd name="T21" fmla="*/ 2147483647 h 558"/>
                  <a:gd name="T22" fmla="*/ 2147483647 w 738"/>
                  <a:gd name="T23" fmla="*/ 2147483647 h 558"/>
                  <a:gd name="T24" fmla="*/ 2147483647 w 738"/>
                  <a:gd name="T25" fmla="*/ 2147483647 h 558"/>
                  <a:gd name="T26" fmla="*/ 2147483647 w 738"/>
                  <a:gd name="T27" fmla="*/ 2147483647 h 558"/>
                  <a:gd name="T28" fmla="*/ 2147483647 w 738"/>
                  <a:gd name="T29" fmla="*/ 2147483647 h 558"/>
                  <a:gd name="T30" fmla="*/ 2147483647 w 738"/>
                  <a:gd name="T31" fmla="*/ 2147483647 h 558"/>
                  <a:gd name="T32" fmla="*/ 2147483647 w 738"/>
                  <a:gd name="T33" fmla="*/ 2147483647 h 558"/>
                  <a:gd name="T34" fmla="*/ 2147483647 w 738"/>
                  <a:gd name="T35" fmla="*/ 2147483647 h 558"/>
                  <a:gd name="T36" fmla="*/ 2147483647 w 738"/>
                  <a:gd name="T37" fmla="*/ 2147483647 h 558"/>
                  <a:gd name="T38" fmla="*/ 2147483647 w 738"/>
                  <a:gd name="T39" fmla="*/ 2147483647 h 558"/>
                  <a:gd name="T40" fmla="*/ 2147483647 w 738"/>
                  <a:gd name="T41" fmla="*/ 0 h 558"/>
                  <a:gd name="T42" fmla="*/ 2147483647 w 738"/>
                  <a:gd name="T43" fmla="*/ 2147483647 h 558"/>
                  <a:gd name="T44" fmla="*/ 2147483647 w 738"/>
                  <a:gd name="T45" fmla="*/ 2147483647 h 558"/>
                  <a:gd name="T46" fmla="*/ 2147483647 w 738"/>
                  <a:gd name="T47" fmla="*/ 2147483647 h 558"/>
                  <a:gd name="T48" fmla="*/ 2147483647 w 738"/>
                  <a:gd name="T49" fmla="*/ 2147483647 h 558"/>
                  <a:gd name="T50" fmla="*/ 2147483647 w 738"/>
                  <a:gd name="T51" fmla="*/ 2147483647 h 558"/>
                  <a:gd name="T52" fmla="*/ 2147483647 w 738"/>
                  <a:gd name="T53" fmla="*/ 2147483647 h 558"/>
                  <a:gd name="T54" fmla="*/ 2147483647 w 738"/>
                  <a:gd name="T55" fmla="*/ 2147483647 h 558"/>
                  <a:gd name="T56" fmla="*/ 2147483647 w 738"/>
                  <a:gd name="T57" fmla="*/ 2147483647 h 558"/>
                  <a:gd name="T58" fmla="*/ 2147483647 w 738"/>
                  <a:gd name="T59" fmla="*/ 2147483647 h 558"/>
                  <a:gd name="T60" fmla="*/ 2147483647 w 738"/>
                  <a:gd name="T61" fmla="*/ 2147483647 h 558"/>
                  <a:gd name="T62" fmla="*/ 2147483647 w 738"/>
                  <a:gd name="T63" fmla="*/ 2147483647 h 558"/>
                  <a:gd name="T64" fmla="*/ 2147483647 w 738"/>
                  <a:gd name="T65" fmla="*/ 2147483647 h 558"/>
                  <a:gd name="T66" fmla="*/ 2147483647 w 738"/>
                  <a:gd name="T67" fmla="*/ 2147483647 h 558"/>
                  <a:gd name="T68" fmla="*/ 2147483647 w 738"/>
                  <a:gd name="T69" fmla="*/ 2147483647 h 558"/>
                  <a:gd name="T70" fmla="*/ 2147483647 w 738"/>
                  <a:gd name="T71" fmla="*/ 2147483647 h 558"/>
                  <a:gd name="T72" fmla="*/ 2147483647 w 738"/>
                  <a:gd name="T73" fmla="*/ 2147483647 h 558"/>
                  <a:gd name="T74" fmla="*/ 2147483647 w 738"/>
                  <a:gd name="T75" fmla="*/ 2147483647 h 558"/>
                  <a:gd name="T76" fmla="*/ 2147483647 w 738"/>
                  <a:gd name="T77" fmla="*/ 2147483647 h 558"/>
                  <a:gd name="T78" fmla="*/ 2147483647 w 738"/>
                  <a:gd name="T79" fmla="*/ 2147483647 h 558"/>
                  <a:gd name="T80" fmla="*/ 2147483647 w 738"/>
                  <a:gd name="T81" fmla="*/ 2147483647 h 558"/>
                  <a:gd name="T82" fmla="*/ 2147483647 w 738"/>
                  <a:gd name="T83" fmla="*/ 2147483647 h 558"/>
                  <a:gd name="T84" fmla="*/ 2147483647 w 738"/>
                  <a:gd name="T85" fmla="*/ 2147483647 h 558"/>
                  <a:gd name="T86" fmla="*/ 2147483647 w 738"/>
                  <a:gd name="T87" fmla="*/ 2147483647 h 558"/>
                  <a:gd name="T88" fmla="*/ 2147483647 w 738"/>
                  <a:gd name="T89" fmla="*/ 2147483647 h 558"/>
                  <a:gd name="T90" fmla="*/ 2147483647 w 738"/>
                  <a:gd name="T91" fmla="*/ 2147483647 h 558"/>
                  <a:gd name="T92" fmla="*/ 2147483647 w 738"/>
                  <a:gd name="T93" fmla="*/ 2147483647 h 558"/>
                  <a:gd name="T94" fmla="*/ 2147483647 w 738"/>
                  <a:gd name="T95" fmla="*/ 2147483647 h 558"/>
                  <a:gd name="T96" fmla="*/ 2147483647 w 738"/>
                  <a:gd name="T97" fmla="*/ 2147483647 h 55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738"/>
                  <a:gd name="T148" fmla="*/ 0 h 558"/>
                  <a:gd name="T149" fmla="*/ 738 w 738"/>
                  <a:gd name="T150" fmla="*/ 558 h 558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738" h="558">
                    <a:moveTo>
                      <a:pt x="152" y="554"/>
                    </a:moveTo>
                    <a:lnTo>
                      <a:pt x="154" y="558"/>
                    </a:lnTo>
                    <a:lnTo>
                      <a:pt x="146" y="550"/>
                    </a:lnTo>
                    <a:lnTo>
                      <a:pt x="136" y="540"/>
                    </a:lnTo>
                    <a:lnTo>
                      <a:pt x="126" y="528"/>
                    </a:lnTo>
                    <a:lnTo>
                      <a:pt x="120" y="526"/>
                    </a:lnTo>
                    <a:lnTo>
                      <a:pt x="116" y="524"/>
                    </a:lnTo>
                    <a:lnTo>
                      <a:pt x="110" y="526"/>
                    </a:lnTo>
                    <a:lnTo>
                      <a:pt x="102" y="532"/>
                    </a:lnTo>
                    <a:lnTo>
                      <a:pt x="94" y="536"/>
                    </a:lnTo>
                    <a:lnTo>
                      <a:pt x="92" y="540"/>
                    </a:lnTo>
                    <a:lnTo>
                      <a:pt x="86" y="538"/>
                    </a:lnTo>
                    <a:lnTo>
                      <a:pt x="84" y="536"/>
                    </a:lnTo>
                    <a:lnTo>
                      <a:pt x="82" y="530"/>
                    </a:lnTo>
                    <a:lnTo>
                      <a:pt x="80" y="524"/>
                    </a:lnTo>
                    <a:lnTo>
                      <a:pt x="84" y="526"/>
                    </a:lnTo>
                    <a:lnTo>
                      <a:pt x="92" y="524"/>
                    </a:lnTo>
                    <a:lnTo>
                      <a:pt x="90" y="518"/>
                    </a:lnTo>
                    <a:lnTo>
                      <a:pt x="88" y="514"/>
                    </a:lnTo>
                    <a:lnTo>
                      <a:pt x="84" y="510"/>
                    </a:lnTo>
                    <a:lnTo>
                      <a:pt x="78" y="508"/>
                    </a:lnTo>
                    <a:lnTo>
                      <a:pt x="74" y="508"/>
                    </a:lnTo>
                    <a:lnTo>
                      <a:pt x="70" y="510"/>
                    </a:lnTo>
                    <a:lnTo>
                      <a:pt x="68" y="512"/>
                    </a:lnTo>
                    <a:lnTo>
                      <a:pt x="64" y="514"/>
                    </a:lnTo>
                    <a:lnTo>
                      <a:pt x="56" y="510"/>
                    </a:lnTo>
                    <a:lnTo>
                      <a:pt x="48" y="504"/>
                    </a:lnTo>
                    <a:lnTo>
                      <a:pt x="38" y="496"/>
                    </a:lnTo>
                    <a:lnTo>
                      <a:pt x="34" y="490"/>
                    </a:lnTo>
                    <a:lnTo>
                      <a:pt x="48" y="482"/>
                    </a:lnTo>
                    <a:lnTo>
                      <a:pt x="34" y="468"/>
                    </a:lnTo>
                    <a:lnTo>
                      <a:pt x="16" y="448"/>
                    </a:lnTo>
                    <a:lnTo>
                      <a:pt x="8" y="438"/>
                    </a:lnTo>
                    <a:lnTo>
                      <a:pt x="2" y="426"/>
                    </a:lnTo>
                    <a:lnTo>
                      <a:pt x="0" y="414"/>
                    </a:lnTo>
                    <a:lnTo>
                      <a:pt x="2" y="400"/>
                    </a:lnTo>
                    <a:lnTo>
                      <a:pt x="4" y="400"/>
                    </a:lnTo>
                    <a:lnTo>
                      <a:pt x="8" y="398"/>
                    </a:lnTo>
                    <a:lnTo>
                      <a:pt x="14" y="400"/>
                    </a:lnTo>
                    <a:lnTo>
                      <a:pt x="22" y="402"/>
                    </a:lnTo>
                    <a:lnTo>
                      <a:pt x="32" y="404"/>
                    </a:lnTo>
                    <a:lnTo>
                      <a:pt x="38" y="402"/>
                    </a:lnTo>
                    <a:lnTo>
                      <a:pt x="44" y="396"/>
                    </a:lnTo>
                    <a:lnTo>
                      <a:pt x="56" y="386"/>
                    </a:lnTo>
                    <a:lnTo>
                      <a:pt x="106" y="386"/>
                    </a:lnTo>
                    <a:lnTo>
                      <a:pt x="106" y="384"/>
                    </a:lnTo>
                    <a:lnTo>
                      <a:pt x="146" y="384"/>
                    </a:lnTo>
                    <a:lnTo>
                      <a:pt x="160" y="376"/>
                    </a:lnTo>
                    <a:lnTo>
                      <a:pt x="172" y="368"/>
                    </a:lnTo>
                    <a:lnTo>
                      <a:pt x="182" y="358"/>
                    </a:lnTo>
                    <a:lnTo>
                      <a:pt x="188" y="346"/>
                    </a:lnTo>
                    <a:lnTo>
                      <a:pt x="194" y="332"/>
                    </a:lnTo>
                    <a:lnTo>
                      <a:pt x="196" y="316"/>
                    </a:lnTo>
                    <a:lnTo>
                      <a:pt x="198" y="300"/>
                    </a:lnTo>
                    <a:lnTo>
                      <a:pt x="200" y="280"/>
                    </a:lnTo>
                    <a:lnTo>
                      <a:pt x="198" y="258"/>
                    </a:lnTo>
                    <a:lnTo>
                      <a:pt x="196" y="240"/>
                    </a:lnTo>
                    <a:lnTo>
                      <a:pt x="196" y="222"/>
                    </a:lnTo>
                    <a:lnTo>
                      <a:pt x="196" y="212"/>
                    </a:lnTo>
                    <a:lnTo>
                      <a:pt x="200" y="204"/>
                    </a:lnTo>
                    <a:lnTo>
                      <a:pt x="276" y="190"/>
                    </a:lnTo>
                    <a:lnTo>
                      <a:pt x="362" y="120"/>
                    </a:lnTo>
                    <a:lnTo>
                      <a:pt x="570" y="0"/>
                    </a:lnTo>
                    <a:lnTo>
                      <a:pt x="590" y="2"/>
                    </a:lnTo>
                    <a:lnTo>
                      <a:pt x="606" y="6"/>
                    </a:lnTo>
                    <a:lnTo>
                      <a:pt x="636" y="18"/>
                    </a:lnTo>
                    <a:lnTo>
                      <a:pt x="644" y="24"/>
                    </a:lnTo>
                    <a:lnTo>
                      <a:pt x="652" y="30"/>
                    </a:lnTo>
                    <a:lnTo>
                      <a:pt x="658" y="38"/>
                    </a:lnTo>
                    <a:lnTo>
                      <a:pt x="662" y="40"/>
                    </a:lnTo>
                    <a:lnTo>
                      <a:pt x="668" y="40"/>
                    </a:lnTo>
                    <a:lnTo>
                      <a:pt x="678" y="38"/>
                    </a:lnTo>
                    <a:lnTo>
                      <a:pt x="690" y="34"/>
                    </a:lnTo>
                    <a:lnTo>
                      <a:pt x="700" y="28"/>
                    </a:lnTo>
                    <a:lnTo>
                      <a:pt x="706" y="24"/>
                    </a:lnTo>
                    <a:lnTo>
                      <a:pt x="706" y="102"/>
                    </a:lnTo>
                    <a:lnTo>
                      <a:pt x="714" y="110"/>
                    </a:lnTo>
                    <a:lnTo>
                      <a:pt x="724" y="124"/>
                    </a:lnTo>
                    <a:lnTo>
                      <a:pt x="734" y="140"/>
                    </a:lnTo>
                    <a:lnTo>
                      <a:pt x="738" y="152"/>
                    </a:lnTo>
                    <a:lnTo>
                      <a:pt x="736" y="156"/>
                    </a:lnTo>
                    <a:lnTo>
                      <a:pt x="734" y="158"/>
                    </a:lnTo>
                    <a:lnTo>
                      <a:pt x="728" y="164"/>
                    </a:lnTo>
                    <a:lnTo>
                      <a:pt x="728" y="230"/>
                    </a:lnTo>
                    <a:lnTo>
                      <a:pt x="718" y="316"/>
                    </a:lnTo>
                    <a:lnTo>
                      <a:pt x="698" y="338"/>
                    </a:lnTo>
                    <a:lnTo>
                      <a:pt x="678" y="364"/>
                    </a:lnTo>
                    <a:lnTo>
                      <a:pt x="636" y="422"/>
                    </a:lnTo>
                    <a:lnTo>
                      <a:pt x="628" y="432"/>
                    </a:lnTo>
                    <a:lnTo>
                      <a:pt x="626" y="436"/>
                    </a:lnTo>
                    <a:lnTo>
                      <a:pt x="624" y="444"/>
                    </a:lnTo>
                    <a:lnTo>
                      <a:pt x="624" y="452"/>
                    </a:lnTo>
                    <a:lnTo>
                      <a:pt x="626" y="458"/>
                    </a:lnTo>
                    <a:lnTo>
                      <a:pt x="632" y="472"/>
                    </a:lnTo>
                    <a:lnTo>
                      <a:pt x="622" y="474"/>
                    </a:lnTo>
                    <a:lnTo>
                      <a:pt x="614" y="478"/>
                    </a:lnTo>
                    <a:lnTo>
                      <a:pt x="596" y="488"/>
                    </a:lnTo>
                    <a:lnTo>
                      <a:pt x="580" y="500"/>
                    </a:lnTo>
                    <a:lnTo>
                      <a:pt x="572" y="504"/>
                    </a:lnTo>
                    <a:lnTo>
                      <a:pt x="566" y="504"/>
                    </a:lnTo>
                    <a:lnTo>
                      <a:pt x="558" y="504"/>
                    </a:lnTo>
                    <a:lnTo>
                      <a:pt x="550" y="502"/>
                    </a:lnTo>
                    <a:lnTo>
                      <a:pt x="538" y="494"/>
                    </a:lnTo>
                    <a:lnTo>
                      <a:pt x="524" y="488"/>
                    </a:lnTo>
                    <a:lnTo>
                      <a:pt x="516" y="486"/>
                    </a:lnTo>
                    <a:lnTo>
                      <a:pt x="506" y="484"/>
                    </a:lnTo>
                    <a:lnTo>
                      <a:pt x="492" y="486"/>
                    </a:lnTo>
                    <a:lnTo>
                      <a:pt x="482" y="488"/>
                    </a:lnTo>
                    <a:lnTo>
                      <a:pt x="472" y="492"/>
                    </a:lnTo>
                    <a:lnTo>
                      <a:pt x="464" y="498"/>
                    </a:lnTo>
                    <a:lnTo>
                      <a:pt x="448" y="508"/>
                    </a:lnTo>
                    <a:lnTo>
                      <a:pt x="438" y="510"/>
                    </a:lnTo>
                    <a:lnTo>
                      <a:pt x="426" y="512"/>
                    </a:lnTo>
                    <a:lnTo>
                      <a:pt x="416" y="510"/>
                    </a:lnTo>
                    <a:lnTo>
                      <a:pt x="406" y="508"/>
                    </a:lnTo>
                    <a:lnTo>
                      <a:pt x="392" y="500"/>
                    </a:lnTo>
                    <a:lnTo>
                      <a:pt x="376" y="490"/>
                    </a:lnTo>
                    <a:lnTo>
                      <a:pt x="368" y="488"/>
                    </a:lnTo>
                    <a:lnTo>
                      <a:pt x="360" y="486"/>
                    </a:lnTo>
                    <a:lnTo>
                      <a:pt x="354" y="488"/>
                    </a:lnTo>
                    <a:lnTo>
                      <a:pt x="348" y="488"/>
                    </a:lnTo>
                    <a:lnTo>
                      <a:pt x="338" y="494"/>
                    </a:lnTo>
                    <a:lnTo>
                      <a:pt x="328" y="498"/>
                    </a:lnTo>
                    <a:lnTo>
                      <a:pt x="322" y="500"/>
                    </a:lnTo>
                    <a:lnTo>
                      <a:pt x="316" y="500"/>
                    </a:lnTo>
                    <a:lnTo>
                      <a:pt x="312" y="500"/>
                    </a:lnTo>
                    <a:lnTo>
                      <a:pt x="310" y="498"/>
                    </a:lnTo>
                    <a:lnTo>
                      <a:pt x="304" y="492"/>
                    </a:lnTo>
                    <a:lnTo>
                      <a:pt x="294" y="478"/>
                    </a:lnTo>
                    <a:lnTo>
                      <a:pt x="286" y="470"/>
                    </a:lnTo>
                    <a:lnTo>
                      <a:pt x="272" y="466"/>
                    </a:lnTo>
                    <a:lnTo>
                      <a:pt x="256" y="460"/>
                    </a:lnTo>
                    <a:lnTo>
                      <a:pt x="242" y="460"/>
                    </a:lnTo>
                    <a:lnTo>
                      <a:pt x="222" y="460"/>
                    </a:lnTo>
                    <a:lnTo>
                      <a:pt x="202" y="464"/>
                    </a:lnTo>
                    <a:lnTo>
                      <a:pt x="194" y="468"/>
                    </a:lnTo>
                    <a:lnTo>
                      <a:pt x="188" y="472"/>
                    </a:lnTo>
                    <a:lnTo>
                      <a:pt x="182" y="478"/>
                    </a:lnTo>
                    <a:lnTo>
                      <a:pt x="180" y="484"/>
                    </a:lnTo>
                    <a:lnTo>
                      <a:pt x="178" y="498"/>
                    </a:lnTo>
                    <a:lnTo>
                      <a:pt x="172" y="504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8" y="520"/>
                    </a:lnTo>
                    <a:lnTo>
                      <a:pt x="154" y="528"/>
                    </a:lnTo>
                    <a:lnTo>
                      <a:pt x="152" y="540"/>
                    </a:lnTo>
                    <a:lnTo>
                      <a:pt x="152" y="558"/>
                    </a:lnTo>
                    <a:lnTo>
                      <a:pt x="152" y="554"/>
                    </a:lnTo>
                    <a:close/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79" name="Freeform 48"/>
              <p:cNvSpPr>
                <a:spLocks/>
              </p:cNvSpPr>
              <p:nvPr/>
            </p:nvSpPr>
            <p:spPr bwMode="gray">
              <a:xfrm>
                <a:off x="5661025" y="2253457"/>
                <a:ext cx="452438" cy="387350"/>
              </a:xfrm>
              <a:custGeom>
                <a:avLst/>
                <a:gdLst>
                  <a:gd name="T0" fmla="*/ 2147483647 w 312"/>
                  <a:gd name="T1" fmla="*/ 2147483647 h 268"/>
                  <a:gd name="T2" fmla="*/ 2147483647 w 312"/>
                  <a:gd name="T3" fmla="*/ 2147483647 h 268"/>
                  <a:gd name="T4" fmla="*/ 2147483647 w 312"/>
                  <a:gd name="T5" fmla="*/ 2147483647 h 268"/>
                  <a:gd name="T6" fmla="*/ 2147483647 w 312"/>
                  <a:gd name="T7" fmla="*/ 2147483647 h 268"/>
                  <a:gd name="T8" fmla="*/ 2147483647 w 312"/>
                  <a:gd name="T9" fmla="*/ 2147483647 h 268"/>
                  <a:gd name="T10" fmla="*/ 2147483647 w 312"/>
                  <a:gd name="T11" fmla="*/ 2147483647 h 268"/>
                  <a:gd name="T12" fmla="*/ 2147483647 w 312"/>
                  <a:gd name="T13" fmla="*/ 2147483647 h 268"/>
                  <a:gd name="T14" fmla="*/ 2147483647 w 312"/>
                  <a:gd name="T15" fmla="*/ 2147483647 h 268"/>
                  <a:gd name="T16" fmla="*/ 2147483647 w 312"/>
                  <a:gd name="T17" fmla="*/ 2147483647 h 268"/>
                  <a:gd name="T18" fmla="*/ 2147483647 w 312"/>
                  <a:gd name="T19" fmla="*/ 2147483647 h 268"/>
                  <a:gd name="T20" fmla="*/ 2147483647 w 312"/>
                  <a:gd name="T21" fmla="*/ 2147483647 h 268"/>
                  <a:gd name="T22" fmla="*/ 2147483647 w 312"/>
                  <a:gd name="T23" fmla="*/ 2147483647 h 268"/>
                  <a:gd name="T24" fmla="*/ 2147483647 w 312"/>
                  <a:gd name="T25" fmla="*/ 2147483647 h 268"/>
                  <a:gd name="T26" fmla="*/ 2147483647 w 312"/>
                  <a:gd name="T27" fmla="*/ 2147483647 h 268"/>
                  <a:gd name="T28" fmla="*/ 2147483647 w 312"/>
                  <a:gd name="T29" fmla="*/ 2147483647 h 268"/>
                  <a:gd name="T30" fmla="*/ 2147483647 w 312"/>
                  <a:gd name="T31" fmla="*/ 2147483647 h 268"/>
                  <a:gd name="T32" fmla="*/ 2147483647 w 312"/>
                  <a:gd name="T33" fmla="*/ 2147483647 h 268"/>
                  <a:gd name="T34" fmla="*/ 2147483647 w 312"/>
                  <a:gd name="T35" fmla="*/ 2147483647 h 268"/>
                  <a:gd name="T36" fmla="*/ 2147483647 w 312"/>
                  <a:gd name="T37" fmla="*/ 2147483647 h 268"/>
                  <a:gd name="T38" fmla="*/ 2147483647 w 312"/>
                  <a:gd name="T39" fmla="*/ 2147483647 h 268"/>
                  <a:gd name="T40" fmla="*/ 2147483647 w 312"/>
                  <a:gd name="T41" fmla="*/ 2147483647 h 268"/>
                  <a:gd name="T42" fmla="*/ 2147483647 w 312"/>
                  <a:gd name="T43" fmla="*/ 2147483647 h 268"/>
                  <a:gd name="T44" fmla="*/ 2147483647 w 312"/>
                  <a:gd name="T45" fmla="*/ 2147483647 h 268"/>
                  <a:gd name="T46" fmla="*/ 2147483647 w 312"/>
                  <a:gd name="T47" fmla="*/ 2147483647 h 268"/>
                  <a:gd name="T48" fmla="*/ 2147483647 w 312"/>
                  <a:gd name="T49" fmla="*/ 2147483647 h 268"/>
                  <a:gd name="T50" fmla="*/ 2147483647 w 312"/>
                  <a:gd name="T51" fmla="*/ 2147483647 h 268"/>
                  <a:gd name="T52" fmla="*/ 2147483647 w 312"/>
                  <a:gd name="T53" fmla="*/ 2147483647 h 268"/>
                  <a:gd name="T54" fmla="*/ 2147483647 w 312"/>
                  <a:gd name="T55" fmla="*/ 2147483647 h 268"/>
                  <a:gd name="T56" fmla="*/ 2147483647 w 312"/>
                  <a:gd name="T57" fmla="*/ 2147483647 h 268"/>
                  <a:gd name="T58" fmla="*/ 2147483647 w 312"/>
                  <a:gd name="T59" fmla="*/ 2147483647 h 268"/>
                  <a:gd name="T60" fmla="*/ 2147483647 w 312"/>
                  <a:gd name="T61" fmla="*/ 2147483647 h 268"/>
                  <a:gd name="T62" fmla="*/ 2147483647 w 312"/>
                  <a:gd name="T63" fmla="*/ 2147483647 h 268"/>
                  <a:gd name="T64" fmla="*/ 2147483647 w 312"/>
                  <a:gd name="T65" fmla="*/ 2147483647 h 268"/>
                  <a:gd name="T66" fmla="*/ 2147483647 w 312"/>
                  <a:gd name="T67" fmla="*/ 2147483647 h 268"/>
                  <a:gd name="T68" fmla="*/ 2147483647 w 312"/>
                  <a:gd name="T69" fmla="*/ 2147483647 h 268"/>
                  <a:gd name="T70" fmla="*/ 2147483647 w 312"/>
                  <a:gd name="T71" fmla="*/ 2147483647 h 268"/>
                  <a:gd name="T72" fmla="*/ 2147483647 w 312"/>
                  <a:gd name="T73" fmla="*/ 2147483647 h 268"/>
                  <a:gd name="T74" fmla="*/ 2147483647 w 312"/>
                  <a:gd name="T75" fmla="*/ 2147483647 h 268"/>
                  <a:gd name="T76" fmla="*/ 2147483647 w 312"/>
                  <a:gd name="T77" fmla="*/ 0 h 268"/>
                  <a:gd name="T78" fmla="*/ 2147483647 w 312"/>
                  <a:gd name="T79" fmla="*/ 2147483647 h 268"/>
                  <a:gd name="T80" fmla="*/ 2147483647 w 312"/>
                  <a:gd name="T81" fmla="*/ 2147483647 h 268"/>
                  <a:gd name="T82" fmla="*/ 2147483647 w 312"/>
                  <a:gd name="T83" fmla="*/ 2147483647 h 268"/>
                  <a:gd name="T84" fmla="*/ 2147483647 w 312"/>
                  <a:gd name="T85" fmla="*/ 2147483647 h 268"/>
                  <a:gd name="T86" fmla="*/ 2147483647 w 312"/>
                  <a:gd name="T87" fmla="*/ 2147483647 h 268"/>
                  <a:gd name="T88" fmla="*/ 2147483647 w 312"/>
                  <a:gd name="T89" fmla="*/ 2147483647 h 268"/>
                  <a:gd name="T90" fmla="*/ 2147483647 w 312"/>
                  <a:gd name="T91" fmla="*/ 2147483647 h 268"/>
                  <a:gd name="T92" fmla="*/ 2147483647 w 312"/>
                  <a:gd name="T93" fmla="*/ 2147483647 h 268"/>
                  <a:gd name="T94" fmla="*/ 2147483647 w 312"/>
                  <a:gd name="T95" fmla="*/ 2147483647 h 26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12"/>
                  <a:gd name="T145" fmla="*/ 0 h 268"/>
                  <a:gd name="T146" fmla="*/ 312 w 312"/>
                  <a:gd name="T147" fmla="*/ 268 h 26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12" h="268">
                    <a:moveTo>
                      <a:pt x="4" y="186"/>
                    </a:moveTo>
                    <a:lnTo>
                      <a:pt x="22" y="184"/>
                    </a:lnTo>
                    <a:lnTo>
                      <a:pt x="30" y="188"/>
                    </a:lnTo>
                    <a:lnTo>
                      <a:pt x="44" y="180"/>
                    </a:lnTo>
                    <a:lnTo>
                      <a:pt x="48" y="182"/>
                    </a:lnTo>
                    <a:lnTo>
                      <a:pt x="50" y="188"/>
                    </a:lnTo>
                    <a:lnTo>
                      <a:pt x="54" y="192"/>
                    </a:lnTo>
                    <a:lnTo>
                      <a:pt x="58" y="192"/>
                    </a:lnTo>
                    <a:lnTo>
                      <a:pt x="60" y="192"/>
                    </a:lnTo>
                    <a:lnTo>
                      <a:pt x="62" y="188"/>
                    </a:lnTo>
                    <a:lnTo>
                      <a:pt x="66" y="178"/>
                    </a:lnTo>
                    <a:lnTo>
                      <a:pt x="70" y="166"/>
                    </a:lnTo>
                    <a:lnTo>
                      <a:pt x="74" y="158"/>
                    </a:lnTo>
                    <a:lnTo>
                      <a:pt x="82" y="164"/>
                    </a:lnTo>
                    <a:lnTo>
                      <a:pt x="90" y="170"/>
                    </a:lnTo>
                    <a:lnTo>
                      <a:pt x="98" y="174"/>
                    </a:lnTo>
                    <a:lnTo>
                      <a:pt x="110" y="176"/>
                    </a:lnTo>
                    <a:lnTo>
                      <a:pt x="116" y="176"/>
                    </a:lnTo>
                    <a:lnTo>
                      <a:pt x="118" y="172"/>
                    </a:lnTo>
                    <a:lnTo>
                      <a:pt x="122" y="170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2" y="172"/>
                    </a:lnTo>
                    <a:lnTo>
                      <a:pt x="134" y="176"/>
                    </a:lnTo>
                    <a:lnTo>
                      <a:pt x="142" y="174"/>
                    </a:lnTo>
                    <a:lnTo>
                      <a:pt x="148" y="174"/>
                    </a:lnTo>
                    <a:lnTo>
                      <a:pt x="160" y="174"/>
                    </a:lnTo>
                    <a:lnTo>
                      <a:pt x="176" y="174"/>
                    </a:lnTo>
                    <a:lnTo>
                      <a:pt x="190" y="178"/>
                    </a:lnTo>
                    <a:lnTo>
                      <a:pt x="204" y="184"/>
                    </a:lnTo>
                    <a:lnTo>
                      <a:pt x="218" y="194"/>
                    </a:lnTo>
                    <a:lnTo>
                      <a:pt x="220" y="198"/>
                    </a:lnTo>
                    <a:lnTo>
                      <a:pt x="222" y="202"/>
                    </a:lnTo>
                    <a:lnTo>
                      <a:pt x="224" y="208"/>
                    </a:lnTo>
                    <a:lnTo>
                      <a:pt x="228" y="212"/>
                    </a:lnTo>
                    <a:lnTo>
                      <a:pt x="242" y="224"/>
                    </a:lnTo>
                    <a:lnTo>
                      <a:pt x="260" y="236"/>
                    </a:lnTo>
                    <a:lnTo>
                      <a:pt x="276" y="250"/>
                    </a:lnTo>
                    <a:lnTo>
                      <a:pt x="282" y="260"/>
                    </a:lnTo>
                    <a:lnTo>
                      <a:pt x="288" y="268"/>
                    </a:lnTo>
                    <a:lnTo>
                      <a:pt x="302" y="260"/>
                    </a:lnTo>
                    <a:lnTo>
                      <a:pt x="312" y="254"/>
                    </a:lnTo>
                    <a:lnTo>
                      <a:pt x="306" y="248"/>
                    </a:lnTo>
                    <a:lnTo>
                      <a:pt x="298" y="242"/>
                    </a:lnTo>
                    <a:lnTo>
                      <a:pt x="290" y="236"/>
                    </a:lnTo>
                    <a:lnTo>
                      <a:pt x="286" y="230"/>
                    </a:lnTo>
                    <a:lnTo>
                      <a:pt x="282" y="218"/>
                    </a:lnTo>
                    <a:lnTo>
                      <a:pt x="280" y="214"/>
                    </a:lnTo>
                    <a:lnTo>
                      <a:pt x="276" y="210"/>
                    </a:lnTo>
                    <a:lnTo>
                      <a:pt x="266" y="206"/>
                    </a:lnTo>
                    <a:lnTo>
                      <a:pt x="258" y="202"/>
                    </a:lnTo>
                    <a:lnTo>
                      <a:pt x="250" y="200"/>
                    </a:lnTo>
                    <a:lnTo>
                      <a:pt x="242" y="192"/>
                    </a:lnTo>
                    <a:lnTo>
                      <a:pt x="236" y="184"/>
                    </a:lnTo>
                    <a:lnTo>
                      <a:pt x="230" y="176"/>
                    </a:lnTo>
                    <a:lnTo>
                      <a:pt x="224" y="168"/>
                    </a:lnTo>
                    <a:lnTo>
                      <a:pt x="216" y="162"/>
                    </a:lnTo>
                    <a:lnTo>
                      <a:pt x="204" y="158"/>
                    </a:lnTo>
                    <a:lnTo>
                      <a:pt x="194" y="158"/>
                    </a:lnTo>
                    <a:lnTo>
                      <a:pt x="184" y="154"/>
                    </a:lnTo>
                    <a:lnTo>
                      <a:pt x="174" y="150"/>
                    </a:lnTo>
                    <a:lnTo>
                      <a:pt x="170" y="144"/>
                    </a:lnTo>
                    <a:lnTo>
                      <a:pt x="168" y="138"/>
                    </a:lnTo>
                    <a:lnTo>
                      <a:pt x="164" y="132"/>
                    </a:lnTo>
                    <a:lnTo>
                      <a:pt x="158" y="128"/>
                    </a:lnTo>
                    <a:lnTo>
                      <a:pt x="156" y="130"/>
                    </a:lnTo>
                    <a:lnTo>
                      <a:pt x="154" y="128"/>
                    </a:lnTo>
                    <a:lnTo>
                      <a:pt x="148" y="126"/>
                    </a:lnTo>
                    <a:lnTo>
                      <a:pt x="142" y="118"/>
                    </a:lnTo>
                    <a:lnTo>
                      <a:pt x="134" y="108"/>
                    </a:lnTo>
                    <a:lnTo>
                      <a:pt x="124" y="88"/>
                    </a:lnTo>
                    <a:lnTo>
                      <a:pt x="118" y="72"/>
                    </a:lnTo>
                    <a:lnTo>
                      <a:pt x="114" y="52"/>
                    </a:lnTo>
                    <a:lnTo>
                      <a:pt x="106" y="30"/>
                    </a:lnTo>
                    <a:lnTo>
                      <a:pt x="102" y="20"/>
                    </a:lnTo>
                    <a:lnTo>
                      <a:pt x="96" y="10"/>
                    </a:lnTo>
                    <a:lnTo>
                      <a:pt x="90" y="4"/>
                    </a:lnTo>
                    <a:lnTo>
                      <a:pt x="82" y="0"/>
                    </a:lnTo>
                    <a:lnTo>
                      <a:pt x="82" y="6"/>
                    </a:lnTo>
                    <a:lnTo>
                      <a:pt x="80" y="14"/>
                    </a:lnTo>
                    <a:lnTo>
                      <a:pt x="76" y="18"/>
                    </a:lnTo>
                    <a:lnTo>
                      <a:pt x="72" y="24"/>
                    </a:lnTo>
                    <a:lnTo>
                      <a:pt x="60" y="32"/>
                    </a:lnTo>
                    <a:lnTo>
                      <a:pt x="48" y="38"/>
                    </a:lnTo>
                    <a:lnTo>
                      <a:pt x="36" y="46"/>
                    </a:lnTo>
                    <a:lnTo>
                      <a:pt x="24" y="54"/>
                    </a:lnTo>
                    <a:lnTo>
                      <a:pt x="20" y="58"/>
                    </a:lnTo>
                    <a:lnTo>
                      <a:pt x="16" y="64"/>
                    </a:lnTo>
                    <a:lnTo>
                      <a:pt x="14" y="70"/>
                    </a:lnTo>
                    <a:lnTo>
                      <a:pt x="14" y="78"/>
                    </a:lnTo>
                    <a:lnTo>
                      <a:pt x="14" y="92"/>
                    </a:lnTo>
                    <a:lnTo>
                      <a:pt x="12" y="104"/>
                    </a:lnTo>
                    <a:lnTo>
                      <a:pt x="6" y="118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2" y="168"/>
                    </a:lnTo>
                    <a:lnTo>
                      <a:pt x="2" y="186"/>
                    </a:lnTo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80" name="Freeform 50"/>
              <p:cNvSpPr>
                <a:spLocks/>
              </p:cNvSpPr>
              <p:nvPr/>
            </p:nvSpPr>
            <p:spPr bwMode="gray">
              <a:xfrm>
                <a:off x="4665663" y="1902620"/>
                <a:ext cx="1114425" cy="1401762"/>
              </a:xfrm>
              <a:custGeom>
                <a:avLst/>
                <a:gdLst>
                  <a:gd name="T0" fmla="*/ 2147483647 w 770"/>
                  <a:gd name="T1" fmla="*/ 2147483647 h 968"/>
                  <a:gd name="T2" fmla="*/ 2147483647 w 770"/>
                  <a:gd name="T3" fmla="*/ 2147483647 h 968"/>
                  <a:gd name="T4" fmla="*/ 2147483647 w 770"/>
                  <a:gd name="T5" fmla="*/ 2147483647 h 968"/>
                  <a:gd name="T6" fmla="*/ 2147483647 w 770"/>
                  <a:gd name="T7" fmla="*/ 2147483647 h 968"/>
                  <a:gd name="T8" fmla="*/ 2147483647 w 770"/>
                  <a:gd name="T9" fmla="*/ 2147483647 h 968"/>
                  <a:gd name="T10" fmla="*/ 2147483647 w 770"/>
                  <a:gd name="T11" fmla="*/ 2147483647 h 968"/>
                  <a:gd name="T12" fmla="*/ 2147483647 w 770"/>
                  <a:gd name="T13" fmla="*/ 2147483647 h 968"/>
                  <a:gd name="T14" fmla="*/ 2147483647 w 770"/>
                  <a:gd name="T15" fmla="*/ 2147483647 h 968"/>
                  <a:gd name="T16" fmla="*/ 2147483647 w 770"/>
                  <a:gd name="T17" fmla="*/ 2147483647 h 968"/>
                  <a:gd name="T18" fmla="*/ 2147483647 w 770"/>
                  <a:gd name="T19" fmla="*/ 2147483647 h 968"/>
                  <a:gd name="T20" fmla="*/ 2147483647 w 770"/>
                  <a:gd name="T21" fmla="*/ 2147483647 h 968"/>
                  <a:gd name="T22" fmla="*/ 2147483647 w 770"/>
                  <a:gd name="T23" fmla="*/ 2147483647 h 968"/>
                  <a:gd name="T24" fmla="*/ 2147483647 w 770"/>
                  <a:gd name="T25" fmla="*/ 2147483647 h 968"/>
                  <a:gd name="T26" fmla="*/ 2147483647 w 770"/>
                  <a:gd name="T27" fmla="*/ 2147483647 h 968"/>
                  <a:gd name="T28" fmla="*/ 2147483647 w 770"/>
                  <a:gd name="T29" fmla="*/ 2147483647 h 968"/>
                  <a:gd name="T30" fmla="*/ 2147483647 w 770"/>
                  <a:gd name="T31" fmla="*/ 2147483647 h 968"/>
                  <a:gd name="T32" fmla="*/ 2147483647 w 770"/>
                  <a:gd name="T33" fmla="*/ 2147483647 h 968"/>
                  <a:gd name="T34" fmla="*/ 2147483647 w 770"/>
                  <a:gd name="T35" fmla="*/ 2147483647 h 968"/>
                  <a:gd name="T36" fmla="*/ 2147483647 w 770"/>
                  <a:gd name="T37" fmla="*/ 2147483647 h 968"/>
                  <a:gd name="T38" fmla="*/ 2147483647 w 770"/>
                  <a:gd name="T39" fmla="*/ 2147483647 h 968"/>
                  <a:gd name="T40" fmla="*/ 2147483647 w 770"/>
                  <a:gd name="T41" fmla="*/ 2147483647 h 968"/>
                  <a:gd name="T42" fmla="*/ 2147483647 w 770"/>
                  <a:gd name="T43" fmla="*/ 2147483647 h 968"/>
                  <a:gd name="T44" fmla="*/ 2147483647 w 770"/>
                  <a:gd name="T45" fmla="*/ 2147483647 h 968"/>
                  <a:gd name="T46" fmla="*/ 2147483647 w 770"/>
                  <a:gd name="T47" fmla="*/ 2147483647 h 968"/>
                  <a:gd name="T48" fmla="*/ 2147483647 w 770"/>
                  <a:gd name="T49" fmla="*/ 2147483647 h 968"/>
                  <a:gd name="T50" fmla="*/ 2147483647 w 770"/>
                  <a:gd name="T51" fmla="*/ 2147483647 h 968"/>
                  <a:gd name="T52" fmla="*/ 2147483647 w 770"/>
                  <a:gd name="T53" fmla="*/ 2147483647 h 968"/>
                  <a:gd name="T54" fmla="*/ 2147483647 w 770"/>
                  <a:gd name="T55" fmla="*/ 2147483647 h 968"/>
                  <a:gd name="T56" fmla="*/ 2147483647 w 770"/>
                  <a:gd name="T57" fmla="*/ 2147483647 h 968"/>
                  <a:gd name="T58" fmla="*/ 2147483647 w 770"/>
                  <a:gd name="T59" fmla="*/ 2147483647 h 968"/>
                  <a:gd name="T60" fmla="*/ 2147483647 w 770"/>
                  <a:gd name="T61" fmla="*/ 2147483647 h 968"/>
                  <a:gd name="T62" fmla="*/ 2147483647 w 770"/>
                  <a:gd name="T63" fmla="*/ 2147483647 h 968"/>
                  <a:gd name="T64" fmla="*/ 2147483647 w 770"/>
                  <a:gd name="T65" fmla="*/ 2147483647 h 968"/>
                  <a:gd name="T66" fmla="*/ 2147483647 w 770"/>
                  <a:gd name="T67" fmla="*/ 2147483647 h 968"/>
                  <a:gd name="T68" fmla="*/ 2147483647 w 770"/>
                  <a:gd name="T69" fmla="*/ 2147483647 h 968"/>
                  <a:gd name="T70" fmla="*/ 2147483647 w 770"/>
                  <a:gd name="T71" fmla="*/ 2147483647 h 968"/>
                  <a:gd name="T72" fmla="*/ 2147483647 w 770"/>
                  <a:gd name="T73" fmla="*/ 2147483647 h 968"/>
                  <a:gd name="T74" fmla="*/ 2147483647 w 770"/>
                  <a:gd name="T75" fmla="*/ 2147483647 h 968"/>
                  <a:gd name="T76" fmla="*/ 2147483647 w 770"/>
                  <a:gd name="T77" fmla="*/ 2147483647 h 968"/>
                  <a:gd name="T78" fmla="*/ 2147483647 w 770"/>
                  <a:gd name="T79" fmla="*/ 2147483647 h 968"/>
                  <a:gd name="T80" fmla="*/ 2147483647 w 770"/>
                  <a:gd name="T81" fmla="*/ 2147483647 h 968"/>
                  <a:gd name="T82" fmla="*/ 2147483647 w 770"/>
                  <a:gd name="T83" fmla="*/ 2147483647 h 968"/>
                  <a:gd name="T84" fmla="*/ 2147483647 w 770"/>
                  <a:gd name="T85" fmla="*/ 2147483647 h 968"/>
                  <a:gd name="T86" fmla="*/ 2147483647 w 770"/>
                  <a:gd name="T87" fmla="*/ 2147483647 h 968"/>
                  <a:gd name="T88" fmla="*/ 2147483647 w 770"/>
                  <a:gd name="T89" fmla="*/ 2147483647 h 968"/>
                  <a:gd name="T90" fmla="*/ 2147483647 w 770"/>
                  <a:gd name="T91" fmla="*/ 2147483647 h 968"/>
                  <a:gd name="T92" fmla="*/ 2147483647 w 770"/>
                  <a:gd name="T93" fmla="*/ 2147483647 h 968"/>
                  <a:gd name="T94" fmla="*/ 2147483647 w 770"/>
                  <a:gd name="T95" fmla="*/ 2147483647 h 968"/>
                  <a:gd name="T96" fmla="*/ 2147483647 w 770"/>
                  <a:gd name="T97" fmla="*/ 2147483647 h 968"/>
                  <a:gd name="T98" fmla="*/ 2147483647 w 770"/>
                  <a:gd name="T99" fmla="*/ 2147483647 h 968"/>
                  <a:gd name="T100" fmla="*/ 0 w 770"/>
                  <a:gd name="T101" fmla="*/ 2147483647 h 968"/>
                  <a:gd name="T102" fmla="*/ 2147483647 w 770"/>
                  <a:gd name="T103" fmla="*/ 2147483647 h 968"/>
                  <a:gd name="T104" fmla="*/ 2147483647 w 770"/>
                  <a:gd name="T105" fmla="*/ 2147483647 h 968"/>
                  <a:gd name="T106" fmla="*/ 2147483647 w 770"/>
                  <a:gd name="T107" fmla="*/ 2147483647 h 968"/>
                  <a:gd name="T108" fmla="*/ 2147483647 w 770"/>
                  <a:gd name="T109" fmla="*/ 2147483647 h 968"/>
                  <a:gd name="T110" fmla="*/ 2147483647 w 770"/>
                  <a:gd name="T111" fmla="*/ 2147483647 h 96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70"/>
                  <a:gd name="T169" fmla="*/ 0 h 968"/>
                  <a:gd name="T170" fmla="*/ 770 w 770"/>
                  <a:gd name="T171" fmla="*/ 968 h 96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70" h="968">
                    <a:moveTo>
                      <a:pt x="96" y="192"/>
                    </a:moveTo>
                    <a:lnTo>
                      <a:pt x="94" y="170"/>
                    </a:lnTo>
                    <a:lnTo>
                      <a:pt x="140" y="170"/>
                    </a:lnTo>
                    <a:lnTo>
                      <a:pt x="134" y="72"/>
                    </a:lnTo>
                    <a:lnTo>
                      <a:pt x="508" y="64"/>
                    </a:lnTo>
                    <a:lnTo>
                      <a:pt x="514" y="66"/>
                    </a:lnTo>
                    <a:lnTo>
                      <a:pt x="520" y="68"/>
                    </a:lnTo>
                    <a:lnTo>
                      <a:pt x="524" y="70"/>
                    </a:lnTo>
                    <a:lnTo>
                      <a:pt x="530" y="72"/>
                    </a:lnTo>
                    <a:lnTo>
                      <a:pt x="534" y="70"/>
                    </a:lnTo>
                    <a:lnTo>
                      <a:pt x="538" y="68"/>
                    </a:lnTo>
                    <a:lnTo>
                      <a:pt x="540" y="62"/>
                    </a:lnTo>
                    <a:lnTo>
                      <a:pt x="542" y="56"/>
                    </a:lnTo>
                    <a:lnTo>
                      <a:pt x="544" y="52"/>
                    </a:lnTo>
                    <a:lnTo>
                      <a:pt x="550" y="48"/>
                    </a:lnTo>
                    <a:lnTo>
                      <a:pt x="558" y="48"/>
                    </a:lnTo>
                    <a:lnTo>
                      <a:pt x="564" y="48"/>
                    </a:lnTo>
                    <a:lnTo>
                      <a:pt x="570" y="46"/>
                    </a:lnTo>
                    <a:lnTo>
                      <a:pt x="574" y="42"/>
                    </a:lnTo>
                    <a:lnTo>
                      <a:pt x="578" y="38"/>
                    </a:lnTo>
                    <a:lnTo>
                      <a:pt x="582" y="26"/>
                    </a:lnTo>
                    <a:lnTo>
                      <a:pt x="590" y="18"/>
                    </a:lnTo>
                    <a:lnTo>
                      <a:pt x="600" y="10"/>
                    </a:lnTo>
                    <a:lnTo>
                      <a:pt x="618" y="0"/>
                    </a:lnTo>
                    <a:lnTo>
                      <a:pt x="624" y="8"/>
                    </a:lnTo>
                    <a:lnTo>
                      <a:pt x="632" y="14"/>
                    </a:lnTo>
                    <a:lnTo>
                      <a:pt x="640" y="18"/>
                    </a:lnTo>
                    <a:lnTo>
                      <a:pt x="648" y="24"/>
                    </a:lnTo>
                    <a:lnTo>
                      <a:pt x="666" y="44"/>
                    </a:lnTo>
                    <a:lnTo>
                      <a:pt x="676" y="54"/>
                    </a:lnTo>
                    <a:lnTo>
                      <a:pt x="682" y="66"/>
                    </a:lnTo>
                    <a:lnTo>
                      <a:pt x="690" y="78"/>
                    </a:lnTo>
                    <a:lnTo>
                      <a:pt x="694" y="90"/>
                    </a:lnTo>
                    <a:lnTo>
                      <a:pt x="696" y="106"/>
                    </a:lnTo>
                    <a:lnTo>
                      <a:pt x="698" y="122"/>
                    </a:lnTo>
                    <a:lnTo>
                      <a:pt x="700" y="142"/>
                    </a:lnTo>
                    <a:lnTo>
                      <a:pt x="708" y="170"/>
                    </a:lnTo>
                    <a:lnTo>
                      <a:pt x="718" y="196"/>
                    </a:lnTo>
                    <a:lnTo>
                      <a:pt x="722" y="206"/>
                    </a:lnTo>
                    <a:lnTo>
                      <a:pt x="726" y="212"/>
                    </a:lnTo>
                    <a:lnTo>
                      <a:pt x="738" y="218"/>
                    </a:lnTo>
                    <a:lnTo>
                      <a:pt x="752" y="226"/>
                    </a:lnTo>
                    <a:lnTo>
                      <a:pt x="764" y="234"/>
                    </a:lnTo>
                    <a:lnTo>
                      <a:pt x="768" y="238"/>
                    </a:lnTo>
                    <a:lnTo>
                      <a:pt x="770" y="242"/>
                    </a:lnTo>
                    <a:lnTo>
                      <a:pt x="770" y="250"/>
                    </a:lnTo>
                    <a:lnTo>
                      <a:pt x="766" y="256"/>
                    </a:lnTo>
                    <a:lnTo>
                      <a:pt x="764" y="262"/>
                    </a:lnTo>
                    <a:lnTo>
                      <a:pt x="760" y="266"/>
                    </a:lnTo>
                    <a:lnTo>
                      <a:pt x="748" y="274"/>
                    </a:lnTo>
                    <a:lnTo>
                      <a:pt x="736" y="280"/>
                    </a:lnTo>
                    <a:lnTo>
                      <a:pt x="724" y="288"/>
                    </a:lnTo>
                    <a:lnTo>
                      <a:pt x="712" y="296"/>
                    </a:lnTo>
                    <a:lnTo>
                      <a:pt x="708" y="300"/>
                    </a:lnTo>
                    <a:lnTo>
                      <a:pt x="704" y="306"/>
                    </a:lnTo>
                    <a:lnTo>
                      <a:pt x="702" y="312"/>
                    </a:lnTo>
                    <a:lnTo>
                      <a:pt x="702" y="320"/>
                    </a:lnTo>
                    <a:lnTo>
                      <a:pt x="702" y="334"/>
                    </a:lnTo>
                    <a:lnTo>
                      <a:pt x="700" y="346"/>
                    </a:lnTo>
                    <a:lnTo>
                      <a:pt x="694" y="362"/>
                    </a:lnTo>
                    <a:lnTo>
                      <a:pt x="690" y="376"/>
                    </a:lnTo>
                    <a:lnTo>
                      <a:pt x="688" y="392"/>
                    </a:lnTo>
                    <a:lnTo>
                      <a:pt x="688" y="402"/>
                    </a:lnTo>
                    <a:lnTo>
                      <a:pt x="690" y="414"/>
                    </a:lnTo>
                    <a:lnTo>
                      <a:pt x="692" y="424"/>
                    </a:lnTo>
                    <a:lnTo>
                      <a:pt x="692" y="434"/>
                    </a:lnTo>
                    <a:lnTo>
                      <a:pt x="690" y="446"/>
                    </a:lnTo>
                    <a:lnTo>
                      <a:pt x="688" y="456"/>
                    </a:lnTo>
                    <a:lnTo>
                      <a:pt x="684" y="464"/>
                    </a:lnTo>
                    <a:lnTo>
                      <a:pt x="682" y="470"/>
                    </a:lnTo>
                    <a:lnTo>
                      <a:pt x="682" y="480"/>
                    </a:lnTo>
                    <a:lnTo>
                      <a:pt x="684" y="490"/>
                    </a:lnTo>
                    <a:lnTo>
                      <a:pt x="684" y="500"/>
                    </a:lnTo>
                    <a:lnTo>
                      <a:pt x="682" y="504"/>
                    </a:lnTo>
                    <a:lnTo>
                      <a:pt x="680" y="508"/>
                    </a:lnTo>
                    <a:lnTo>
                      <a:pt x="676" y="510"/>
                    </a:lnTo>
                    <a:lnTo>
                      <a:pt x="672" y="512"/>
                    </a:lnTo>
                    <a:lnTo>
                      <a:pt x="664" y="512"/>
                    </a:lnTo>
                    <a:lnTo>
                      <a:pt x="658" y="516"/>
                    </a:lnTo>
                    <a:lnTo>
                      <a:pt x="654" y="522"/>
                    </a:lnTo>
                    <a:lnTo>
                      <a:pt x="652" y="528"/>
                    </a:lnTo>
                    <a:lnTo>
                      <a:pt x="648" y="534"/>
                    </a:lnTo>
                    <a:lnTo>
                      <a:pt x="644" y="542"/>
                    </a:lnTo>
                    <a:lnTo>
                      <a:pt x="640" y="550"/>
                    </a:lnTo>
                    <a:lnTo>
                      <a:pt x="636" y="566"/>
                    </a:lnTo>
                    <a:lnTo>
                      <a:pt x="632" y="584"/>
                    </a:lnTo>
                    <a:lnTo>
                      <a:pt x="628" y="604"/>
                    </a:lnTo>
                    <a:lnTo>
                      <a:pt x="626" y="606"/>
                    </a:lnTo>
                    <a:lnTo>
                      <a:pt x="622" y="606"/>
                    </a:lnTo>
                    <a:lnTo>
                      <a:pt x="614" y="608"/>
                    </a:lnTo>
                    <a:lnTo>
                      <a:pt x="610" y="608"/>
                    </a:lnTo>
                    <a:lnTo>
                      <a:pt x="606" y="610"/>
                    </a:lnTo>
                    <a:lnTo>
                      <a:pt x="604" y="614"/>
                    </a:lnTo>
                    <a:lnTo>
                      <a:pt x="602" y="620"/>
                    </a:lnTo>
                    <a:lnTo>
                      <a:pt x="602" y="634"/>
                    </a:lnTo>
                    <a:lnTo>
                      <a:pt x="598" y="644"/>
                    </a:lnTo>
                    <a:lnTo>
                      <a:pt x="596" y="654"/>
                    </a:lnTo>
                    <a:lnTo>
                      <a:pt x="592" y="662"/>
                    </a:lnTo>
                    <a:lnTo>
                      <a:pt x="592" y="672"/>
                    </a:lnTo>
                    <a:lnTo>
                      <a:pt x="592" y="704"/>
                    </a:lnTo>
                    <a:lnTo>
                      <a:pt x="590" y="712"/>
                    </a:lnTo>
                    <a:lnTo>
                      <a:pt x="584" y="718"/>
                    </a:lnTo>
                    <a:lnTo>
                      <a:pt x="578" y="722"/>
                    </a:lnTo>
                    <a:lnTo>
                      <a:pt x="570" y="722"/>
                    </a:lnTo>
                    <a:lnTo>
                      <a:pt x="556" y="726"/>
                    </a:lnTo>
                    <a:lnTo>
                      <a:pt x="552" y="730"/>
                    </a:lnTo>
                    <a:lnTo>
                      <a:pt x="550" y="736"/>
                    </a:lnTo>
                    <a:lnTo>
                      <a:pt x="550" y="738"/>
                    </a:lnTo>
                    <a:lnTo>
                      <a:pt x="546" y="742"/>
                    </a:lnTo>
                    <a:lnTo>
                      <a:pt x="544" y="744"/>
                    </a:lnTo>
                    <a:lnTo>
                      <a:pt x="544" y="748"/>
                    </a:lnTo>
                    <a:lnTo>
                      <a:pt x="544" y="752"/>
                    </a:lnTo>
                    <a:lnTo>
                      <a:pt x="546" y="754"/>
                    </a:lnTo>
                    <a:lnTo>
                      <a:pt x="554" y="756"/>
                    </a:lnTo>
                    <a:lnTo>
                      <a:pt x="562" y="756"/>
                    </a:lnTo>
                    <a:lnTo>
                      <a:pt x="570" y="756"/>
                    </a:lnTo>
                    <a:lnTo>
                      <a:pt x="584" y="768"/>
                    </a:lnTo>
                    <a:lnTo>
                      <a:pt x="600" y="782"/>
                    </a:lnTo>
                    <a:lnTo>
                      <a:pt x="616" y="796"/>
                    </a:lnTo>
                    <a:lnTo>
                      <a:pt x="628" y="810"/>
                    </a:lnTo>
                    <a:lnTo>
                      <a:pt x="630" y="816"/>
                    </a:lnTo>
                    <a:lnTo>
                      <a:pt x="634" y="822"/>
                    </a:lnTo>
                    <a:lnTo>
                      <a:pt x="636" y="834"/>
                    </a:lnTo>
                    <a:lnTo>
                      <a:pt x="640" y="848"/>
                    </a:lnTo>
                    <a:lnTo>
                      <a:pt x="642" y="854"/>
                    </a:lnTo>
                    <a:lnTo>
                      <a:pt x="646" y="860"/>
                    </a:lnTo>
                    <a:lnTo>
                      <a:pt x="650" y="864"/>
                    </a:lnTo>
                    <a:lnTo>
                      <a:pt x="656" y="866"/>
                    </a:lnTo>
                    <a:lnTo>
                      <a:pt x="664" y="866"/>
                    </a:lnTo>
                    <a:lnTo>
                      <a:pt x="670" y="866"/>
                    </a:lnTo>
                    <a:lnTo>
                      <a:pt x="674" y="868"/>
                    </a:lnTo>
                    <a:lnTo>
                      <a:pt x="678" y="872"/>
                    </a:lnTo>
                    <a:lnTo>
                      <a:pt x="680" y="880"/>
                    </a:lnTo>
                    <a:lnTo>
                      <a:pt x="682" y="888"/>
                    </a:lnTo>
                    <a:lnTo>
                      <a:pt x="682" y="898"/>
                    </a:lnTo>
                    <a:lnTo>
                      <a:pt x="682" y="904"/>
                    </a:lnTo>
                    <a:lnTo>
                      <a:pt x="684" y="908"/>
                    </a:lnTo>
                    <a:lnTo>
                      <a:pt x="612" y="908"/>
                    </a:lnTo>
                    <a:lnTo>
                      <a:pt x="604" y="918"/>
                    </a:lnTo>
                    <a:lnTo>
                      <a:pt x="590" y="934"/>
                    </a:lnTo>
                    <a:lnTo>
                      <a:pt x="576" y="946"/>
                    </a:lnTo>
                    <a:lnTo>
                      <a:pt x="570" y="950"/>
                    </a:lnTo>
                    <a:lnTo>
                      <a:pt x="564" y="952"/>
                    </a:lnTo>
                    <a:lnTo>
                      <a:pt x="548" y="952"/>
                    </a:lnTo>
                    <a:lnTo>
                      <a:pt x="540" y="952"/>
                    </a:lnTo>
                    <a:lnTo>
                      <a:pt x="530" y="956"/>
                    </a:lnTo>
                    <a:lnTo>
                      <a:pt x="518" y="958"/>
                    </a:lnTo>
                    <a:lnTo>
                      <a:pt x="508" y="960"/>
                    </a:lnTo>
                    <a:lnTo>
                      <a:pt x="500" y="960"/>
                    </a:lnTo>
                    <a:lnTo>
                      <a:pt x="494" y="956"/>
                    </a:lnTo>
                    <a:lnTo>
                      <a:pt x="488" y="954"/>
                    </a:lnTo>
                    <a:lnTo>
                      <a:pt x="478" y="954"/>
                    </a:lnTo>
                    <a:lnTo>
                      <a:pt x="470" y="954"/>
                    </a:lnTo>
                    <a:lnTo>
                      <a:pt x="464" y="956"/>
                    </a:lnTo>
                    <a:lnTo>
                      <a:pt x="452" y="960"/>
                    </a:lnTo>
                    <a:lnTo>
                      <a:pt x="444" y="966"/>
                    </a:lnTo>
                    <a:lnTo>
                      <a:pt x="440" y="968"/>
                    </a:lnTo>
                    <a:lnTo>
                      <a:pt x="436" y="968"/>
                    </a:lnTo>
                    <a:lnTo>
                      <a:pt x="432" y="968"/>
                    </a:lnTo>
                    <a:lnTo>
                      <a:pt x="430" y="966"/>
                    </a:lnTo>
                    <a:lnTo>
                      <a:pt x="428" y="962"/>
                    </a:lnTo>
                    <a:lnTo>
                      <a:pt x="428" y="956"/>
                    </a:lnTo>
                    <a:lnTo>
                      <a:pt x="428" y="954"/>
                    </a:lnTo>
                    <a:lnTo>
                      <a:pt x="426" y="952"/>
                    </a:lnTo>
                    <a:lnTo>
                      <a:pt x="422" y="950"/>
                    </a:lnTo>
                    <a:lnTo>
                      <a:pt x="414" y="950"/>
                    </a:lnTo>
                    <a:lnTo>
                      <a:pt x="408" y="946"/>
                    </a:lnTo>
                    <a:lnTo>
                      <a:pt x="404" y="942"/>
                    </a:lnTo>
                    <a:lnTo>
                      <a:pt x="398" y="932"/>
                    </a:lnTo>
                    <a:lnTo>
                      <a:pt x="390" y="922"/>
                    </a:lnTo>
                    <a:lnTo>
                      <a:pt x="386" y="918"/>
                    </a:lnTo>
                    <a:lnTo>
                      <a:pt x="378" y="918"/>
                    </a:lnTo>
                    <a:lnTo>
                      <a:pt x="374" y="920"/>
                    </a:lnTo>
                    <a:lnTo>
                      <a:pt x="372" y="924"/>
                    </a:lnTo>
                    <a:lnTo>
                      <a:pt x="368" y="928"/>
                    </a:lnTo>
                    <a:lnTo>
                      <a:pt x="364" y="930"/>
                    </a:lnTo>
                    <a:lnTo>
                      <a:pt x="358" y="928"/>
                    </a:lnTo>
                    <a:lnTo>
                      <a:pt x="352" y="926"/>
                    </a:lnTo>
                    <a:lnTo>
                      <a:pt x="344" y="926"/>
                    </a:lnTo>
                    <a:lnTo>
                      <a:pt x="338" y="924"/>
                    </a:lnTo>
                    <a:lnTo>
                      <a:pt x="332" y="926"/>
                    </a:lnTo>
                    <a:lnTo>
                      <a:pt x="328" y="928"/>
                    </a:lnTo>
                    <a:lnTo>
                      <a:pt x="324" y="932"/>
                    </a:lnTo>
                    <a:lnTo>
                      <a:pt x="318" y="934"/>
                    </a:lnTo>
                    <a:lnTo>
                      <a:pt x="312" y="932"/>
                    </a:lnTo>
                    <a:lnTo>
                      <a:pt x="308" y="930"/>
                    </a:lnTo>
                    <a:lnTo>
                      <a:pt x="300" y="924"/>
                    </a:lnTo>
                    <a:lnTo>
                      <a:pt x="292" y="910"/>
                    </a:lnTo>
                    <a:lnTo>
                      <a:pt x="286" y="904"/>
                    </a:lnTo>
                    <a:lnTo>
                      <a:pt x="278" y="900"/>
                    </a:lnTo>
                    <a:lnTo>
                      <a:pt x="272" y="896"/>
                    </a:lnTo>
                    <a:lnTo>
                      <a:pt x="268" y="894"/>
                    </a:lnTo>
                    <a:lnTo>
                      <a:pt x="264" y="888"/>
                    </a:lnTo>
                    <a:lnTo>
                      <a:pt x="266" y="882"/>
                    </a:lnTo>
                    <a:lnTo>
                      <a:pt x="266" y="876"/>
                    </a:lnTo>
                    <a:lnTo>
                      <a:pt x="266" y="872"/>
                    </a:lnTo>
                    <a:lnTo>
                      <a:pt x="260" y="864"/>
                    </a:lnTo>
                    <a:lnTo>
                      <a:pt x="254" y="860"/>
                    </a:lnTo>
                    <a:lnTo>
                      <a:pt x="238" y="852"/>
                    </a:lnTo>
                    <a:lnTo>
                      <a:pt x="232" y="848"/>
                    </a:lnTo>
                    <a:lnTo>
                      <a:pt x="228" y="844"/>
                    </a:lnTo>
                    <a:lnTo>
                      <a:pt x="222" y="832"/>
                    </a:lnTo>
                    <a:lnTo>
                      <a:pt x="218" y="818"/>
                    </a:lnTo>
                    <a:lnTo>
                      <a:pt x="214" y="812"/>
                    </a:lnTo>
                    <a:lnTo>
                      <a:pt x="210" y="808"/>
                    </a:lnTo>
                    <a:lnTo>
                      <a:pt x="184" y="790"/>
                    </a:lnTo>
                    <a:lnTo>
                      <a:pt x="170" y="782"/>
                    </a:lnTo>
                    <a:lnTo>
                      <a:pt x="166" y="778"/>
                    </a:lnTo>
                    <a:lnTo>
                      <a:pt x="166" y="774"/>
                    </a:lnTo>
                    <a:lnTo>
                      <a:pt x="166" y="762"/>
                    </a:lnTo>
                    <a:lnTo>
                      <a:pt x="164" y="758"/>
                    </a:lnTo>
                    <a:lnTo>
                      <a:pt x="162" y="756"/>
                    </a:lnTo>
                    <a:lnTo>
                      <a:pt x="156" y="752"/>
                    </a:lnTo>
                    <a:lnTo>
                      <a:pt x="148" y="748"/>
                    </a:lnTo>
                    <a:lnTo>
                      <a:pt x="138" y="746"/>
                    </a:lnTo>
                    <a:lnTo>
                      <a:pt x="128" y="744"/>
                    </a:lnTo>
                    <a:lnTo>
                      <a:pt x="120" y="742"/>
                    </a:lnTo>
                    <a:lnTo>
                      <a:pt x="116" y="736"/>
                    </a:lnTo>
                    <a:lnTo>
                      <a:pt x="116" y="734"/>
                    </a:lnTo>
                    <a:lnTo>
                      <a:pt x="116" y="730"/>
                    </a:lnTo>
                    <a:lnTo>
                      <a:pt x="116" y="720"/>
                    </a:lnTo>
                    <a:lnTo>
                      <a:pt x="96" y="720"/>
                    </a:lnTo>
                    <a:lnTo>
                      <a:pt x="90" y="720"/>
                    </a:lnTo>
                    <a:lnTo>
                      <a:pt x="86" y="714"/>
                    </a:lnTo>
                    <a:lnTo>
                      <a:pt x="82" y="708"/>
                    </a:lnTo>
                    <a:lnTo>
                      <a:pt x="80" y="700"/>
                    </a:lnTo>
                    <a:lnTo>
                      <a:pt x="82" y="692"/>
                    </a:lnTo>
                    <a:lnTo>
                      <a:pt x="86" y="688"/>
                    </a:lnTo>
                    <a:lnTo>
                      <a:pt x="90" y="682"/>
                    </a:lnTo>
                    <a:lnTo>
                      <a:pt x="90" y="676"/>
                    </a:lnTo>
                    <a:lnTo>
                      <a:pt x="90" y="666"/>
                    </a:lnTo>
                    <a:lnTo>
                      <a:pt x="84" y="658"/>
                    </a:lnTo>
                    <a:lnTo>
                      <a:pt x="78" y="650"/>
                    </a:lnTo>
                    <a:lnTo>
                      <a:pt x="72" y="640"/>
                    </a:lnTo>
                    <a:lnTo>
                      <a:pt x="58" y="626"/>
                    </a:lnTo>
                    <a:lnTo>
                      <a:pt x="54" y="618"/>
                    </a:lnTo>
                    <a:lnTo>
                      <a:pt x="52" y="612"/>
                    </a:lnTo>
                    <a:lnTo>
                      <a:pt x="52" y="608"/>
                    </a:lnTo>
                    <a:lnTo>
                      <a:pt x="54" y="606"/>
                    </a:lnTo>
                    <a:lnTo>
                      <a:pt x="56" y="604"/>
                    </a:lnTo>
                    <a:lnTo>
                      <a:pt x="58" y="600"/>
                    </a:lnTo>
                    <a:lnTo>
                      <a:pt x="56" y="592"/>
                    </a:lnTo>
                    <a:lnTo>
                      <a:pt x="52" y="588"/>
                    </a:lnTo>
                    <a:lnTo>
                      <a:pt x="46" y="586"/>
                    </a:lnTo>
                    <a:lnTo>
                      <a:pt x="42" y="582"/>
                    </a:lnTo>
                    <a:lnTo>
                      <a:pt x="40" y="576"/>
                    </a:lnTo>
                    <a:lnTo>
                      <a:pt x="38" y="568"/>
                    </a:lnTo>
                    <a:lnTo>
                      <a:pt x="34" y="548"/>
                    </a:lnTo>
                    <a:lnTo>
                      <a:pt x="30" y="540"/>
                    </a:lnTo>
                    <a:lnTo>
                      <a:pt x="26" y="532"/>
                    </a:lnTo>
                    <a:lnTo>
                      <a:pt x="18" y="528"/>
                    </a:lnTo>
                    <a:lnTo>
                      <a:pt x="8" y="526"/>
                    </a:lnTo>
                    <a:lnTo>
                      <a:pt x="4" y="526"/>
                    </a:lnTo>
                    <a:lnTo>
                      <a:pt x="2" y="524"/>
                    </a:lnTo>
                    <a:lnTo>
                      <a:pt x="0" y="518"/>
                    </a:lnTo>
                    <a:lnTo>
                      <a:pt x="2" y="512"/>
                    </a:lnTo>
                    <a:lnTo>
                      <a:pt x="6" y="506"/>
                    </a:lnTo>
                    <a:lnTo>
                      <a:pt x="16" y="500"/>
                    </a:lnTo>
                    <a:lnTo>
                      <a:pt x="14" y="500"/>
                    </a:lnTo>
                    <a:lnTo>
                      <a:pt x="20" y="496"/>
                    </a:lnTo>
                    <a:lnTo>
                      <a:pt x="22" y="490"/>
                    </a:lnTo>
                    <a:lnTo>
                      <a:pt x="20" y="486"/>
                    </a:lnTo>
                    <a:lnTo>
                      <a:pt x="18" y="480"/>
                    </a:lnTo>
                    <a:lnTo>
                      <a:pt x="14" y="472"/>
                    </a:lnTo>
                    <a:lnTo>
                      <a:pt x="28" y="464"/>
                    </a:lnTo>
                    <a:lnTo>
                      <a:pt x="34" y="458"/>
                    </a:lnTo>
                    <a:lnTo>
                      <a:pt x="36" y="452"/>
                    </a:lnTo>
                    <a:lnTo>
                      <a:pt x="36" y="450"/>
                    </a:lnTo>
                    <a:lnTo>
                      <a:pt x="32" y="446"/>
                    </a:lnTo>
                    <a:lnTo>
                      <a:pt x="30" y="444"/>
                    </a:lnTo>
                    <a:lnTo>
                      <a:pt x="28" y="438"/>
                    </a:lnTo>
                    <a:lnTo>
                      <a:pt x="28" y="432"/>
                    </a:lnTo>
                    <a:lnTo>
                      <a:pt x="40" y="432"/>
                    </a:lnTo>
                    <a:lnTo>
                      <a:pt x="44" y="422"/>
                    </a:lnTo>
                    <a:lnTo>
                      <a:pt x="50" y="412"/>
                    </a:lnTo>
                    <a:lnTo>
                      <a:pt x="52" y="398"/>
                    </a:lnTo>
                    <a:lnTo>
                      <a:pt x="54" y="386"/>
                    </a:lnTo>
                    <a:lnTo>
                      <a:pt x="76" y="382"/>
                    </a:lnTo>
                    <a:lnTo>
                      <a:pt x="100" y="380"/>
                    </a:lnTo>
                    <a:lnTo>
                      <a:pt x="98" y="192"/>
                    </a:lnTo>
                  </a:path>
                </a:pathLst>
              </a:custGeom>
              <a:solidFill>
                <a:srgbClr val="FFF5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2011363" y="2310607"/>
              <a:ext cx="4056062" cy="3625850"/>
              <a:chOff x="2011363" y="2310607"/>
              <a:chExt cx="4056062" cy="3625850"/>
            </a:xfrm>
          </p:grpSpPr>
          <p:sp>
            <p:nvSpPr>
              <p:cNvPr id="151" name="Freeform 11"/>
              <p:cNvSpPr>
                <a:spLocks/>
              </p:cNvSpPr>
              <p:nvPr/>
            </p:nvSpPr>
            <p:spPr bwMode="gray">
              <a:xfrm>
                <a:off x="5530850" y="3204370"/>
                <a:ext cx="536575" cy="681037"/>
              </a:xfrm>
              <a:custGeom>
                <a:avLst/>
                <a:gdLst>
                  <a:gd name="T0" fmla="*/ 0 w 370"/>
                  <a:gd name="T1" fmla="*/ 2147483647 h 471"/>
                  <a:gd name="T2" fmla="*/ 2147483647 w 370"/>
                  <a:gd name="T3" fmla="*/ 2147483647 h 471"/>
                  <a:gd name="T4" fmla="*/ 2147483647 w 370"/>
                  <a:gd name="T5" fmla="*/ 2147483647 h 471"/>
                  <a:gd name="T6" fmla="*/ 2147483647 w 370"/>
                  <a:gd name="T7" fmla="*/ 2147483647 h 471"/>
                  <a:gd name="T8" fmla="*/ 2147483647 w 370"/>
                  <a:gd name="T9" fmla="*/ 2147483647 h 471"/>
                  <a:gd name="T10" fmla="*/ 2147483647 w 370"/>
                  <a:gd name="T11" fmla="*/ 2147483647 h 471"/>
                  <a:gd name="T12" fmla="*/ 2147483647 w 370"/>
                  <a:gd name="T13" fmla="*/ 2147483647 h 471"/>
                  <a:gd name="T14" fmla="*/ 2147483647 w 370"/>
                  <a:gd name="T15" fmla="*/ 2147483647 h 471"/>
                  <a:gd name="T16" fmla="*/ 0 w 370"/>
                  <a:gd name="T17" fmla="*/ 2147483647 h 471"/>
                  <a:gd name="T18" fmla="*/ 2147483647 w 370"/>
                  <a:gd name="T19" fmla="*/ 2147483647 h 471"/>
                  <a:gd name="T20" fmla="*/ 2147483647 w 370"/>
                  <a:gd name="T21" fmla="*/ 2147483647 h 471"/>
                  <a:gd name="T22" fmla="*/ 2147483647 w 370"/>
                  <a:gd name="T23" fmla="*/ 2147483647 h 471"/>
                  <a:gd name="T24" fmla="*/ 2147483647 w 370"/>
                  <a:gd name="T25" fmla="*/ 2147483647 h 471"/>
                  <a:gd name="T26" fmla="*/ 2147483647 w 370"/>
                  <a:gd name="T27" fmla="*/ 2147483647 h 471"/>
                  <a:gd name="T28" fmla="*/ 2147483647 w 370"/>
                  <a:gd name="T29" fmla="*/ 2147483647 h 471"/>
                  <a:gd name="T30" fmla="*/ 0 w 370"/>
                  <a:gd name="T31" fmla="*/ 2147483647 h 471"/>
                  <a:gd name="T32" fmla="*/ 2147483647 w 370"/>
                  <a:gd name="T33" fmla="*/ 2147483647 h 471"/>
                  <a:gd name="T34" fmla="*/ 2147483647 w 370"/>
                  <a:gd name="T35" fmla="*/ 2147483647 h 471"/>
                  <a:gd name="T36" fmla="*/ 2147483647 w 370"/>
                  <a:gd name="T37" fmla="*/ 2147483647 h 471"/>
                  <a:gd name="T38" fmla="*/ 2147483647 w 370"/>
                  <a:gd name="T39" fmla="*/ 2147483647 h 471"/>
                  <a:gd name="T40" fmla="*/ 2147483647 w 370"/>
                  <a:gd name="T41" fmla="*/ 2147483647 h 471"/>
                  <a:gd name="T42" fmla="*/ 2147483647 w 370"/>
                  <a:gd name="T43" fmla="*/ 2147483647 h 471"/>
                  <a:gd name="T44" fmla="*/ 2147483647 w 370"/>
                  <a:gd name="T45" fmla="*/ 2147483647 h 471"/>
                  <a:gd name="T46" fmla="*/ 2147483647 w 370"/>
                  <a:gd name="T47" fmla="*/ 2147483647 h 471"/>
                  <a:gd name="T48" fmla="*/ 2147483647 w 370"/>
                  <a:gd name="T49" fmla="*/ 2147483647 h 471"/>
                  <a:gd name="T50" fmla="*/ 2147483647 w 370"/>
                  <a:gd name="T51" fmla="*/ 2147483647 h 471"/>
                  <a:gd name="T52" fmla="*/ 2147483647 w 370"/>
                  <a:gd name="T53" fmla="*/ 2147483647 h 471"/>
                  <a:gd name="T54" fmla="*/ 2147483647 w 370"/>
                  <a:gd name="T55" fmla="*/ 2147483647 h 471"/>
                  <a:gd name="T56" fmla="*/ 2147483647 w 370"/>
                  <a:gd name="T57" fmla="*/ 2147483647 h 471"/>
                  <a:gd name="T58" fmla="*/ 2147483647 w 370"/>
                  <a:gd name="T59" fmla="*/ 2147483647 h 471"/>
                  <a:gd name="T60" fmla="*/ 2147483647 w 370"/>
                  <a:gd name="T61" fmla="*/ 2147483647 h 471"/>
                  <a:gd name="T62" fmla="*/ 2147483647 w 370"/>
                  <a:gd name="T63" fmla="*/ 2147483647 h 471"/>
                  <a:gd name="T64" fmla="*/ 2147483647 w 370"/>
                  <a:gd name="T65" fmla="*/ 2147483647 h 471"/>
                  <a:gd name="T66" fmla="*/ 2147483647 w 370"/>
                  <a:gd name="T67" fmla="*/ 2147483647 h 471"/>
                  <a:gd name="T68" fmla="*/ 2147483647 w 370"/>
                  <a:gd name="T69" fmla="*/ 2147483647 h 471"/>
                  <a:gd name="T70" fmla="*/ 2147483647 w 370"/>
                  <a:gd name="T71" fmla="*/ 2147483647 h 471"/>
                  <a:gd name="T72" fmla="*/ 2147483647 w 370"/>
                  <a:gd name="T73" fmla="*/ 2147483647 h 471"/>
                  <a:gd name="T74" fmla="*/ 2147483647 w 370"/>
                  <a:gd name="T75" fmla="*/ 2147483647 h 471"/>
                  <a:gd name="T76" fmla="*/ 2147483647 w 370"/>
                  <a:gd name="T77" fmla="*/ 2147483647 h 471"/>
                  <a:gd name="T78" fmla="*/ 2147483647 w 370"/>
                  <a:gd name="T79" fmla="*/ 2147483647 h 471"/>
                  <a:gd name="T80" fmla="*/ 2147483647 w 370"/>
                  <a:gd name="T81" fmla="*/ 2147483647 h 471"/>
                  <a:gd name="T82" fmla="*/ 2147483647 w 370"/>
                  <a:gd name="T83" fmla="*/ 2147483647 h 471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370"/>
                  <a:gd name="T127" fmla="*/ 0 h 471"/>
                  <a:gd name="T128" fmla="*/ 370 w 370"/>
                  <a:gd name="T129" fmla="*/ 471 h 471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370" h="471">
                    <a:moveTo>
                      <a:pt x="2" y="291"/>
                    </a:moveTo>
                    <a:lnTo>
                      <a:pt x="0" y="289"/>
                    </a:lnTo>
                    <a:lnTo>
                      <a:pt x="0" y="287"/>
                    </a:lnTo>
                    <a:lnTo>
                      <a:pt x="2" y="285"/>
                    </a:lnTo>
                    <a:lnTo>
                      <a:pt x="4" y="277"/>
                    </a:lnTo>
                    <a:lnTo>
                      <a:pt x="6" y="269"/>
                    </a:lnTo>
                    <a:lnTo>
                      <a:pt x="8" y="265"/>
                    </a:lnTo>
                    <a:lnTo>
                      <a:pt x="12" y="263"/>
                    </a:lnTo>
                    <a:lnTo>
                      <a:pt x="18" y="261"/>
                    </a:lnTo>
                    <a:lnTo>
                      <a:pt x="24" y="261"/>
                    </a:lnTo>
                    <a:lnTo>
                      <a:pt x="30" y="259"/>
                    </a:lnTo>
                    <a:lnTo>
                      <a:pt x="36" y="255"/>
                    </a:lnTo>
                    <a:lnTo>
                      <a:pt x="34" y="251"/>
                    </a:lnTo>
                    <a:lnTo>
                      <a:pt x="30" y="251"/>
                    </a:lnTo>
                    <a:lnTo>
                      <a:pt x="22" y="251"/>
                    </a:lnTo>
                    <a:lnTo>
                      <a:pt x="12" y="251"/>
                    </a:lnTo>
                    <a:lnTo>
                      <a:pt x="0" y="249"/>
                    </a:lnTo>
                    <a:lnTo>
                      <a:pt x="0" y="241"/>
                    </a:lnTo>
                    <a:lnTo>
                      <a:pt x="2" y="231"/>
                    </a:lnTo>
                    <a:lnTo>
                      <a:pt x="8" y="219"/>
                    </a:lnTo>
                    <a:lnTo>
                      <a:pt x="14" y="209"/>
                    </a:lnTo>
                    <a:lnTo>
                      <a:pt x="30" y="189"/>
                    </a:lnTo>
                    <a:lnTo>
                      <a:pt x="38" y="181"/>
                    </a:lnTo>
                    <a:lnTo>
                      <a:pt x="44" y="168"/>
                    </a:lnTo>
                    <a:lnTo>
                      <a:pt x="48" y="156"/>
                    </a:lnTo>
                    <a:lnTo>
                      <a:pt x="50" y="144"/>
                    </a:lnTo>
                    <a:lnTo>
                      <a:pt x="48" y="126"/>
                    </a:lnTo>
                    <a:lnTo>
                      <a:pt x="44" y="110"/>
                    </a:lnTo>
                    <a:lnTo>
                      <a:pt x="38" y="94"/>
                    </a:lnTo>
                    <a:lnTo>
                      <a:pt x="30" y="80"/>
                    </a:lnTo>
                    <a:lnTo>
                      <a:pt x="14" y="52"/>
                    </a:lnTo>
                    <a:lnTo>
                      <a:pt x="0" y="26"/>
                    </a:lnTo>
                    <a:lnTo>
                      <a:pt x="14" y="10"/>
                    </a:lnTo>
                    <a:lnTo>
                      <a:pt x="86" y="10"/>
                    </a:lnTo>
                    <a:lnTo>
                      <a:pt x="84" y="0"/>
                    </a:lnTo>
                    <a:lnTo>
                      <a:pt x="84" y="6"/>
                    </a:lnTo>
                    <a:lnTo>
                      <a:pt x="86" y="10"/>
                    </a:lnTo>
                    <a:lnTo>
                      <a:pt x="116" y="20"/>
                    </a:lnTo>
                    <a:lnTo>
                      <a:pt x="140" y="28"/>
                    </a:lnTo>
                    <a:lnTo>
                      <a:pt x="162" y="38"/>
                    </a:lnTo>
                    <a:lnTo>
                      <a:pt x="174" y="46"/>
                    </a:lnTo>
                    <a:lnTo>
                      <a:pt x="186" y="56"/>
                    </a:lnTo>
                    <a:lnTo>
                      <a:pt x="222" y="56"/>
                    </a:lnTo>
                    <a:lnTo>
                      <a:pt x="228" y="58"/>
                    </a:lnTo>
                    <a:lnTo>
                      <a:pt x="238" y="62"/>
                    </a:lnTo>
                    <a:lnTo>
                      <a:pt x="246" y="64"/>
                    </a:lnTo>
                    <a:lnTo>
                      <a:pt x="256" y="64"/>
                    </a:lnTo>
                    <a:lnTo>
                      <a:pt x="264" y="62"/>
                    </a:lnTo>
                    <a:lnTo>
                      <a:pt x="272" y="58"/>
                    </a:lnTo>
                    <a:lnTo>
                      <a:pt x="284" y="42"/>
                    </a:lnTo>
                    <a:lnTo>
                      <a:pt x="292" y="34"/>
                    </a:lnTo>
                    <a:lnTo>
                      <a:pt x="298" y="28"/>
                    </a:lnTo>
                    <a:lnTo>
                      <a:pt x="308" y="22"/>
                    </a:lnTo>
                    <a:lnTo>
                      <a:pt x="318" y="20"/>
                    </a:lnTo>
                    <a:lnTo>
                      <a:pt x="322" y="22"/>
                    </a:lnTo>
                    <a:lnTo>
                      <a:pt x="324" y="22"/>
                    </a:lnTo>
                    <a:lnTo>
                      <a:pt x="330" y="28"/>
                    </a:lnTo>
                    <a:lnTo>
                      <a:pt x="336" y="32"/>
                    </a:lnTo>
                    <a:lnTo>
                      <a:pt x="340" y="34"/>
                    </a:lnTo>
                    <a:lnTo>
                      <a:pt x="344" y="36"/>
                    </a:lnTo>
                    <a:lnTo>
                      <a:pt x="358" y="34"/>
                    </a:lnTo>
                    <a:lnTo>
                      <a:pt x="370" y="32"/>
                    </a:lnTo>
                    <a:lnTo>
                      <a:pt x="370" y="40"/>
                    </a:lnTo>
                    <a:lnTo>
                      <a:pt x="366" y="50"/>
                    </a:lnTo>
                    <a:lnTo>
                      <a:pt x="358" y="66"/>
                    </a:lnTo>
                    <a:lnTo>
                      <a:pt x="346" y="80"/>
                    </a:lnTo>
                    <a:lnTo>
                      <a:pt x="334" y="90"/>
                    </a:lnTo>
                    <a:lnTo>
                      <a:pt x="334" y="273"/>
                    </a:lnTo>
                    <a:lnTo>
                      <a:pt x="364" y="317"/>
                    </a:lnTo>
                    <a:lnTo>
                      <a:pt x="358" y="327"/>
                    </a:lnTo>
                    <a:lnTo>
                      <a:pt x="346" y="339"/>
                    </a:lnTo>
                    <a:lnTo>
                      <a:pt x="326" y="359"/>
                    </a:lnTo>
                    <a:lnTo>
                      <a:pt x="310" y="369"/>
                    </a:lnTo>
                    <a:lnTo>
                      <a:pt x="302" y="377"/>
                    </a:lnTo>
                    <a:lnTo>
                      <a:pt x="300" y="383"/>
                    </a:lnTo>
                    <a:lnTo>
                      <a:pt x="298" y="389"/>
                    </a:lnTo>
                    <a:lnTo>
                      <a:pt x="296" y="399"/>
                    </a:lnTo>
                    <a:lnTo>
                      <a:pt x="292" y="411"/>
                    </a:lnTo>
                    <a:lnTo>
                      <a:pt x="278" y="433"/>
                    </a:lnTo>
                    <a:lnTo>
                      <a:pt x="264" y="455"/>
                    </a:lnTo>
                    <a:lnTo>
                      <a:pt x="248" y="471"/>
                    </a:lnTo>
                    <a:lnTo>
                      <a:pt x="174" y="413"/>
                    </a:lnTo>
                    <a:lnTo>
                      <a:pt x="180" y="391"/>
                    </a:lnTo>
                    <a:lnTo>
                      <a:pt x="2" y="291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52" name="Freeform 19"/>
              <p:cNvSpPr>
                <a:spLocks/>
              </p:cNvSpPr>
              <p:nvPr/>
            </p:nvSpPr>
            <p:spPr bwMode="gray">
              <a:xfrm>
                <a:off x="4268788" y="5112545"/>
                <a:ext cx="1095375" cy="823912"/>
              </a:xfrm>
              <a:custGeom>
                <a:avLst/>
                <a:gdLst>
                  <a:gd name="T0" fmla="*/ 2147483647 w 736"/>
                  <a:gd name="T1" fmla="*/ 2147483647 h 590"/>
                  <a:gd name="T2" fmla="*/ 2147483647 w 736"/>
                  <a:gd name="T3" fmla="*/ 2147483647 h 590"/>
                  <a:gd name="T4" fmla="*/ 2147483647 w 736"/>
                  <a:gd name="T5" fmla="*/ 2147483647 h 590"/>
                  <a:gd name="T6" fmla="*/ 2147483647 w 736"/>
                  <a:gd name="T7" fmla="*/ 2147483647 h 590"/>
                  <a:gd name="T8" fmla="*/ 2147483647 w 736"/>
                  <a:gd name="T9" fmla="*/ 2147483647 h 590"/>
                  <a:gd name="T10" fmla="*/ 2147483647 w 736"/>
                  <a:gd name="T11" fmla="*/ 2147483647 h 590"/>
                  <a:gd name="T12" fmla="*/ 2147483647 w 736"/>
                  <a:gd name="T13" fmla="*/ 2147483647 h 590"/>
                  <a:gd name="T14" fmla="*/ 2147483647 w 736"/>
                  <a:gd name="T15" fmla="*/ 2147483647 h 590"/>
                  <a:gd name="T16" fmla="*/ 2147483647 w 736"/>
                  <a:gd name="T17" fmla="*/ 2147483647 h 590"/>
                  <a:gd name="T18" fmla="*/ 2147483647 w 736"/>
                  <a:gd name="T19" fmla="*/ 2147483647 h 590"/>
                  <a:gd name="T20" fmla="*/ 2147483647 w 736"/>
                  <a:gd name="T21" fmla="*/ 2147483647 h 590"/>
                  <a:gd name="T22" fmla="*/ 2147483647 w 736"/>
                  <a:gd name="T23" fmla="*/ 2147483647 h 590"/>
                  <a:gd name="T24" fmla="*/ 2147483647 w 736"/>
                  <a:gd name="T25" fmla="*/ 2147483647 h 590"/>
                  <a:gd name="T26" fmla="*/ 2147483647 w 736"/>
                  <a:gd name="T27" fmla="*/ 2147483647 h 590"/>
                  <a:gd name="T28" fmla="*/ 2147483647 w 736"/>
                  <a:gd name="T29" fmla="*/ 2147483647 h 590"/>
                  <a:gd name="T30" fmla="*/ 2147483647 w 736"/>
                  <a:gd name="T31" fmla="*/ 2147483647 h 590"/>
                  <a:gd name="T32" fmla="*/ 2147483647 w 736"/>
                  <a:gd name="T33" fmla="*/ 2147483647 h 590"/>
                  <a:gd name="T34" fmla="*/ 2147483647 w 736"/>
                  <a:gd name="T35" fmla="*/ 2147483647 h 590"/>
                  <a:gd name="T36" fmla="*/ 2147483647 w 736"/>
                  <a:gd name="T37" fmla="*/ 2147483647 h 590"/>
                  <a:gd name="T38" fmla="*/ 2147483647 w 736"/>
                  <a:gd name="T39" fmla="*/ 2147483647 h 590"/>
                  <a:gd name="T40" fmla="*/ 2147483647 w 736"/>
                  <a:gd name="T41" fmla="*/ 2147483647 h 590"/>
                  <a:gd name="T42" fmla="*/ 2147483647 w 736"/>
                  <a:gd name="T43" fmla="*/ 2147483647 h 590"/>
                  <a:gd name="T44" fmla="*/ 2147483647 w 736"/>
                  <a:gd name="T45" fmla="*/ 2147483647 h 590"/>
                  <a:gd name="T46" fmla="*/ 2147483647 w 736"/>
                  <a:gd name="T47" fmla="*/ 2147483647 h 590"/>
                  <a:gd name="T48" fmla="*/ 2147483647 w 736"/>
                  <a:gd name="T49" fmla="*/ 2147483647 h 590"/>
                  <a:gd name="T50" fmla="*/ 2147483647 w 736"/>
                  <a:gd name="T51" fmla="*/ 2147483647 h 590"/>
                  <a:gd name="T52" fmla="*/ 2147483647 w 736"/>
                  <a:gd name="T53" fmla="*/ 2147483647 h 590"/>
                  <a:gd name="T54" fmla="*/ 2147483647 w 736"/>
                  <a:gd name="T55" fmla="*/ 2147483647 h 590"/>
                  <a:gd name="T56" fmla="*/ 2147483647 w 736"/>
                  <a:gd name="T57" fmla="*/ 2147483647 h 590"/>
                  <a:gd name="T58" fmla="*/ 2147483647 w 736"/>
                  <a:gd name="T59" fmla="*/ 2147483647 h 590"/>
                  <a:gd name="T60" fmla="*/ 2147483647 w 736"/>
                  <a:gd name="T61" fmla="*/ 2147483647 h 590"/>
                  <a:gd name="T62" fmla="*/ 2147483647 w 736"/>
                  <a:gd name="T63" fmla="*/ 2147483647 h 590"/>
                  <a:gd name="T64" fmla="*/ 2147483647 w 736"/>
                  <a:gd name="T65" fmla="*/ 2147483647 h 590"/>
                  <a:gd name="T66" fmla="*/ 2147483647 w 736"/>
                  <a:gd name="T67" fmla="*/ 2147483647 h 590"/>
                  <a:gd name="T68" fmla="*/ 2147483647 w 736"/>
                  <a:gd name="T69" fmla="*/ 2147483647 h 590"/>
                  <a:gd name="T70" fmla="*/ 2147483647 w 736"/>
                  <a:gd name="T71" fmla="*/ 2147483647 h 590"/>
                  <a:gd name="T72" fmla="*/ 2147483647 w 736"/>
                  <a:gd name="T73" fmla="*/ 2147483647 h 590"/>
                  <a:gd name="T74" fmla="*/ 2147483647 w 736"/>
                  <a:gd name="T75" fmla="*/ 2147483647 h 590"/>
                  <a:gd name="T76" fmla="*/ 2147483647 w 736"/>
                  <a:gd name="T77" fmla="*/ 2147483647 h 590"/>
                  <a:gd name="T78" fmla="*/ 2147483647 w 736"/>
                  <a:gd name="T79" fmla="*/ 2147483647 h 590"/>
                  <a:gd name="T80" fmla="*/ 2147483647 w 736"/>
                  <a:gd name="T81" fmla="*/ 2147483647 h 590"/>
                  <a:gd name="T82" fmla="*/ 2147483647 w 736"/>
                  <a:gd name="T83" fmla="*/ 2147483647 h 590"/>
                  <a:gd name="T84" fmla="*/ 2147483647 w 736"/>
                  <a:gd name="T85" fmla="*/ 2147483647 h 590"/>
                  <a:gd name="T86" fmla="*/ 2147483647 w 736"/>
                  <a:gd name="T87" fmla="*/ 2147483647 h 590"/>
                  <a:gd name="T88" fmla="*/ 2147483647 w 736"/>
                  <a:gd name="T89" fmla="*/ 2147483647 h 590"/>
                  <a:gd name="T90" fmla="*/ 2147483647 w 736"/>
                  <a:gd name="T91" fmla="*/ 2147483647 h 590"/>
                  <a:gd name="T92" fmla="*/ 2147483647 w 736"/>
                  <a:gd name="T93" fmla="*/ 2147483647 h 590"/>
                  <a:gd name="T94" fmla="*/ 2147483647 w 736"/>
                  <a:gd name="T95" fmla="*/ 2147483647 h 590"/>
                  <a:gd name="T96" fmla="*/ 2147483647 w 736"/>
                  <a:gd name="T97" fmla="*/ 2147483647 h 590"/>
                  <a:gd name="T98" fmla="*/ 2147483647 w 736"/>
                  <a:gd name="T99" fmla="*/ 2147483647 h 590"/>
                  <a:gd name="T100" fmla="*/ 2147483647 w 736"/>
                  <a:gd name="T101" fmla="*/ 2147483647 h 590"/>
                  <a:gd name="T102" fmla="*/ 2147483647 w 736"/>
                  <a:gd name="T103" fmla="*/ 2147483647 h 590"/>
                  <a:gd name="T104" fmla="*/ 2147483647 w 736"/>
                  <a:gd name="T105" fmla="*/ 2147483647 h 590"/>
                  <a:gd name="T106" fmla="*/ 2147483647 w 736"/>
                  <a:gd name="T107" fmla="*/ 2147483647 h 590"/>
                  <a:gd name="T108" fmla="*/ 2147483647 w 736"/>
                  <a:gd name="T109" fmla="*/ 2147483647 h 590"/>
                  <a:gd name="T110" fmla="*/ 2147483647 w 736"/>
                  <a:gd name="T111" fmla="*/ 2147483647 h 59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36"/>
                  <a:gd name="T169" fmla="*/ 0 h 590"/>
                  <a:gd name="T170" fmla="*/ 736 w 736"/>
                  <a:gd name="T171" fmla="*/ 590 h 59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36" h="590">
                    <a:moveTo>
                      <a:pt x="694" y="182"/>
                    </a:moveTo>
                    <a:lnTo>
                      <a:pt x="688" y="182"/>
                    </a:lnTo>
                    <a:lnTo>
                      <a:pt x="684" y="178"/>
                    </a:lnTo>
                    <a:lnTo>
                      <a:pt x="680" y="174"/>
                    </a:lnTo>
                    <a:lnTo>
                      <a:pt x="674" y="174"/>
                    </a:lnTo>
                    <a:lnTo>
                      <a:pt x="668" y="174"/>
                    </a:lnTo>
                    <a:lnTo>
                      <a:pt x="662" y="178"/>
                    </a:lnTo>
                    <a:lnTo>
                      <a:pt x="656" y="184"/>
                    </a:lnTo>
                    <a:lnTo>
                      <a:pt x="650" y="192"/>
                    </a:lnTo>
                    <a:lnTo>
                      <a:pt x="642" y="208"/>
                    </a:lnTo>
                    <a:lnTo>
                      <a:pt x="640" y="216"/>
                    </a:lnTo>
                    <a:lnTo>
                      <a:pt x="638" y="224"/>
                    </a:lnTo>
                    <a:lnTo>
                      <a:pt x="640" y="230"/>
                    </a:lnTo>
                    <a:lnTo>
                      <a:pt x="642" y="236"/>
                    </a:lnTo>
                    <a:lnTo>
                      <a:pt x="646" y="242"/>
                    </a:lnTo>
                    <a:lnTo>
                      <a:pt x="652" y="246"/>
                    </a:lnTo>
                    <a:lnTo>
                      <a:pt x="664" y="250"/>
                    </a:lnTo>
                    <a:lnTo>
                      <a:pt x="680" y="252"/>
                    </a:lnTo>
                    <a:lnTo>
                      <a:pt x="686" y="252"/>
                    </a:lnTo>
                    <a:lnTo>
                      <a:pt x="690" y="250"/>
                    </a:lnTo>
                    <a:lnTo>
                      <a:pt x="696" y="244"/>
                    </a:lnTo>
                    <a:lnTo>
                      <a:pt x="706" y="228"/>
                    </a:lnTo>
                    <a:lnTo>
                      <a:pt x="712" y="232"/>
                    </a:lnTo>
                    <a:lnTo>
                      <a:pt x="720" y="234"/>
                    </a:lnTo>
                    <a:lnTo>
                      <a:pt x="730" y="232"/>
                    </a:lnTo>
                    <a:lnTo>
                      <a:pt x="736" y="228"/>
                    </a:lnTo>
                    <a:lnTo>
                      <a:pt x="728" y="246"/>
                    </a:lnTo>
                    <a:lnTo>
                      <a:pt x="722" y="268"/>
                    </a:lnTo>
                    <a:lnTo>
                      <a:pt x="716" y="288"/>
                    </a:lnTo>
                    <a:lnTo>
                      <a:pt x="712" y="298"/>
                    </a:lnTo>
                    <a:lnTo>
                      <a:pt x="706" y="308"/>
                    </a:lnTo>
                    <a:lnTo>
                      <a:pt x="700" y="314"/>
                    </a:lnTo>
                    <a:lnTo>
                      <a:pt x="692" y="320"/>
                    </a:lnTo>
                    <a:lnTo>
                      <a:pt x="678" y="328"/>
                    </a:lnTo>
                    <a:lnTo>
                      <a:pt x="672" y="332"/>
                    </a:lnTo>
                    <a:lnTo>
                      <a:pt x="670" y="338"/>
                    </a:lnTo>
                    <a:lnTo>
                      <a:pt x="666" y="342"/>
                    </a:lnTo>
                    <a:lnTo>
                      <a:pt x="660" y="346"/>
                    </a:lnTo>
                    <a:lnTo>
                      <a:pt x="652" y="354"/>
                    </a:lnTo>
                    <a:lnTo>
                      <a:pt x="644" y="366"/>
                    </a:lnTo>
                    <a:lnTo>
                      <a:pt x="642" y="372"/>
                    </a:lnTo>
                    <a:lnTo>
                      <a:pt x="636" y="376"/>
                    </a:lnTo>
                    <a:lnTo>
                      <a:pt x="628" y="384"/>
                    </a:lnTo>
                    <a:lnTo>
                      <a:pt x="612" y="404"/>
                    </a:lnTo>
                    <a:lnTo>
                      <a:pt x="600" y="422"/>
                    </a:lnTo>
                    <a:lnTo>
                      <a:pt x="586" y="438"/>
                    </a:lnTo>
                    <a:lnTo>
                      <a:pt x="578" y="444"/>
                    </a:lnTo>
                    <a:lnTo>
                      <a:pt x="568" y="450"/>
                    </a:lnTo>
                    <a:lnTo>
                      <a:pt x="538" y="478"/>
                    </a:lnTo>
                    <a:lnTo>
                      <a:pt x="506" y="500"/>
                    </a:lnTo>
                    <a:lnTo>
                      <a:pt x="486" y="516"/>
                    </a:lnTo>
                    <a:lnTo>
                      <a:pt x="468" y="530"/>
                    </a:lnTo>
                    <a:lnTo>
                      <a:pt x="460" y="536"/>
                    </a:lnTo>
                    <a:lnTo>
                      <a:pt x="448" y="542"/>
                    </a:lnTo>
                    <a:lnTo>
                      <a:pt x="436" y="544"/>
                    </a:lnTo>
                    <a:lnTo>
                      <a:pt x="422" y="546"/>
                    </a:lnTo>
                    <a:lnTo>
                      <a:pt x="400" y="546"/>
                    </a:lnTo>
                    <a:lnTo>
                      <a:pt x="392" y="546"/>
                    </a:lnTo>
                    <a:lnTo>
                      <a:pt x="386" y="548"/>
                    </a:lnTo>
                    <a:lnTo>
                      <a:pt x="372" y="556"/>
                    </a:lnTo>
                    <a:lnTo>
                      <a:pt x="360" y="562"/>
                    </a:lnTo>
                    <a:lnTo>
                      <a:pt x="352" y="564"/>
                    </a:lnTo>
                    <a:lnTo>
                      <a:pt x="346" y="564"/>
                    </a:lnTo>
                    <a:lnTo>
                      <a:pt x="304" y="554"/>
                    </a:lnTo>
                    <a:lnTo>
                      <a:pt x="282" y="558"/>
                    </a:lnTo>
                    <a:lnTo>
                      <a:pt x="260" y="558"/>
                    </a:lnTo>
                    <a:lnTo>
                      <a:pt x="248" y="560"/>
                    </a:lnTo>
                    <a:lnTo>
                      <a:pt x="240" y="564"/>
                    </a:lnTo>
                    <a:lnTo>
                      <a:pt x="226" y="572"/>
                    </a:lnTo>
                    <a:lnTo>
                      <a:pt x="228" y="572"/>
                    </a:lnTo>
                    <a:lnTo>
                      <a:pt x="218" y="574"/>
                    </a:lnTo>
                    <a:lnTo>
                      <a:pt x="208" y="574"/>
                    </a:lnTo>
                    <a:lnTo>
                      <a:pt x="186" y="572"/>
                    </a:lnTo>
                    <a:lnTo>
                      <a:pt x="182" y="574"/>
                    </a:lnTo>
                    <a:lnTo>
                      <a:pt x="176" y="576"/>
                    </a:lnTo>
                    <a:lnTo>
                      <a:pt x="166" y="582"/>
                    </a:lnTo>
                    <a:lnTo>
                      <a:pt x="152" y="588"/>
                    </a:lnTo>
                    <a:lnTo>
                      <a:pt x="146" y="590"/>
                    </a:lnTo>
                    <a:lnTo>
                      <a:pt x="140" y="590"/>
                    </a:lnTo>
                    <a:lnTo>
                      <a:pt x="132" y="590"/>
                    </a:lnTo>
                    <a:lnTo>
                      <a:pt x="126" y="588"/>
                    </a:lnTo>
                    <a:lnTo>
                      <a:pt x="118" y="580"/>
                    </a:lnTo>
                    <a:lnTo>
                      <a:pt x="108" y="572"/>
                    </a:lnTo>
                    <a:lnTo>
                      <a:pt x="104" y="568"/>
                    </a:lnTo>
                    <a:lnTo>
                      <a:pt x="98" y="568"/>
                    </a:lnTo>
                    <a:lnTo>
                      <a:pt x="94" y="566"/>
                    </a:lnTo>
                    <a:lnTo>
                      <a:pt x="90" y="562"/>
                    </a:lnTo>
                    <a:lnTo>
                      <a:pt x="88" y="558"/>
                    </a:lnTo>
                    <a:lnTo>
                      <a:pt x="84" y="558"/>
                    </a:lnTo>
                    <a:lnTo>
                      <a:pt x="80" y="558"/>
                    </a:lnTo>
                    <a:lnTo>
                      <a:pt x="78" y="560"/>
                    </a:lnTo>
                    <a:lnTo>
                      <a:pt x="72" y="566"/>
                    </a:lnTo>
                    <a:lnTo>
                      <a:pt x="72" y="554"/>
                    </a:lnTo>
                    <a:lnTo>
                      <a:pt x="76" y="546"/>
                    </a:lnTo>
                    <a:lnTo>
                      <a:pt x="78" y="540"/>
                    </a:lnTo>
                    <a:lnTo>
                      <a:pt x="78" y="536"/>
                    </a:lnTo>
                    <a:lnTo>
                      <a:pt x="76" y="530"/>
                    </a:lnTo>
                    <a:lnTo>
                      <a:pt x="68" y="522"/>
                    </a:lnTo>
                    <a:lnTo>
                      <a:pt x="60" y="514"/>
                    </a:lnTo>
                    <a:lnTo>
                      <a:pt x="58" y="510"/>
                    </a:lnTo>
                    <a:lnTo>
                      <a:pt x="58" y="504"/>
                    </a:lnTo>
                    <a:lnTo>
                      <a:pt x="58" y="502"/>
                    </a:lnTo>
                    <a:lnTo>
                      <a:pt x="60" y="498"/>
                    </a:lnTo>
                    <a:lnTo>
                      <a:pt x="66" y="492"/>
                    </a:lnTo>
                    <a:lnTo>
                      <a:pt x="70" y="484"/>
                    </a:lnTo>
                    <a:lnTo>
                      <a:pt x="72" y="480"/>
                    </a:lnTo>
                    <a:lnTo>
                      <a:pt x="72" y="476"/>
                    </a:lnTo>
                    <a:lnTo>
                      <a:pt x="72" y="454"/>
                    </a:lnTo>
                    <a:lnTo>
                      <a:pt x="70" y="444"/>
                    </a:lnTo>
                    <a:lnTo>
                      <a:pt x="64" y="436"/>
                    </a:lnTo>
                    <a:lnTo>
                      <a:pt x="52" y="422"/>
                    </a:lnTo>
                    <a:lnTo>
                      <a:pt x="38" y="406"/>
                    </a:lnTo>
                    <a:lnTo>
                      <a:pt x="28" y="388"/>
                    </a:lnTo>
                    <a:lnTo>
                      <a:pt x="24" y="378"/>
                    </a:lnTo>
                    <a:lnTo>
                      <a:pt x="20" y="368"/>
                    </a:lnTo>
                    <a:lnTo>
                      <a:pt x="14" y="344"/>
                    </a:lnTo>
                    <a:lnTo>
                      <a:pt x="8" y="328"/>
                    </a:lnTo>
                    <a:lnTo>
                      <a:pt x="4" y="316"/>
                    </a:lnTo>
                    <a:lnTo>
                      <a:pt x="0" y="302"/>
                    </a:lnTo>
                    <a:lnTo>
                      <a:pt x="4" y="300"/>
                    </a:lnTo>
                    <a:lnTo>
                      <a:pt x="6" y="296"/>
                    </a:lnTo>
                    <a:lnTo>
                      <a:pt x="10" y="288"/>
                    </a:lnTo>
                    <a:lnTo>
                      <a:pt x="14" y="280"/>
                    </a:lnTo>
                    <a:lnTo>
                      <a:pt x="16" y="278"/>
                    </a:lnTo>
                    <a:lnTo>
                      <a:pt x="22" y="276"/>
                    </a:lnTo>
                    <a:lnTo>
                      <a:pt x="26" y="278"/>
                    </a:lnTo>
                    <a:lnTo>
                      <a:pt x="30" y="280"/>
                    </a:lnTo>
                    <a:lnTo>
                      <a:pt x="36" y="288"/>
                    </a:lnTo>
                    <a:lnTo>
                      <a:pt x="42" y="298"/>
                    </a:lnTo>
                    <a:lnTo>
                      <a:pt x="46" y="306"/>
                    </a:lnTo>
                    <a:lnTo>
                      <a:pt x="52" y="310"/>
                    </a:lnTo>
                    <a:lnTo>
                      <a:pt x="58" y="312"/>
                    </a:lnTo>
                    <a:lnTo>
                      <a:pt x="76" y="316"/>
                    </a:lnTo>
                    <a:lnTo>
                      <a:pt x="94" y="318"/>
                    </a:lnTo>
                    <a:lnTo>
                      <a:pt x="108" y="318"/>
                    </a:lnTo>
                    <a:lnTo>
                      <a:pt x="116" y="316"/>
                    </a:lnTo>
                    <a:lnTo>
                      <a:pt x="120" y="314"/>
                    </a:lnTo>
                    <a:lnTo>
                      <a:pt x="132" y="306"/>
                    </a:lnTo>
                    <a:lnTo>
                      <a:pt x="142" y="300"/>
                    </a:lnTo>
                    <a:lnTo>
                      <a:pt x="148" y="296"/>
                    </a:lnTo>
                    <a:lnTo>
                      <a:pt x="156" y="296"/>
                    </a:lnTo>
                    <a:lnTo>
                      <a:pt x="156" y="294"/>
                    </a:lnTo>
                    <a:lnTo>
                      <a:pt x="154" y="130"/>
                    </a:lnTo>
                    <a:lnTo>
                      <a:pt x="162" y="132"/>
                    </a:lnTo>
                    <a:lnTo>
                      <a:pt x="172" y="140"/>
                    </a:lnTo>
                    <a:lnTo>
                      <a:pt x="182" y="152"/>
                    </a:lnTo>
                    <a:lnTo>
                      <a:pt x="186" y="158"/>
                    </a:lnTo>
                    <a:lnTo>
                      <a:pt x="188" y="164"/>
                    </a:lnTo>
                    <a:lnTo>
                      <a:pt x="192" y="174"/>
                    </a:lnTo>
                    <a:lnTo>
                      <a:pt x="192" y="182"/>
                    </a:lnTo>
                    <a:lnTo>
                      <a:pt x="190" y="192"/>
                    </a:lnTo>
                    <a:lnTo>
                      <a:pt x="188" y="198"/>
                    </a:lnTo>
                    <a:lnTo>
                      <a:pt x="184" y="204"/>
                    </a:lnTo>
                    <a:lnTo>
                      <a:pt x="184" y="212"/>
                    </a:lnTo>
                    <a:lnTo>
                      <a:pt x="184" y="214"/>
                    </a:lnTo>
                    <a:lnTo>
                      <a:pt x="186" y="216"/>
                    </a:lnTo>
                    <a:lnTo>
                      <a:pt x="190" y="218"/>
                    </a:lnTo>
                    <a:lnTo>
                      <a:pt x="202" y="220"/>
                    </a:lnTo>
                    <a:lnTo>
                      <a:pt x="214" y="222"/>
                    </a:lnTo>
                    <a:lnTo>
                      <a:pt x="226" y="222"/>
                    </a:lnTo>
                    <a:lnTo>
                      <a:pt x="236" y="218"/>
                    </a:lnTo>
                    <a:lnTo>
                      <a:pt x="246" y="212"/>
                    </a:lnTo>
                    <a:lnTo>
                      <a:pt x="264" y="198"/>
                    </a:lnTo>
                    <a:lnTo>
                      <a:pt x="276" y="186"/>
                    </a:lnTo>
                    <a:lnTo>
                      <a:pt x="280" y="182"/>
                    </a:lnTo>
                    <a:lnTo>
                      <a:pt x="282" y="176"/>
                    </a:lnTo>
                    <a:lnTo>
                      <a:pt x="286" y="164"/>
                    </a:lnTo>
                    <a:lnTo>
                      <a:pt x="288" y="160"/>
                    </a:lnTo>
                    <a:lnTo>
                      <a:pt x="292" y="156"/>
                    </a:lnTo>
                    <a:lnTo>
                      <a:pt x="296" y="152"/>
                    </a:lnTo>
                    <a:lnTo>
                      <a:pt x="304" y="152"/>
                    </a:lnTo>
                    <a:lnTo>
                      <a:pt x="308" y="152"/>
                    </a:lnTo>
                    <a:lnTo>
                      <a:pt x="314" y="154"/>
                    </a:lnTo>
                    <a:lnTo>
                      <a:pt x="322" y="160"/>
                    </a:lnTo>
                    <a:lnTo>
                      <a:pt x="328" y="166"/>
                    </a:lnTo>
                    <a:lnTo>
                      <a:pt x="336" y="170"/>
                    </a:lnTo>
                    <a:lnTo>
                      <a:pt x="394" y="170"/>
                    </a:lnTo>
                    <a:lnTo>
                      <a:pt x="402" y="168"/>
                    </a:lnTo>
                    <a:lnTo>
                      <a:pt x="408" y="166"/>
                    </a:lnTo>
                    <a:lnTo>
                      <a:pt x="414" y="162"/>
                    </a:lnTo>
                    <a:lnTo>
                      <a:pt x="418" y="158"/>
                    </a:lnTo>
                    <a:lnTo>
                      <a:pt x="424" y="144"/>
                    </a:lnTo>
                    <a:lnTo>
                      <a:pt x="430" y="128"/>
                    </a:lnTo>
                    <a:lnTo>
                      <a:pt x="434" y="124"/>
                    </a:lnTo>
                    <a:lnTo>
                      <a:pt x="438" y="124"/>
                    </a:lnTo>
                    <a:lnTo>
                      <a:pt x="444" y="122"/>
                    </a:lnTo>
                    <a:lnTo>
                      <a:pt x="450" y="122"/>
                    </a:lnTo>
                    <a:lnTo>
                      <a:pt x="456" y="116"/>
                    </a:lnTo>
                    <a:lnTo>
                      <a:pt x="462" y="112"/>
                    </a:lnTo>
                    <a:lnTo>
                      <a:pt x="470" y="102"/>
                    </a:lnTo>
                    <a:lnTo>
                      <a:pt x="476" y="90"/>
                    </a:lnTo>
                    <a:lnTo>
                      <a:pt x="484" y="78"/>
                    </a:lnTo>
                    <a:lnTo>
                      <a:pt x="490" y="72"/>
                    </a:lnTo>
                    <a:lnTo>
                      <a:pt x="496" y="68"/>
                    </a:lnTo>
                    <a:lnTo>
                      <a:pt x="502" y="66"/>
                    </a:lnTo>
                    <a:lnTo>
                      <a:pt x="508" y="62"/>
                    </a:lnTo>
                    <a:lnTo>
                      <a:pt x="516" y="52"/>
                    </a:lnTo>
                    <a:lnTo>
                      <a:pt x="522" y="42"/>
                    </a:lnTo>
                    <a:lnTo>
                      <a:pt x="530" y="34"/>
                    </a:lnTo>
                    <a:lnTo>
                      <a:pt x="540" y="26"/>
                    </a:lnTo>
                    <a:lnTo>
                      <a:pt x="544" y="24"/>
                    </a:lnTo>
                    <a:lnTo>
                      <a:pt x="550" y="24"/>
                    </a:lnTo>
                    <a:lnTo>
                      <a:pt x="562" y="24"/>
                    </a:lnTo>
                    <a:lnTo>
                      <a:pt x="570" y="20"/>
                    </a:lnTo>
                    <a:lnTo>
                      <a:pt x="580" y="14"/>
                    </a:lnTo>
                    <a:lnTo>
                      <a:pt x="598" y="0"/>
                    </a:lnTo>
                    <a:lnTo>
                      <a:pt x="616" y="4"/>
                    </a:lnTo>
                    <a:lnTo>
                      <a:pt x="624" y="8"/>
                    </a:lnTo>
                    <a:lnTo>
                      <a:pt x="628" y="10"/>
                    </a:lnTo>
                    <a:lnTo>
                      <a:pt x="630" y="14"/>
                    </a:lnTo>
                    <a:lnTo>
                      <a:pt x="678" y="14"/>
                    </a:lnTo>
                    <a:lnTo>
                      <a:pt x="680" y="24"/>
                    </a:lnTo>
                    <a:lnTo>
                      <a:pt x="682" y="34"/>
                    </a:lnTo>
                    <a:lnTo>
                      <a:pt x="686" y="54"/>
                    </a:lnTo>
                    <a:lnTo>
                      <a:pt x="686" y="62"/>
                    </a:lnTo>
                    <a:lnTo>
                      <a:pt x="692" y="70"/>
                    </a:lnTo>
                    <a:lnTo>
                      <a:pt x="696" y="82"/>
                    </a:lnTo>
                    <a:lnTo>
                      <a:pt x="700" y="96"/>
                    </a:lnTo>
                    <a:lnTo>
                      <a:pt x="702" y="110"/>
                    </a:lnTo>
                    <a:lnTo>
                      <a:pt x="702" y="130"/>
                    </a:lnTo>
                    <a:lnTo>
                      <a:pt x="700" y="142"/>
                    </a:lnTo>
                    <a:lnTo>
                      <a:pt x="698" y="152"/>
                    </a:lnTo>
                    <a:lnTo>
                      <a:pt x="698" y="176"/>
                    </a:lnTo>
                    <a:lnTo>
                      <a:pt x="694" y="182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53" name="Freeform 20"/>
              <p:cNvSpPr>
                <a:spLocks/>
              </p:cNvSpPr>
              <p:nvPr/>
            </p:nvSpPr>
            <p:spPr bwMode="gray">
              <a:xfrm>
                <a:off x="4972050" y="5555457"/>
                <a:ext cx="168275" cy="141288"/>
              </a:xfrm>
              <a:custGeom>
                <a:avLst/>
                <a:gdLst>
                  <a:gd name="T0" fmla="*/ 2147483647 w 116"/>
                  <a:gd name="T1" fmla="*/ 2147483647 h 98"/>
                  <a:gd name="T2" fmla="*/ 2147483647 w 116"/>
                  <a:gd name="T3" fmla="*/ 2147483647 h 98"/>
                  <a:gd name="T4" fmla="*/ 2147483647 w 116"/>
                  <a:gd name="T5" fmla="*/ 2147483647 h 98"/>
                  <a:gd name="T6" fmla="*/ 2147483647 w 116"/>
                  <a:gd name="T7" fmla="*/ 0 h 98"/>
                  <a:gd name="T8" fmla="*/ 2147483647 w 116"/>
                  <a:gd name="T9" fmla="*/ 2147483647 h 98"/>
                  <a:gd name="T10" fmla="*/ 2147483647 w 116"/>
                  <a:gd name="T11" fmla="*/ 2147483647 h 98"/>
                  <a:gd name="T12" fmla="*/ 2147483647 w 116"/>
                  <a:gd name="T13" fmla="*/ 2147483647 h 98"/>
                  <a:gd name="T14" fmla="*/ 2147483647 w 116"/>
                  <a:gd name="T15" fmla="*/ 2147483647 h 98"/>
                  <a:gd name="T16" fmla="*/ 2147483647 w 116"/>
                  <a:gd name="T17" fmla="*/ 2147483647 h 98"/>
                  <a:gd name="T18" fmla="*/ 2147483647 w 116"/>
                  <a:gd name="T19" fmla="*/ 2147483647 h 98"/>
                  <a:gd name="T20" fmla="*/ 2147483647 w 116"/>
                  <a:gd name="T21" fmla="*/ 2147483647 h 98"/>
                  <a:gd name="T22" fmla="*/ 2147483647 w 116"/>
                  <a:gd name="T23" fmla="*/ 2147483647 h 98"/>
                  <a:gd name="T24" fmla="*/ 2147483647 w 116"/>
                  <a:gd name="T25" fmla="*/ 2147483647 h 98"/>
                  <a:gd name="T26" fmla="*/ 2147483647 w 116"/>
                  <a:gd name="T27" fmla="*/ 2147483647 h 98"/>
                  <a:gd name="T28" fmla="*/ 2147483647 w 116"/>
                  <a:gd name="T29" fmla="*/ 2147483647 h 98"/>
                  <a:gd name="T30" fmla="*/ 2147483647 w 116"/>
                  <a:gd name="T31" fmla="*/ 2147483647 h 98"/>
                  <a:gd name="T32" fmla="*/ 2147483647 w 116"/>
                  <a:gd name="T33" fmla="*/ 2147483647 h 98"/>
                  <a:gd name="T34" fmla="*/ 2147483647 w 116"/>
                  <a:gd name="T35" fmla="*/ 2147483647 h 98"/>
                  <a:gd name="T36" fmla="*/ 2147483647 w 116"/>
                  <a:gd name="T37" fmla="*/ 2147483647 h 98"/>
                  <a:gd name="T38" fmla="*/ 2147483647 w 116"/>
                  <a:gd name="T39" fmla="*/ 2147483647 h 98"/>
                  <a:gd name="T40" fmla="*/ 2147483647 w 116"/>
                  <a:gd name="T41" fmla="*/ 2147483647 h 98"/>
                  <a:gd name="T42" fmla="*/ 2147483647 w 116"/>
                  <a:gd name="T43" fmla="*/ 2147483647 h 98"/>
                  <a:gd name="T44" fmla="*/ 2147483647 w 116"/>
                  <a:gd name="T45" fmla="*/ 2147483647 h 98"/>
                  <a:gd name="T46" fmla="*/ 2147483647 w 116"/>
                  <a:gd name="T47" fmla="*/ 2147483647 h 98"/>
                  <a:gd name="T48" fmla="*/ 2147483647 w 116"/>
                  <a:gd name="T49" fmla="*/ 2147483647 h 98"/>
                  <a:gd name="T50" fmla="*/ 2147483647 w 116"/>
                  <a:gd name="T51" fmla="*/ 2147483647 h 98"/>
                  <a:gd name="T52" fmla="*/ 0 w 116"/>
                  <a:gd name="T53" fmla="*/ 2147483647 h 98"/>
                  <a:gd name="T54" fmla="*/ 2147483647 w 116"/>
                  <a:gd name="T55" fmla="*/ 2147483647 h 98"/>
                  <a:gd name="T56" fmla="*/ 2147483647 w 116"/>
                  <a:gd name="T57" fmla="*/ 2147483647 h 9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16"/>
                  <a:gd name="T88" fmla="*/ 0 h 98"/>
                  <a:gd name="T89" fmla="*/ 116 w 116"/>
                  <a:gd name="T90" fmla="*/ 98 h 9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16" h="98">
                    <a:moveTo>
                      <a:pt x="40" y="12"/>
                    </a:moveTo>
                    <a:lnTo>
                      <a:pt x="44" y="8"/>
                    </a:lnTo>
                    <a:lnTo>
                      <a:pt x="54" y="6"/>
                    </a:lnTo>
                    <a:lnTo>
                      <a:pt x="68" y="0"/>
                    </a:lnTo>
                    <a:lnTo>
                      <a:pt x="78" y="2"/>
                    </a:lnTo>
                    <a:lnTo>
                      <a:pt x="94" y="8"/>
                    </a:lnTo>
                    <a:lnTo>
                      <a:pt x="110" y="16"/>
                    </a:lnTo>
                    <a:lnTo>
                      <a:pt x="114" y="20"/>
                    </a:lnTo>
                    <a:lnTo>
                      <a:pt x="116" y="24"/>
                    </a:lnTo>
                    <a:lnTo>
                      <a:pt x="112" y="34"/>
                    </a:lnTo>
                    <a:lnTo>
                      <a:pt x="102" y="50"/>
                    </a:lnTo>
                    <a:lnTo>
                      <a:pt x="84" y="72"/>
                    </a:lnTo>
                    <a:lnTo>
                      <a:pt x="80" y="72"/>
                    </a:lnTo>
                    <a:lnTo>
                      <a:pt x="74" y="72"/>
                    </a:lnTo>
                    <a:lnTo>
                      <a:pt x="68" y="72"/>
                    </a:lnTo>
                    <a:lnTo>
                      <a:pt x="62" y="72"/>
                    </a:lnTo>
                    <a:lnTo>
                      <a:pt x="58" y="74"/>
                    </a:lnTo>
                    <a:lnTo>
                      <a:pt x="56" y="78"/>
                    </a:lnTo>
                    <a:lnTo>
                      <a:pt x="52" y="86"/>
                    </a:lnTo>
                    <a:lnTo>
                      <a:pt x="46" y="94"/>
                    </a:lnTo>
                    <a:lnTo>
                      <a:pt x="42" y="96"/>
                    </a:lnTo>
                    <a:lnTo>
                      <a:pt x="38" y="98"/>
                    </a:lnTo>
                    <a:lnTo>
                      <a:pt x="30" y="96"/>
                    </a:lnTo>
                    <a:lnTo>
                      <a:pt x="24" y="92"/>
                    </a:lnTo>
                    <a:lnTo>
                      <a:pt x="18" y="86"/>
                    </a:lnTo>
                    <a:lnTo>
                      <a:pt x="14" y="78"/>
                    </a:lnTo>
                    <a:lnTo>
                      <a:pt x="0" y="48"/>
                    </a:lnTo>
                    <a:lnTo>
                      <a:pt x="10" y="46"/>
                    </a:lnTo>
                    <a:lnTo>
                      <a:pt x="40" y="12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54" name="Freeform 21"/>
              <p:cNvSpPr>
                <a:spLocks/>
              </p:cNvSpPr>
              <p:nvPr/>
            </p:nvSpPr>
            <p:spPr bwMode="gray">
              <a:xfrm>
                <a:off x="3965575" y="4761707"/>
                <a:ext cx="933450" cy="811213"/>
              </a:xfrm>
              <a:custGeom>
                <a:avLst/>
                <a:gdLst>
                  <a:gd name="T0" fmla="*/ 2147483647 w 645"/>
                  <a:gd name="T1" fmla="*/ 2147483647 h 560"/>
                  <a:gd name="T2" fmla="*/ 2147483647 w 645"/>
                  <a:gd name="T3" fmla="*/ 2147483647 h 560"/>
                  <a:gd name="T4" fmla="*/ 2147483647 w 645"/>
                  <a:gd name="T5" fmla="*/ 2147483647 h 560"/>
                  <a:gd name="T6" fmla="*/ 2147483647 w 645"/>
                  <a:gd name="T7" fmla="*/ 2147483647 h 560"/>
                  <a:gd name="T8" fmla="*/ 2147483647 w 645"/>
                  <a:gd name="T9" fmla="*/ 2147483647 h 560"/>
                  <a:gd name="T10" fmla="*/ 2147483647 w 645"/>
                  <a:gd name="T11" fmla="*/ 2147483647 h 560"/>
                  <a:gd name="T12" fmla="*/ 2147483647 w 645"/>
                  <a:gd name="T13" fmla="*/ 2147483647 h 560"/>
                  <a:gd name="T14" fmla="*/ 2147483647 w 645"/>
                  <a:gd name="T15" fmla="*/ 2147483647 h 560"/>
                  <a:gd name="T16" fmla="*/ 2147483647 w 645"/>
                  <a:gd name="T17" fmla="*/ 2147483647 h 560"/>
                  <a:gd name="T18" fmla="*/ 2147483647 w 645"/>
                  <a:gd name="T19" fmla="*/ 2147483647 h 560"/>
                  <a:gd name="T20" fmla="*/ 2147483647 w 645"/>
                  <a:gd name="T21" fmla="*/ 2147483647 h 560"/>
                  <a:gd name="T22" fmla="*/ 2147483647 w 645"/>
                  <a:gd name="T23" fmla="*/ 2147483647 h 560"/>
                  <a:gd name="T24" fmla="*/ 2147483647 w 645"/>
                  <a:gd name="T25" fmla="*/ 2147483647 h 560"/>
                  <a:gd name="T26" fmla="*/ 2147483647 w 645"/>
                  <a:gd name="T27" fmla="*/ 2147483647 h 560"/>
                  <a:gd name="T28" fmla="*/ 2147483647 w 645"/>
                  <a:gd name="T29" fmla="*/ 2147483647 h 560"/>
                  <a:gd name="T30" fmla="*/ 2147483647 w 645"/>
                  <a:gd name="T31" fmla="*/ 2147483647 h 560"/>
                  <a:gd name="T32" fmla="*/ 2147483647 w 645"/>
                  <a:gd name="T33" fmla="*/ 2147483647 h 560"/>
                  <a:gd name="T34" fmla="*/ 2147483647 w 645"/>
                  <a:gd name="T35" fmla="*/ 2147483647 h 560"/>
                  <a:gd name="T36" fmla="*/ 2147483647 w 645"/>
                  <a:gd name="T37" fmla="*/ 2147483647 h 560"/>
                  <a:gd name="T38" fmla="*/ 2147483647 w 645"/>
                  <a:gd name="T39" fmla="*/ 2147483647 h 560"/>
                  <a:gd name="T40" fmla="*/ 2147483647 w 645"/>
                  <a:gd name="T41" fmla="*/ 2147483647 h 560"/>
                  <a:gd name="T42" fmla="*/ 2147483647 w 645"/>
                  <a:gd name="T43" fmla="*/ 2147483647 h 560"/>
                  <a:gd name="T44" fmla="*/ 2147483647 w 645"/>
                  <a:gd name="T45" fmla="*/ 2147483647 h 560"/>
                  <a:gd name="T46" fmla="*/ 2147483647 w 645"/>
                  <a:gd name="T47" fmla="*/ 2147483647 h 560"/>
                  <a:gd name="T48" fmla="*/ 2147483647 w 645"/>
                  <a:gd name="T49" fmla="*/ 2147483647 h 560"/>
                  <a:gd name="T50" fmla="*/ 2147483647 w 645"/>
                  <a:gd name="T51" fmla="*/ 2147483647 h 560"/>
                  <a:gd name="T52" fmla="*/ 2147483647 w 645"/>
                  <a:gd name="T53" fmla="*/ 2147483647 h 560"/>
                  <a:gd name="T54" fmla="*/ 2147483647 w 645"/>
                  <a:gd name="T55" fmla="*/ 2147483647 h 560"/>
                  <a:gd name="T56" fmla="*/ 2147483647 w 645"/>
                  <a:gd name="T57" fmla="*/ 2147483647 h 560"/>
                  <a:gd name="T58" fmla="*/ 2147483647 w 645"/>
                  <a:gd name="T59" fmla="*/ 2147483647 h 560"/>
                  <a:gd name="T60" fmla="*/ 2147483647 w 645"/>
                  <a:gd name="T61" fmla="*/ 2147483647 h 560"/>
                  <a:gd name="T62" fmla="*/ 2147483647 w 645"/>
                  <a:gd name="T63" fmla="*/ 2147483647 h 560"/>
                  <a:gd name="T64" fmla="*/ 2147483647 w 645"/>
                  <a:gd name="T65" fmla="*/ 2147483647 h 560"/>
                  <a:gd name="T66" fmla="*/ 2147483647 w 645"/>
                  <a:gd name="T67" fmla="*/ 2147483647 h 560"/>
                  <a:gd name="T68" fmla="*/ 2147483647 w 645"/>
                  <a:gd name="T69" fmla="*/ 2147483647 h 560"/>
                  <a:gd name="T70" fmla="*/ 2147483647 w 645"/>
                  <a:gd name="T71" fmla="*/ 2147483647 h 560"/>
                  <a:gd name="T72" fmla="*/ 2147483647 w 645"/>
                  <a:gd name="T73" fmla="*/ 2147483647 h 560"/>
                  <a:gd name="T74" fmla="*/ 2147483647 w 645"/>
                  <a:gd name="T75" fmla="*/ 2147483647 h 560"/>
                  <a:gd name="T76" fmla="*/ 2147483647 w 645"/>
                  <a:gd name="T77" fmla="*/ 2147483647 h 560"/>
                  <a:gd name="T78" fmla="*/ 2147483647 w 645"/>
                  <a:gd name="T79" fmla="*/ 2147483647 h 560"/>
                  <a:gd name="T80" fmla="*/ 2147483647 w 645"/>
                  <a:gd name="T81" fmla="*/ 2147483647 h 560"/>
                  <a:gd name="T82" fmla="*/ 2147483647 w 645"/>
                  <a:gd name="T83" fmla="*/ 2147483647 h 560"/>
                  <a:gd name="T84" fmla="*/ 2147483647 w 645"/>
                  <a:gd name="T85" fmla="*/ 2147483647 h 560"/>
                  <a:gd name="T86" fmla="*/ 2147483647 w 645"/>
                  <a:gd name="T87" fmla="*/ 2147483647 h 560"/>
                  <a:gd name="T88" fmla="*/ 2147483647 w 645"/>
                  <a:gd name="T89" fmla="*/ 2147483647 h 560"/>
                  <a:gd name="T90" fmla="*/ 2147483647 w 645"/>
                  <a:gd name="T91" fmla="*/ 0 h 560"/>
                  <a:gd name="T92" fmla="*/ 2147483647 w 645"/>
                  <a:gd name="T93" fmla="*/ 2147483647 h 560"/>
                  <a:gd name="T94" fmla="*/ 2147483647 w 645"/>
                  <a:gd name="T95" fmla="*/ 2147483647 h 560"/>
                  <a:gd name="T96" fmla="*/ 0 w 645"/>
                  <a:gd name="T97" fmla="*/ 2147483647 h 560"/>
                  <a:gd name="T98" fmla="*/ 2147483647 w 645"/>
                  <a:gd name="T99" fmla="*/ 2147483647 h 560"/>
                  <a:gd name="T100" fmla="*/ 2147483647 w 645"/>
                  <a:gd name="T101" fmla="*/ 2147483647 h 560"/>
                  <a:gd name="T102" fmla="*/ 2147483647 w 645"/>
                  <a:gd name="T103" fmla="*/ 2147483647 h 56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45"/>
                  <a:gd name="T157" fmla="*/ 0 h 560"/>
                  <a:gd name="T158" fmla="*/ 645 w 645"/>
                  <a:gd name="T159" fmla="*/ 560 h 56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45" h="560">
                    <a:moveTo>
                      <a:pt x="36" y="86"/>
                    </a:moveTo>
                    <a:lnTo>
                      <a:pt x="44" y="106"/>
                    </a:lnTo>
                    <a:lnTo>
                      <a:pt x="54" y="126"/>
                    </a:lnTo>
                    <a:lnTo>
                      <a:pt x="80" y="170"/>
                    </a:lnTo>
                    <a:lnTo>
                      <a:pt x="108" y="212"/>
                    </a:lnTo>
                    <a:lnTo>
                      <a:pt x="130" y="250"/>
                    </a:lnTo>
                    <a:lnTo>
                      <a:pt x="136" y="254"/>
                    </a:lnTo>
                    <a:lnTo>
                      <a:pt x="142" y="260"/>
                    </a:lnTo>
                    <a:lnTo>
                      <a:pt x="148" y="268"/>
                    </a:lnTo>
                    <a:lnTo>
                      <a:pt x="150" y="274"/>
                    </a:lnTo>
                    <a:lnTo>
                      <a:pt x="152" y="278"/>
                    </a:lnTo>
                    <a:lnTo>
                      <a:pt x="150" y="282"/>
                    </a:lnTo>
                    <a:lnTo>
                      <a:pt x="148" y="286"/>
                    </a:lnTo>
                    <a:lnTo>
                      <a:pt x="144" y="290"/>
                    </a:lnTo>
                    <a:lnTo>
                      <a:pt x="130" y="296"/>
                    </a:lnTo>
                    <a:lnTo>
                      <a:pt x="132" y="296"/>
                    </a:lnTo>
                    <a:lnTo>
                      <a:pt x="132" y="332"/>
                    </a:lnTo>
                    <a:lnTo>
                      <a:pt x="144" y="360"/>
                    </a:lnTo>
                    <a:lnTo>
                      <a:pt x="148" y="374"/>
                    </a:lnTo>
                    <a:lnTo>
                      <a:pt x="150" y="386"/>
                    </a:lnTo>
                    <a:lnTo>
                      <a:pt x="150" y="406"/>
                    </a:lnTo>
                    <a:lnTo>
                      <a:pt x="152" y="414"/>
                    </a:lnTo>
                    <a:lnTo>
                      <a:pt x="156" y="422"/>
                    </a:lnTo>
                    <a:lnTo>
                      <a:pt x="160" y="428"/>
                    </a:lnTo>
                    <a:lnTo>
                      <a:pt x="164" y="432"/>
                    </a:lnTo>
                    <a:lnTo>
                      <a:pt x="164" y="466"/>
                    </a:lnTo>
                    <a:lnTo>
                      <a:pt x="170" y="478"/>
                    </a:lnTo>
                    <a:lnTo>
                      <a:pt x="178" y="490"/>
                    </a:lnTo>
                    <a:lnTo>
                      <a:pt x="192" y="510"/>
                    </a:lnTo>
                    <a:lnTo>
                      <a:pt x="211" y="528"/>
                    </a:lnTo>
                    <a:lnTo>
                      <a:pt x="231" y="544"/>
                    </a:lnTo>
                    <a:lnTo>
                      <a:pt x="235" y="542"/>
                    </a:lnTo>
                    <a:lnTo>
                      <a:pt x="237" y="538"/>
                    </a:lnTo>
                    <a:lnTo>
                      <a:pt x="241" y="530"/>
                    </a:lnTo>
                    <a:lnTo>
                      <a:pt x="245" y="522"/>
                    </a:lnTo>
                    <a:lnTo>
                      <a:pt x="247" y="520"/>
                    </a:lnTo>
                    <a:lnTo>
                      <a:pt x="253" y="518"/>
                    </a:lnTo>
                    <a:lnTo>
                      <a:pt x="257" y="520"/>
                    </a:lnTo>
                    <a:lnTo>
                      <a:pt x="261" y="522"/>
                    </a:lnTo>
                    <a:lnTo>
                      <a:pt x="267" y="530"/>
                    </a:lnTo>
                    <a:lnTo>
                      <a:pt x="273" y="540"/>
                    </a:lnTo>
                    <a:lnTo>
                      <a:pt x="277" y="548"/>
                    </a:lnTo>
                    <a:lnTo>
                      <a:pt x="283" y="552"/>
                    </a:lnTo>
                    <a:lnTo>
                      <a:pt x="289" y="554"/>
                    </a:lnTo>
                    <a:lnTo>
                      <a:pt x="307" y="558"/>
                    </a:lnTo>
                    <a:lnTo>
                      <a:pt x="325" y="560"/>
                    </a:lnTo>
                    <a:lnTo>
                      <a:pt x="339" y="560"/>
                    </a:lnTo>
                    <a:lnTo>
                      <a:pt x="347" y="558"/>
                    </a:lnTo>
                    <a:lnTo>
                      <a:pt x="351" y="556"/>
                    </a:lnTo>
                    <a:lnTo>
                      <a:pt x="363" y="548"/>
                    </a:lnTo>
                    <a:lnTo>
                      <a:pt x="373" y="542"/>
                    </a:lnTo>
                    <a:lnTo>
                      <a:pt x="379" y="538"/>
                    </a:lnTo>
                    <a:lnTo>
                      <a:pt x="387" y="538"/>
                    </a:lnTo>
                    <a:lnTo>
                      <a:pt x="387" y="536"/>
                    </a:lnTo>
                    <a:lnTo>
                      <a:pt x="385" y="372"/>
                    </a:lnTo>
                    <a:lnTo>
                      <a:pt x="385" y="238"/>
                    </a:lnTo>
                    <a:lnTo>
                      <a:pt x="435" y="238"/>
                    </a:lnTo>
                    <a:lnTo>
                      <a:pt x="435" y="58"/>
                    </a:lnTo>
                    <a:lnTo>
                      <a:pt x="443" y="58"/>
                    </a:lnTo>
                    <a:lnTo>
                      <a:pt x="545" y="44"/>
                    </a:lnTo>
                    <a:lnTo>
                      <a:pt x="555" y="52"/>
                    </a:lnTo>
                    <a:lnTo>
                      <a:pt x="567" y="62"/>
                    </a:lnTo>
                    <a:lnTo>
                      <a:pt x="577" y="54"/>
                    </a:lnTo>
                    <a:lnTo>
                      <a:pt x="587" y="46"/>
                    </a:lnTo>
                    <a:lnTo>
                      <a:pt x="599" y="40"/>
                    </a:lnTo>
                    <a:lnTo>
                      <a:pt x="607" y="38"/>
                    </a:lnTo>
                    <a:lnTo>
                      <a:pt x="615" y="38"/>
                    </a:lnTo>
                    <a:lnTo>
                      <a:pt x="631" y="38"/>
                    </a:lnTo>
                    <a:lnTo>
                      <a:pt x="645" y="38"/>
                    </a:lnTo>
                    <a:lnTo>
                      <a:pt x="637" y="34"/>
                    </a:lnTo>
                    <a:lnTo>
                      <a:pt x="631" y="28"/>
                    </a:lnTo>
                    <a:lnTo>
                      <a:pt x="623" y="24"/>
                    </a:lnTo>
                    <a:lnTo>
                      <a:pt x="613" y="22"/>
                    </a:lnTo>
                    <a:lnTo>
                      <a:pt x="589" y="22"/>
                    </a:lnTo>
                    <a:lnTo>
                      <a:pt x="569" y="24"/>
                    </a:lnTo>
                    <a:lnTo>
                      <a:pt x="527" y="32"/>
                    </a:lnTo>
                    <a:lnTo>
                      <a:pt x="485" y="40"/>
                    </a:lnTo>
                    <a:lnTo>
                      <a:pt x="463" y="42"/>
                    </a:lnTo>
                    <a:lnTo>
                      <a:pt x="439" y="44"/>
                    </a:lnTo>
                    <a:lnTo>
                      <a:pt x="411" y="42"/>
                    </a:lnTo>
                    <a:lnTo>
                      <a:pt x="381" y="40"/>
                    </a:lnTo>
                    <a:lnTo>
                      <a:pt x="353" y="36"/>
                    </a:lnTo>
                    <a:lnTo>
                      <a:pt x="329" y="30"/>
                    </a:lnTo>
                    <a:lnTo>
                      <a:pt x="325" y="28"/>
                    </a:lnTo>
                    <a:lnTo>
                      <a:pt x="321" y="24"/>
                    </a:lnTo>
                    <a:lnTo>
                      <a:pt x="317" y="20"/>
                    </a:lnTo>
                    <a:lnTo>
                      <a:pt x="313" y="18"/>
                    </a:lnTo>
                    <a:lnTo>
                      <a:pt x="106" y="18"/>
                    </a:lnTo>
                    <a:lnTo>
                      <a:pt x="98" y="10"/>
                    </a:lnTo>
                    <a:lnTo>
                      <a:pt x="92" y="6"/>
                    </a:lnTo>
                    <a:lnTo>
                      <a:pt x="82" y="2"/>
                    </a:lnTo>
                    <a:lnTo>
                      <a:pt x="70" y="0"/>
                    </a:lnTo>
                    <a:lnTo>
                      <a:pt x="58" y="2"/>
                    </a:lnTo>
                    <a:lnTo>
                      <a:pt x="50" y="4"/>
                    </a:lnTo>
                    <a:lnTo>
                      <a:pt x="42" y="6"/>
                    </a:lnTo>
                    <a:lnTo>
                      <a:pt x="34" y="8"/>
                    </a:lnTo>
                    <a:lnTo>
                      <a:pt x="18" y="6"/>
                    </a:lnTo>
                    <a:lnTo>
                      <a:pt x="0" y="8"/>
                    </a:lnTo>
                    <a:lnTo>
                      <a:pt x="0" y="28"/>
                    </a:lnTo>
                    <a:lnTo>
                      <a:pt x="8" y="44"/>
                    </a:lnTo>
                    <a:lnTo>
                      <a:pt x="16" y="58"/>
                    </a:lnTo>
                    <a:lnTo>
                      <a:pt x="24" y="72"/>
                    </a:lnTo>
                    <a:lnTo>
                      <a:pt x="34" y="86"/>
                    </a:lnTo>
                    <a:lnTo>
                      <a:pt x="36" y="86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55" name="Freeform 26"/>
              <p:cNvSpPr>
                <a:spLocks/>
              </p:cNvSpPr>
              <p:nvPr/>
            </p:nvSpPr>
            <p:spPr bwMode="gray">
              <a:xfrm>
                <a:off x="3989388" y="3186907"/>
                <a:ext cx="1327150" cy="1319213"/>
              </a:xfrm>
              <a:custGeom>
                <a:avLst/>
                <a:gdLst>
                  <a:gd name="T0" fmla="*/ 2147483647 w 917"/>
                  <a:gd name="T1" fmla="*/ 2147483647 h 911"/>
                  <a:gd name="T2" fmla="*/ 2147483647 w 917"/>
                  <a:gd name="T3" fmla="*/ 2147483647 h 911"/>
                  <a:gd name="T4" fmla="*/ 2147483647 w 917"/>
                  <a:gd name="T5" fmla="*/ 2147483647 h 911"/>
                  <a:gd name="T6" fmla="*/ 2147483647 w 917"/>
                  <a:gd name="T7" fmla="*/ 2147483647 h 911"/>
                  <a:gd name="T8" fmla="*/ 2147483647 w 917"/>
                  <a:gd name="T9" fmla="*/ 2147483647 h 911"/>
                  <a:gd name="T10" fmla="*/ 2147483647 w 917"/>
                  <a:gd name="T11" fmla="*/ 2147483647 h 911"/>
                  <a:gd name="T12" fmla="*/ 2147483647 w 917"/>
                  <a:gd name="T13" fmla="*/ 2147483647 h 911"/>
                  <a:gd name="T14" fmla="*/ 2147483647 w 917"/>
                  <a:gd name="T15" fmla="*/ 2147483647 h 911"/>
                  <a:gd name="T16" fmla="*/ 2147483647 w 917"/>
                  <a:gd name="T17" fmla="*/ 2147483647 h 911"/>
                  <a:gd name="T18" fmla="*/ 2147483647 w 917"/>
                  <a:gd name="T19" fmla="*/ 2147483647 h 911"/>
                  <a:gd name="T20" fmla="*/ 2147483647 w 917"/>
                  <a:gd name="T21" fmla="*/ 2147483647 h 911"/>
                  <a:gd name="T22" fmla="*/ 2147483647 w 917"/>
                  <a:gd name="T23" fmla="*/ 2147483647 h 911"/>
                  <a:gd name="T24" fmla="*/ 2147483647 w 917"/>
                  <a:gd name="T25" fmla="*/ 2147483647 h 911"/>
                  <a:gd name="T26" fmla="*/ 2147483647 w 917"/>
                  <a:gd name="T27" fmla="*/ 2147483647 h 911"/>
                  <a:gd name="T28" fmla="*/ 2147483647 w 917"/>
                  <a:gd name="T29" fmla="*/ 2147483647 h 911"/>
                  <a:gd name="T30" fmla="*/ 2147483647 w 917"/>
                  <a:gd name="T31" fmla="*/ 2147483647 h 911"/>
                  <a:gd name="T32" fmla="*/ 2147483647 w 917"/>
                  <a:gd name="T33" fmla="*/ 2147483647 h 911"/>
                  <a:gd name="T34" fmla="*/ 2147483647 w 917"/>
                  <a:gd name="T35" fmla="*/ 2147483647 h 911"/>
                  <a:gd name="T36" fmla="*/ 2147483647 w 917"/>
                  <a:gd name="T37" fmla="*/ 2147483647 h 911"/>
                  <a:gd name="T38" fmla="*/ 2147483647 w 917"/>
                  <a:gd name="T39" fmla="*/ 2147483647 h 911"/>
                  <a:gd name="T40" fmla="*/ 2147483647 w 917"/>
                  <a:gd name="T41" fmla="*/ 2147483647 h 911"/>
                  <a:gd name="T42" fmla="*/ 2147483647 w 917"/>
                  <a:gd name="T43" fmla="*/ 2147483647 h 911"/>
                  <a:gd name="T44" fmla="*/ 2147483647 w 917"/>
                  <a:gd name="T45" fmla="*/ 2147483647 h 911"/>
                  <a:gd name="T46" fmla="*/ 2147483647 w 917"/>
                  <a:gd name="T47" fmla="*/ 2147483647 h 911"/>
                  <a:gd name="T48" fmla="*/ 2147483647 w 917"/>
                  <a:gd name="T49" fmla="*/ 2147483647 h 911"/>
                  <a:gd name="T50" fmla="*/ 2147483647 w 917"/>
                  <a:gd name="T51" fmla="*/ 2147483647 h 911"/>
                  <a:gd name="T52" fmla="*/ 2147483647 w 917"/>
                  <a:gd name="T53" fmla="*/ 2147483647 h 911"/>
                  <a:gd name="T54" fmla="*/ 2147483647 w 917"/>
                  <a:gd name="T55" fmla="*/ 2147483647 h 911"/>
                  <a:gd name="T56" fmla="*/ 2147483647 w 917"/>
                  <a:gd name="T57" fmla="*/ 2147483647 h 911"/>
                  <a:gd name="T58" fmla="*/ 2147483647 w 917"/>
                  <a:gd name="T59" fmla="*/ 2147483647 h 911"/>
                  <a:gd name="T60" fmla="*/ 2147483647 w 917"/>
                  <a:gd name="T61" fmla="*/ 2147483647 h 911"/>
                  <a:gd name="T62" fmla="*/ 2147483647 w 917"/>
                  <a:gd name="T63" fmla="*/ 2147483647 h 911"/>
                  <a:gd name="T64" fmla="*/ 2147483647 w 917"/>
                  <a:gd name="T65" fmla="*/ 2147483647 h 911"/>
                  <a:gd name="T66" fmla="*/ 2147483647 w 917"/>
                  <a:gd name="T67" fmla="*/ 2147483647 h 911"/>
                  <a:gd name="T68" fmla="*/ 2147483647 w 917"/>
                  <a:gd name="T69" fmla="*/ 2147483647 h 911"/>
                  <a:gd name="T70" fmla="*/ 2147483647 w 917"/>
                  <a:gd name="T71" fmla="*/ 2147483647 h 911"/>
                  <a:gd name="T72" fmla="*/ 2147483647 w 917"/>
                  <a:gd name="T73" fmla="*/ 2147483647 h 911"/>
                  <a:gd name="T74" fmla="*/ 2147483647 w 917"/>
                  <a:gd name="T75" fmla="*/ 2147483647 h 911"/>
                  <a:gd name="T76" fmla="*/ 2147483647 w 917"/>
                  <a:gd name="T77" fmla="*/ 2147483647 h 911"/>
                  <a:gd name="T78" fmla="*/ 2147483647 w 917"/>
                  <a:gd name="T79" fmla="*/ 2147483647 h 911"/>
                  <a:gd name="T80" fmla="*/ 2147483647 w 917"/>
                  <a:gd name="T81" fmla="*/ 2147483647 h 911"/>
                  <a:gd name="T82" fmla="*/ 2147483647 w 917"/>
                  <a:gd name="T83" fmla="*/ 2147483647 h 911"/>
                  <a:gd name="T84" fmla="*/ 2147483647 w 917"/>
                  <a:gd name="T85" fmla="*/ 2147483647 h 911"/>
                  <a:gd name="T86" fmla="*/ 2147483647 w 917"/>
                  <a:gd name="T87" fmla="*/ 2147483647 h 911"/>
                  <a:gd name="T88" fmla="*/ 2147483647 w 917"/>
                  <a:gd name="T89" fmla="*/ 2147483647 h 911"/>
                  <a:gd name="T90" fmla="*/ 2147483647 w 917"/>
                  <a:gd name="T91" fmla="*/ 2147483647 h 911"/>
                  <a:gd name="T92" fmla="*/ 2147483647 w 917"/>
                  <a:gd name="T93" fmla="*/ 2147483647 h 911"/>
                  <a:gd name="T94" fmla="*/ 2147483647 w 917"/>
                  <a:gd name="T95" fmla="*/ 2147483647 h 911"/>
                  <a:gd name="T96" fmla="*/ 2147483647 w 917"/>
                  <a:gd name="T97" fmla="*/ 2147483647 h 911"/>
                  <a:gd name="T98" fmla="*/ 2147483647 w 917"/>
                  <a:gd name="T99" fmla="*/ 2147483647 h 911"/>
                  <a:gd name="T100" fmla="*/ 2147483647 w 917"/>
                  <a:gd name="T101" fmla="*/ 2147483647 h 911"/>
                  <a:gd name="T102" fmla="*/ 2147483647 w 917"/>
                  <a:gd name="T103" fmla="*/ 2147483647 h 911"/>
                  <a:gd name="T104" fmla="*/ 2147483647 w 917"/>
                  <a:gd name="T105" fmla="*/ 2147483647 h 911"/>
                  <a:gd name="T106" fmla="*/ 2147483647 w 917"/>
                  <a:gd name="T107" fmla="*/ 2147483647 h 911"/>
                  <a:gd name="T108" fmla="*/ 2147483647 w 917"/>
                  <a:gd name="T109" fmla="*/ 2147483647 h 911"/>
                  <a:gd name="T110" fmla="*/ 2147483647 w 917"/>
                  <a:gd name="T111" fmla="*/ 2147483647 h 911"/>
                  <a:gd name="T112" fmla="*/ 2147483647 w 917"/>
                  <a:gd name="T113" fmla="*/ 2147483647 h 911"/>
                  <a:gd name="T114" fmla="*/ 2147483647 w 917"/>
                  <a:gd name="T115" fmla="*/ 2147483647 h 911"/>
                  <a:gd name="T116" fmla="*/ 2147483647 w 917"/>
                  <a:gd name="T117" fmla="*/ 2147483647 h 911"/>
                  <a:gd name="T118" fmla="*/ 2147483647 w 917"/>
                  <a:gd name="T119" fmla="*/ 2147483647 h 91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17"/>
                  <a:gd name="T181" fmla="*/ 0 h 911"/>
                  <a:gd name="T182" fmla="*/ 917 w 917"/>
                  <a:gd name="T183" fmla="*/ 911 h 91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17" h="911">
                    <a:moveTo>
                      <a:pt x="285" y="158"/>
                    </a:moveTo>
                    <a:lnTo>
                      <a:pt x="291" y="148"/>
                    </a:lnTo>
                    <a:lnTo>
                      <a:pt x="299" y="138"/>
                    </a:lnTo>
                    <a:lnTo>
                      <a:pt x="305" y="130"/>
                    </a:lnTo>
                    <a:lnTo>
                      <a:pt x="311" y="120"/>
                    </a:lnTo>
                    <a:lnTo>
                      <a:pt x="313" y="106"/>
                    </a:lnTo>
                    <a:lnTo>
                      <a:pt x="313" y="94"/>
                    </a:lnTo>
                    <a:lnTo>
                      <a:pt x="311" y="68"/>
                    </a:lnTo>
                    <a:lnTo>
                      <a:pt x="311" y="58"/>
                    </a:lnTo>
                    <a:lnTo>
                      <a:pt x="315" y="48"/>
                    </a:lnTo>
                    <a:lnTo>
                      <a:pt x="319" y="38"/>
                    </a:lnTo>
                    <a:lnTo>
                      <a:pt x="325" y="28"/>
                    </a:lnTo>
                    <a:lnTo>
                      <a:pt x="333" y="20"/>
                    </a:lnTo>
                    <a:lnTo>
                      <a:pt x="341" y="14"/>
                    </a:lnTo>
                    <a:lnTo>
                      <a:pt x="349" y="10"/>
                    </a:lnTo>
                    <a:lnTo>
                      <a:pt x="357" y="8"/>
                    </a:lnTo>
                    <a:lnTo>
                      <a:pt x="365" y="8"/>
                    </a:lnTo>
                    <a:lnTo>
                      <a:pt x="371" y="12"/>
                    </a:lnTo>
                    <a:lnTo>
                      <a:pt x="381" y="22"/>
                    </a:lnTo>
                    <a:lnTo>
                      <a:pt x="389" y="32"/>
                    </a:lnTo>
                    <a:lnTo>
                      <a:pt x="397" y="40"/>
                    </a:lnTo>
                    <a:lnTo>
                      <a:pt x="415" y="48"/>
                    </a:lnTo>
                    <a:lnTo>
                      <a:pt x="439" y="54"/>
                    </a:lnTo>
                    <a:lnTo>
                      <a:pt x="461" y="56"/>
                    </a:lnTo>
                    <a:lnTo>
                      <a:pt x="483" y="58"/>
                    </a:lnTo>
                    <a:lnTo>
                      <a:pt x="491" y="56"/>
                    </a:lnTo>
                    <a:lnTo>
                      <a:pt x="497" y="54"/>
                    </a:lnTo>
                    <a:lnTo>
                      <a:pt x="501" y="48"/>
                    </a:lnTo>
                    <a:lnTo>
                      <a:pt x="505" y="42"/>
                    </a:lnTo>
                    <a:lnTo>
                      <a:pt x="509" y="38"/>
                    </a:lnTo>
                    <a:lnTo>
                      <a:pt x="513" y="32"/>
                    </a:lnTo>
                    <a:lnTo>
                      <a:pt x="519" y="28"/>
                    </a:lnTo>
                    <a:lnTo>
                      <a:pt x="527" y="28"/>
                    </a:lnTo>
                    <a:lnTo>
                      <a:pt x="533" y="30"/>
                    </a:lnTo>
                    <a:lnTo>
                      <a:pt x="537" y="32"/>
                    </a:lnTo>
                    <a:lnTo>
                      <a:pt x="539" y="32"/>
                    </a:lnTo>
                    <a:lnTo>
                      <a:pt x="547" y="32"/>
                    </a:lnTo>
                    <a:lnTo>
                      <a:pt x="555" y="30"/>
                    </a:lnTo>
                    <a:lnTo>
                      <a:pt x="567" y="24"/>
                    </a:lnTo>
                    <a:lnTo>
                      <a:pt x="581" y="18"/>
                    </a:lnTo>
                    <a:lnTo>
                      <a:pt x="587" y="14"/>
                    </a:lnTo>
                    <a:lnTo>
                      <a:pt x="593" y="14"/>
                    </a:lnTo>
                    <a:lnTo>
                      <a:pt x="597" y="18"/>
                    </a:lnTo>
                    <a:lnTo>
                      <a:pt x="601" y="18"/>
                    </a:lnTo>
                    <a:lnTo>
                      <a:pt x="609" y="18"/>
                    </a:lnTo>
                    <a:lnTo>
                      <a:pt x="621" y="18"/>
                    </a:lnTo>
                    <a:lnTo>
                      <a:pt x="627" y="14"/>
                    </a:lnTo>
                    <a:lnTo>
                      <a:pt x="633" y="10"/>
                    </a:lnTo>
                    <a:lnTo>
                      <a:pt x="633" y="0"/>
                    </a:lnTo>
                    <a:lnTo>
                      <a:pt x="643" y="0"/>
                    </a:lnTo>
                    <a:lnTo>
                      <a:pt x="651" y="0"/>
                    </a:lnTo>
                    <a:lnTo>
                      <a:pt x="667" y="6"/>
                    </a:lnTo>
                    <a:lnTo>
                      <a:pt x="681" y="10"/>
                    </a:lnTo>
                    <a:lnTo>
                      <a:pt x="691" y="12"/>
                    </a:lnTo>
                    <a:lnTo>
                      <a:pt x="699" y="14"/>
                    </a:lnTo>
                    <a:lnTo>
                      <a:pt x="709" y="12"/>
                    </a:lnTo>
                    <a:lnTo>
                      <a:pt x="715" y="10"/>
                    </a:lnTo>
                    <a:lnTo>
                      <a:pt x="729" y="8"/>
                    </a:lnTo>
                    <a:lnTo>
                      <a:pt x="725" y="0"/>
                    </a:lnTo>
                    <a:lnTo>
                      <a:pt x="727" y="4"/>
                    </a:lnTo>
                    <a:lnTo>
                      <a:pt x="729" y="8"/>
                    </a:lnTo>
                    <a:lnTo>
                      <a:pt x="733" y="10"/>
                    </a:lnTo>
                    <a:lnTo>
                      <a:pt x="739" y="14"/>
                    </a:lnTo>
                    <a:lnTo>
                      <a:pt x="747" y="18"/>
                    </a:lnTo>
                    <a:lnTo>
                      <a:pt x="753" y="24"/>
                    </a:lnTo>
                    <a:lnTo>
                      <a:pt x="761" y="38"/>
                    </a:lnTo>
                    <a:lnTo>
                      <a:pt x="769" y="44"/>
                    </a:lnTo>
                    <a:lnTo>
                      <a:pt x="773" y="46"/>
                    </a:lnTo>
                    <a:lnTo>
                      <a:pt x="779" y="48"/>
                    </a:lnTo>
                    <a:lnTo>
                      <a:pt x="785" y="46"/>
                    </a:lnTo>
                    <a:lnTo>
                      <a:pt x="789" y="42"/>
                    </a:lnTo>
                    <a:lnTo>
                      <a:pt x="793" y="40"/>
                    </a:lnTo>
                    <a:lnTo>
                      <a:pt x="799" y="38"/>
                    </a:lnTo>
                    <a:lnTo>
                      <a:pt x="805" y="40"/>
                    </a:lnTo>
                    <a:lnTo>
                      <a:pt x="813" y="40"/>
                    </a:lnTo>
                    <a:lnTo>
                      <a:pt x="819" y="42"/>
                    </a:lnTo>
                    <a:lnTo>
                      <a:pt x="825" y="44"/>
                    </a:lnTo>
                    <a:lnTo>
                      <a:pt x="829" y="42"/>
                    </a:lnTo>
                    <a:lnTo>
                      <a:pt x="833" y="38"/>
                    </a:lnTo>
                    <a:lnTo>
                      <a:pt x="835" y="34"/>
                    </a:lnTo>
                    <a:lnTo>
                      <a:pt x="839" y="32"/>
                    </a:lnTo>
                    <a:lnTo>
                      <a:pt x="847" y="32"/>
                    </a:lnTo>
                    <a:lnTo>
                      <a:pt x="851" y="36"/>
                    </a:lnTo>
                    <a:lnTo>
                      <a:pt x="859" y="46"/>
                    </a:lnTo>
                    <a:lnTo>
                      <a:pt x="865" y="56"/>
                    </a:lnTo>
                    <a:lnTo>
                      <a:pt x="869" y="60"/>
                    </a:lnTo>
                    <a:lnTo>
                      <a:pt x="875" y="64"/>
                    </a:lnTo>
                    <a:lnTo>
                      <a:pt x="883" y="64"/>
                    </a:lnTo>
                    <a:lnTo>
                      <a:pt x="887" y="66"/>
                    </a:lnTo>
                    <a:lnTo>
                      <a:pt x="889" y="68"/>
                    </a:lnTo>
                    <a:lnTo>
                      <a:pt x="889" y="70"/>
                    </a:lnTo>
                    <a:lnTo>
                      <a:pt x="889" y="76"/>
                    </a:lnTo>
                    <a:lnTo>
                      <a:pt x="891" y="80"/>
                    </a:lnTo>
                    <a:lnTo>
                      <a:pt x="893" y="82"/>
                    </a:lnTo>
                    <a:lnTo>
                      <a:pt x="897" y="82"/>
                    </a:lnTo>
                    <a:lnTo>
                      <a:pt x="897" y="80"/>
                    </a:lnTo>
                    <a:lnTo>
                      <a:pt x="899" y="86"/>
                    </a:lnTo>
                    <a:lnTo>
                      <a:pt x="899" y="92"/>
                    </a:lnTo>
                    <a:lnTo>
                      <a:pt x="897" y="104"/>
                    </a:lnTo>
                    <a:lnTo>
                      <a:pt x="899" y="112"/>
                    </a:lnTo>
                    <a:lnTo>
                      <a:pt x="899" y="118"/>
                    </a:lnTo>
                    <a:lnTo>
                      <a:pt x="899" y="122"/>
                    </a:lnTo>
                    <a:lnTo>
                      <a:pt x="897" y="124"/>
                    </a:lnTo>
                    <a:lnTo>
                      <a:pt x="895" y="128"/>
                    </a:lnTo>
                    <a:lnTo>
                      <a:pt x="895" y="132"/>
                    </a:lnTo>
                    <a:lnTo>
                      <a:pt x="895" y="136"/>
                    </a:lnTo>
                    <a:lnTo>
                      <a:pt x="899" y="138"/>
                    </a:lnTo>
                    <a:lnTo>
                      <a:pt x="905" y="142"/>
                    </a:lnTo>
                    <a:lnTo>
                      <a:pt x="913" y="144"/>
                    </a:lnTo>
                    <a:lnTo>
                      <a:pt x="915" y="148"/>
                    </a:lnTo>
                    <a:lnTo>
                      <a:pt x="917" y="150"/>
                    </a:lnTo>
                    <a:lnTo>
                      <a:pt x="915" y="158"/>
                    </a:lnTo>
                    <a:lnTo>
                      <a:pt x="909" y="164"/>
                    </a:lnTo>
                    <a:lnTo>
                      <a:pt x="899" y="174"/>
                    </a:lnTo>
                    <a:lnTo>
                      <a:pt x="865" y="207"/>
                    </a:lnTo>
                    <a:lnTo>
                      <a:pt x="859" y="213"/>
                    </a:lnTo>
                    <a:lnTo>
                      <a:pt x="857" y="217"/>
                    </a:lnTo>
                    <a:lnTo>
                      <a:pt x="855" y="221"/>
                    </a:lnTo>
                    <a:lnTo>
                      <a:pt x="853" y="241"/>
                    </a:lnTo>
                    <a:lnTo>
                      <a:pt x="847" y="263"/>
                    </a:lnTo>
                    <a:lnTo>
                      <a:pt x="843" y="287"/>
                    </a:lnTo>
                    <a:lnTo>
                      <a:pt x="841" y="299"/>
                    </a:lnTo>
                    <a:lnTo>
                      <a:pt x="841" y="313"/>
                    </a:lnTo>
                    <a:lnTo>
                      <a:pt x="841" y="327"/>
                    </a:lnTo>
                    <a:lnTo>
                      <a:pt x="835" y="331"/>
                    </a:lnTo>
                    <a:lnTo>
                      <a:pt x="829" y="337"/>
                    </a:lnTo>
                    <a:lnTo>
                      <a:pt x="825" y="343"/>
                    </a:lnTo>
                    <a:lnTo>
                      <a:pt x="823" y="351"/>
                    </a:lnTo>
                    <a:lnTo>
                      <a:pt x="825" y="359"/>
                    </a:lnTo>
                    <a:lnTo>
                      <a:pt x="823" y="361"/>
                    </a:lnTo>
                    <a:lnTo>
                      <a:pt x="821" y="365"/>
                    </a:lnTo>
                    <a:lnTo>
                      <a:pt x="813" y="369"/>
                    </a:lnTo>
                    <a:lnTo>
                      <a:pt x="809" y="373"/>
                    </a:lnTo>
                    <a:lnTo>
                      <a:pt x="809" y="381"/>
                    </a:lnTo>
                    <a:lnTo>
                      <a:pt x="811" y="387"/>
                    </a:lnTo>
                    <a:lnTo>
                      <a:pt x="815" y="393"/>
                    </a:lnTo>
                    <a:lnTo>
                      <a:pt x="815" y="399"/>
                    </a:lnTo>
                    <a:lnTo>
                      <a:pt x="819" y="401"/>
                    </a:lnTo>
                    <a:lnTo>
                      <a:pt x="821" y="405"/>
                    </a:lnTo>
                    <a:lnTo>
                      <a:pt x="825" y="411"/>
                    </a:lnTo>
                    <a:lnTo>
                      <a:pt x="825" y="417"/>
                    </a:lnTo>
                    <a:lnTo>
                      <a:pt x="825" y="423"/>
                    </a:lnTo>
                    <a:lnTo>
                      <a:pt x="825" y="435"/>
                    </a:lnTo>
                    <a:lnTo>
                      <a:pt x="825" y="443"/>
                    </a:lnTo>
                    <a:lnTo>
                      <a:pt x="827" y="447"/>
                    </a:lnTo>
                    <a:lnTo>
                      <a:pt x="821" y="447"/>
                    </a:lnTo>
                    <a:lnTo>
                      <a:pt x="821" y="455"/>
                    </a:lnTo>
                    <a:lnTo>
                      <a:pt x="823" y="463"/>
                    </a:lnTo>
                    <a:lnTo>
                      <a:pt x="825" y="473"/>
                    </a:lnTo>
                    <a:lnTo>
                      <a:pt x="823" y="483"/>
                    </a:lnTo>
                    <a:lnTo>
                      <a:pt x="821" y="497"/>
                    </a:lnTo>
                    <a:lnTo>
                      <a:pt x="823" y="509"/>
                    </a:lnTo>
                    <a:lnTo>
                      <a:pt x="825" y="519"/>
                    </a:lnTo>
                    <a:lnTo>
                      <a:pt x="829" y="527"/>
                    </a:lnTo>
                    <a:lnTo>
                      <a:pt x="829" y="537"/>
                    </a:lnTo>
                    <a:lnTo>
                      <a:pt x="829" y="553"/>
                    </a:lnTo>
                    <a:lnTo>
                      <a:pt x="831" y="563"/>
                    </a:lnTo>
                    <a:lnTo>
                      <a:pt x="837" y="575"/>
                    </a:lnTo>
                    <a:lnTo>
                      <a:pt x="841" y="587"/>
                    </a:lnTo>
                    <a:lnTo>
                      <a:pt x="847" y="595"/>
                    </a:lnTo>
                    <a:lnTo>
                      <a:pt x="859" y="605"/>
                    </a:lnTo>
                    <a:lnTo>
                      <a:pt x="867" y="611"/>
                    </a:lnTo>
                    <a:lnTo>
                      <a:pt x="871" y="617"/>
                    </a:lnTo>
                    <a:lnTo>
                      <a:pt x="875" y="627"/>
                    </a:lnTo>
                    <a:lnTo>
                      <a:pt x="877" y="637"/>
                    </a:lnTo>
                    <a:lnTo>
                      <a:pt x="883" y="645"/>
                    </a:lnTo>
                    <a:lnTo>
                      <a:pt x="891" y="653"/>
                    </a:lnTo>
                    <a:lnTo>
                      <a:pt x="895" y="657"/>
                    </a:lnTo>
                    <a:lnTo>
                      <a:pt x="863" y="661"/>
                    </a:lnTo>
                    <a:lnTo>
                      <a:pt x="849" y="663"/>
                    </a:lnTo>
                    <a:lnTo>
                      <a:pt x="837" y="665"/>
                    </a:lnTo>
                    <a:lnTo>
                      <a:pt x="825" y="665"/>
                    </a:lnTo>
                    <a:lnTo>
                      <a:pt x="817" y="667"/>
                    </a:lnTo>
                    <a:lnTo>
                      <a:pt x="811" y="671"/>
                    </a:lnTo>
                    <a:lnTo>
                      <a:pt x="809" y="673"/>
                    </a:lnTo>
                    <a:lnTo>
                      <a:pt x="807" y="677"/>
                    </a:lnTo>
                    <a:lnTo>
                      <a:pt x="805" y="683"/>
                    </a:lnTo>
                    <a:lnTo>
                      <a:pt x="803" y="689"/>
                    </a:lnTo>
                    <a:lnTo>
                      <a:pt x="799" y="697"/>
                    </a:lnTo>
                    <a:lnTo>
                      <a:pt x="789" y="703"/>
                    </a:lnTo>
                    <a:lnTo>
                      <a:pt x="785" y="707"/>
                    </a:lnTo>
                    <a:lnTo>
                      <a:pt x="783" y="713"/>
                    </a:lnTo>
                    <a:lnTo>
                      <a:pt x="783" y="717"/>
                    </a:lnTo>
                    <a:lnTo>
                      <a:pt x="785" y="721"/>
                    </a:lnTo>
                    <a:lnTo>
                      <a:pt x="789" y="725"/>
                    </a:lnTo>
                    <a:lnTo>
                      <a:pt x="789" y="729"/>
                    </a:lnTo>
                    <a:lnTo>
                      <a:pt x="789" y="789"/>
                    </a:lnTo>
                    <a:lnTo>
                      <a:pt x="785" y="793"/>
                    </a:lnTo>
                    <a:lnTo>
                      <a:pt x="781" y="799"/>
                    </a:lnTo>
                    <a:lnTo>
                      <a:pt x="779" y="805"/>
                    </a:lnTo>
                    <a:lnTo>
                      <a:pt x="779" y="813"/>
                    </a:lnTo>
                    <a:lnTo>
                      <a:pt x="779" y="821"/>
                    </a:lnTo>
                    <a:lnTo>
                      <a:pt x="783" y="829"/>
                    </a:lnTo>
                    <a:lnTo>
                      <a:pt x="791" y="843"/>
                    </a:lnTo>
                    <a:lnTo>
                      <a:pt x="805" y="857"/>
                    </a:lnTo>
                    <a:lnTo>
                      <a:pt x="817" y="865"/>
                    </a:lnTo>
                    <a:lnTo>
                      <a:pt x="831" y="865"/>
                    </a:lnTo>
                    <a:lnTo>
                      <a:pt x="833" y="861"/>
                    </a:lnTo>
                    <a:lnTo>
                      <a:pt x="837" y="857"/>
                    </a:lnTo>
                    <a:lnTo>
                      <a:pt x="845" y="853"/>
                    </a:lnTo>
                    <a:lnTo>
                      <a:pt x="845" y="905"/>
                    </a:lnTo>
                    <a:lnTo>
                      <a:pt x="827" y="905"/>
                    </a:lnTo>
                    <a:lnTo>
                      <a:pt x="823" y="905"/>
                    </a:lnTo>
                    <a:lnTo>
                      <a:pt x="819" y="907"/>
                    </a:lnTo>
                    <a:lnTo>
                      <a:pt x="815" y="909"/>
                    </a:lnTo>
                    <a:lnTo>
                      <a:pt x="811" y="911"/>
                    </a:lnTo>
                    <a:lnTo>
                      <a:pt x="807" y="909"/>
                    </a:lnTo>
                    <a:lnTo>
                      <a:pt x="803" y="905"/>
                    </a:lnTo>
                    <a:lnTo>
                      <a:pt x="793" y="893"/>
                    </a:lnTo>
                    <a:lnTo>
                      <a:pt x="787" y="879"/>
                    </a:lnTo>
                    <a:lnTo>
                      <a:pt x="779" y="869"/>
                    </a:lnTo>
                    <a:lnTo>
                      <a:pt x="775" y="865"/>
                    </a:lnTo>
                    <a:lnTo>
                      <a:pt x="771" y="863"/>
                    </a:lnTo>
                    <a:lnTo>
                      <a:pt x="761" y="861"/>
                    </a:lnTo>
                    <a:lnTo>
                      <a:pt x="751" y="859"/>
                    </a:lnTo>
                    <a:lnTo>
                      <a:pt x="739" y="853"/>
                    </a:lnTo>
                    <a:lnTo>
                      <a:pt x="733" y="847"/>
                    </a:lnTo>
                    <a:lnTo>
                      <a:pt x="729" y="839"/>
                    </a:lnTo>
                    <a:lnTo>
                      <a:pt x="723" y="831"/>
                    </a:lnTo>
                    <a:lnTo>
                      <a:pt x="715" y="825"/>
                    </a:lnTo>
                    <a:lnTo>
                      <a:pt x="713" y="831"/>
                    </a:lnTo>
                    <a:lnTo>
                      <a:pt x="709" y="837"/>
                    </a:lnTo>
                    <a:lnTo>
                      <a:pt x="703" y="841"/>
                    </a:lnTo>
                    <a:lnTo>
                      <a:pt x="695" y="843"/>
                    </a:lnTo>
                    <a:lnTo>
                      <a:pt x="673" y="841"/>
                    </a:lnTo>
                    <a:lnTo>
                      <a:pt x="663" y="837"/>
                    </a:lnTo>
                    <a:lnTo>
                      <a:pt x="653" y="833"/>
                    </a:lnTo>
                    <a:lnTo>
                      <a:pt x="643" y="829"/>
                    </a:lnTo>
                    <a:lnTo>
                      <a:pt x="637" y="823"/>
                    </a:lnTo>
                    <a:lnTo>
                      <a:pt x="631" y="815"/>
                    </a:lnTo>
                    <a:lnTo>
                      <a:pt x="629" y="807"/>
                    </a:lnTo>
                    <a:lnTo>
                      <a:pt x="623" y="807"/>
                    </a:lnTo>
                    <a:lnTo>
                      <a:pt x="617" y="807"/>
                    </a:lnTo>
                    <a:lnTo>
                      <a:pt x="609" y="807"/>
                    </a:lnTo>
                    <a:lnTo>
                      <a:pt x="601" y="811"/>
                    </a:lnTo>
                    <a:lnTo>
                      <a:pt x="597" y="815"/>
                    </a:lnTo>
                    <a:lnTo>
                      <a:pt x="591" y="817"/>
                    </a:lnTo>
                    <a:lnTo>
                      <a:pt x="587" y="817"/>
                    </a:lnTo>
                    <a:lnTo>
                      <a:pt x="585" y="813"/>
                    </a:lnTo>
                    <a:lnTo>
                      <a:pt x="583" y="807"/>
                    </a:lnTo>
                    <a:lnTo>
                      <a:pt x="583" y="803"/>
                    </a:lnTo>
                    <a:lnTo>
                      <a:pt x="581" y="799"/>
                    </a:lnTo>
                    <a:lnTo>
                      <a:pt x="577" y="797"/>
                    </a:lnTo>
                    <a:lnTo>
                      <a:pt x="569" y="797"/>
                    </a:lnTo>
                    <a:lnTo>
                      <a:pt x="561" y="799"/>
                    </a:lnTo>
                    <a:lnTo>
                      <a:pt x="555" y="799"/>
                    </a:lnTo>
                    <a:lnTo>
                      <a:pt x="537" y="797"/>
                    </a:lnTo>
                    <a:lnTo>
                      <a:pt x="527" y="799"/>
                    </a:lnTo>
                    <a:lnTo>
                      <a:pt x="513" y="803"/>
                    </a:lnTo>
                    <a:lnTo>
                      <a:pt x="499" y="805"/>
                    </a:lnTo>
                    <a:lnTo>
                      <a:pt x="489" y="807"/>
                    </a:lnTo>
                    <a:lnTo>
                      <a:pt x="485" y="807"/>
                    </a:lnTo>
                    <a:lnTo>
                      <a:pt x="483" y="805"/>
                    </a:lnTo>
                    <a:lnTo>
                      <a:pt x="483" y="803"/>
                    </a:lnTo>
                    <a:lnTo>
                      <a:pt x="483" y="793"/>
                    </a:lnTo>
                    <a:lnTo>
                      <a:pt x="487" y="787"/>
                    </a:lnTo>
                    <a:lnTo>
                      <a:pt x="489" y="781"/>
                    </a:lnTo>
                    <a:lnTo>
                      <a:pt x="491" y="771"/>
                    </a:lnTo>
                    <a:lnTo>
                      <a:pt x="489" y="765"/>
                    </a:lnTo>
                    <a:lnTo>
                      <a:pt x="487" y="759"/>
                    </a:lnTo>
                    <a:lnTo>
                      <a:pt x="483" y="753"/>
                    </a:lnTo>
                    <a:lnTo>
                      <a:pt x="483" y="745"/>
                    </a:lnTo>
                    <a:lnTo>
                      <a:pt x="477" y="743"/>
                    </a:lnTo>
                    <a:lnTo>
                      <a:pt x="471" y="737"/>
                    </a:lnTo>
                    <a:lnTo>
                      <a:pt x="467" y="731"/>
                    </a:lnTo>
                    <a:lnTo>
                      <a:pt x="465" y="723"/>
                    </a:lnTo>
                    <a:lnTo>
                      <a:pt x="465" y="615"/>
                    </a:lnTo>
                    <a:lnTo>
                      <a:pt x="401" y="615"/>
                    </a:lnTo>
                    <a:lnTo>
                      <a:pt x="401" y="605"/>
                    </a:lnTo>
                    <a:lnTo>
                      <a:pt x="385" y="603"/>
                    </a:lnTo>
                    <a:lnTo>
                      <a:pt x="367" y="601"/>
                    </a:lnTo>
                    <a:lnTo>
                      <a:pt x="361" y="601"/>
                    </a:lnTo>
                    <a:lnTo>
                      <a:pt x="355" y="603"/>
                    </a:lnTo>
                    <a:lnTo>
                      <a:pt x="353" y="607"/>
                    </a:lnTo>
                    <a:lnTo>
                      <a:pt x="353" y="611"/>
                    </a:lnTo>
                    <a:lnTo>
                      <a:pt x="353" y="619"/>
                    </a:lnTo>
                    <a:lnTo>
                      <a:pt x="353" y="625"/>
                    </a:lnTo>
                    <a:lnTo>
                      <a:pt x="353" y="629"/>
                    </a:lnTo>
                    <a:lnTo>
                      <a:pt x="347" y="639"/>
                    </a:lnTo>
                    <a:lnTo>
                      <a:pt x="341" y="645"/>
                    </a:lnTo>
                    <a:lnTo>
                      <a:pt x="331" y="649"/>
                    </a:lnTo>
                    <a:lnTo>
                      <a:pt x="319" y="649"/>
                    </a:lnTo>
                    <a:lnTo>
                      <a:pt x="307" y="651"/>
                    </a:lnTo>
                    <a:lnTo>
                      <a:pt x="299" y="653"/>
                    </a:lnTo>
                    <a:lnTo>
                      <a:pt x="289" y="655"/>
                    </a:lnTo>
                    <a:lnTo>
                      <a:pt x="279" y="655"/>
                    </a:lnTo>
                    <a:lnTo>
                      <a:pt x="267" y="653"/>
                    </a:lnTo>
                    <a:lnTo>
                      <a:pt x="255" y="647"/>
                    </a:lnTo>
                    <a:lnTo>
                      <a:pt x="245" y="639"/>
                    </a:lnTo>
                    <a:lnTo>
                      <a:pt x="237" y="629"/>
                    </a:lnTo>
                    <a:lnTo>
                      <a:pt x="229" y="617"/>
                    </a:lnTo>
                    <a:lnTo>
                      <a:pt x="223" y="603"/>
                    </a:lnTo>
                    <a:lnTo>
                      <a:pt x="219" y="591"/>
                    </a:lnTo>
                    <a:lnTo>
                      <a:pt x="215" y="581"/>
                    </a:lnTo>
                    <a:lnTo>
                      <a:pt x="215" y="565"/>
                    </a:lnTo>
                    <a:lnTo>
                      <a:pt x="215" y="559"/>
                    </a:lnTo>
                    <a:lnTo>
                      <a:pt x="209" y="553"/>
                    </a:lnTo>
                    <a:lnTo>
                      <a:pt x="205" y="549"/>
                    </a:lnTo>
                    <a:lnTo>
                      <a:pt x="201" y="547"/>
                    </a:lnTo>
                    <a:lnTo>
                      <a:pt x="193" y="547"/>
                    </a:lnTo>
                    <a:lnTo>
                      <a:pt x="182" y="547"/>
                    </a:lnTo>
                    <a:lnTo>
                      <a:pt x="172" y="547"/>
                    </a:lnTo>
                    <a:lnTo>
                      <a:pt x="44" y="547"/>
                    </a:lnTo>
                    <a:lnTo>
                      <a:pt x="32" y="547"/>
                    </a:lnTo>
                    <a:lnTo>
                      <a:pt x="18" y="551"/>
                    </a:lnTo>
                    <a:lnTo>
                      <a:pt x="8" y="557"/>
                    </a:lnTo>
                    <a:lnTo>
                      <a:pt x="4" y="561"/>
                    </a:lnTo>
                    <a:lnTo>
                      <a:pt x="2" y="565"/>
                    </a:lnTo>
                    <a:lnTo>
                      <a:pt x="0" y="541"/>
                    </a:lnTo>
                    <a:lnTo>
                      <a:pt x="6" y="541"/>
                    </a:lnTo>
                    <a:lnTo>
                      <a:pt x="8" y="537"/>
                    </a:lnTo>
                    <a:lnTo>
                      <a:pt x="10" y="533"/>
                    </a:lnTo>
                    <a:lnTo>
                      <a:pt x="10" y="527"/>
                    </a:lnTo>
                    <a:lnTo>
                      <a:pt x="10" y="515"/>
                    </a:lnTo>
                    <a:lnTo>
                      <a:pt x="12" y="505"/>
                    </a:lnTo>
                    <a:lnTo>
                      <a:pt x="16" y="499"/>
                    </a:lnTo>
                    <a:lnTo>
                      <a:pt x="22" y="495"/>
                    </a:lnTo>
                    <a:lnTo>
                      <a:pt x="28" y="493"/>
                    </a:lnTo>
                    <a:lnTo>
                      <a:pt x="32" y="487"/>
                    </a:lnTo>
                    <a:lnTo>
                      <a:pt x="42" y="493"/>
                    </a:lnTo>
                    <a:lnTo>
                      <a:pt x="46" y="493"/>
                    </a:lnTo>
                    <a:lnTo>
                      <a:pt x="50" y="495"/>
                    </a:lnTo>
                    <a:lnTo>
                      <a:pt x="60" y="491"/>
                    </a:lnTo>
                    <a:lnTo>
                      <a:pt x="70" y="487"/>
                    </a:lnTo>
                    <a:lnTo>
                      <a:pt x="86" y="475"/>
                    </a:lnTo>
                    <a:lnTo>
                      <a:pt x="102" y="475"/>
                    </a:lnTo>
                    <a:lnTo>
                      <a:pt x="96" y="481"/>
                    </a:lnTo>
                    <a:lnTo>
                      <a:pt x="94" y="485"/>
                    </a:lnTo>
                    <a:lnTo>
                      <a:pt x="94" y="489"/>
                    </a:lnTo>
                    <a:lnTo>
                      <a:pt x="96" y="497"/>
                    </a:lnTo>
                    <a:lnTo>
                      <a:pt x="100" y="501"/>
                    </a:lnTo>
                    <a:lnTo>
                      <a:pt x="106" y="503"/>
                    </a:lnTo>
                    <a:lnTo>
                      <a:pt x="112" y="503"/>
                    </a:lnTo>
                    <a:lnTo>
                      <a:pt x="124" y="501"/>
                    </a:lnTo>
                    <a:lnTo>
                      <a:pt x="136" y="495"/>
                    </a:lnTo>
                    <a:lnTo>
                      <a:pt x="144" y="485"/>
                    </a:lnTo>
                    <a:lnTo>
                      <a:pt x="148" y="481"/>
                    </a:lnTo>
                    <a:lnTo>
                      <a:pt x="148" y="477"/>
                    </a:lnTo>
                    <a:lnTo>
                      <a:pt x="148" y="471"/>
                    </a:lnTo>
                    <a:lnTo>
                      <a:pt x="152" y="467"/>
                    </a:lnTo>
                    <a:lnTo>
                      <a:pt x="160" y="463"/>
                    </a:lnTo>
                    <a:lnTo>
                      <a:pt x="172" y="457"/>
                    </a:lnTo>
                    <a:lnTo>
                      <a:pt x="182" y="451"/>
                    </a:lnTo>
                    <a:lnTo>
                      <a:pt x="187" y="447"/>
                    </a:lnTo>
                    <a:lnTo>
                      <a:pt x="189" y="439"/>
                    </a:lnTo>
                    <a:lnTo>
                      <a:pt x="193" y="421"/>
                    </a:lnTo>
                    <a:lnTo>
                      <a:pt x="195" y="401"/>
                    </a:lnTo>
                    <a:lnTo>
                      <a:pt x="195" y="383"/>
                    </a:lnTo>
                    <a:lnTo>
                      <a:pt x="197" y="371"/>
                    </a:lnTo>
                    <a:lnTo>
                      <a:pt x="201" y="359"/>
                    </a:lnTo>
                    <a:lnTo>
                      <a:pt x="209" y="347"/>
                    </a:lnTo>
                    <a:lnTo>
                      <a:pt x="217" y="337"/>
                    </a:lnTo>
                    <a:lnTo>
                      <a:pt x="235" y="319"/>
                    </a:lnTo>
                    <a:lnTo>
                      <a:pt x="249" y="303"/>
                    </a:lnTo>
                    <a:lnTo>
                      <a:pt x="257" y="291"/>
                    </a:lnTo>
                    <a:lnTo>
                      <a:pt x="265" y="275"/>
                    </a:lnTo>
                    <a:lnTo>
                      <a:pt x="277" y="245"/>
                    </a:lnTo>
                    <a:lnTo>
                      <a:pt x="277" y="207"/>
                    </a:lnTo>
                    <a:lnTo>
                      <a:pt x="281" y="193"/>
                    </a:lnTo>
                    <a:lnTo>
                      <a:pt x="283" y="182"/>
                    </a:lnTo>
                    <a:lnTo>
                      <a:pt x="285" y="172"/>
                    </a:lnTo>
                    <a:lnTo>
                      <a:pt x="287" y="158"/>
                    </a:lnTo>
                    <a:lnTo>
                      <a:pt x="285" y="158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56" name="Freeform 29"/>
              <p:cNvSpPr>
                <a:spLocks/>
              </p:cNvSpPr>
              <p:nvPr/>
            </p:nvSpPr>
            <p:spPr bwMode="gray">
              <a:xfrm>
                <a:off x="3748088" y="3405982"/>
                <a:ext cx="400050" cy="425450"/>
              </a:xfrm>
              <a:custGeom>
                <a:avLst/>
                <a:gdLst>
                  <a:gd name="T0" fmla="*/ 2147483647 w 276"/>
                  <a:gd name="T1" fmla="*/ 2147483647 h 293"/>
                  <a:gd name="T2" fmla="*/ 2147483647 w 276"/>
                  <a:gd name="T3" fmla="*/ 2147483647 h 293"/>
                  <a:gd name="T4" fmla="*/ 2147483647 w 276"/>
                  <a:gd name="T5" fmla="*/ 2147483647 h 293"/>
                  <a:gd name="T6" fmla="*/ 2147483647 w 276"/>
                  <a:gd name="T7" fmla="*/ 2147483647 h 293"/>
                  <a:gd name="T8" fmla="*/ 2147483647 w 276"/>
                  <a:gd name="T9" fmla="*/ 2147483647 h 293"/>
                  <a:gd name="T10" fmla="*/ 2147483647 w 276"/>
                  <a:gd name="T11" fmla="*/ 2147483647 h 293"/>
                  <a:gd name="T12" fmla="*/ 2147483647 w 276"/>
                  <a:gd name="T13" fmla="*/ 2147483647 h 293"/>
                  <a:gd name="T14" fmla="*/ 2147483647 w 276"/>
                  <a:gd name="T15" fmla="*/ 2147483647 h 293"/>
                  <a:gd name="T16" fmla="*/ 2147483647 w 276"/>
                  <a:gd name="T17" fmla="*/ 2147483647 h 293"/>
                  <a:gd name="T18" fmla="*/ 2147483647 w 276"/>
                  <a:gd name="T19" fmla="*/ 2147483647 h 293"/>
                  <a:gd name="T20" fmla="*/ 2147483647 w 276"/>
                  <a:gd name="T21" fmla="*/ 2147483647 h 293"/>
                  <a:gd name="T22" fmla="*/ 2147483647 w 276"/>
                  <a:gd name="T23" fmla="*/ 2147483647 h 293"/>
                  <a:gd name="T24" fmla="*/ 2147483647 w 276"/>
                  <a:gd name="T25" fmla="*/ 2147483647 h 293"/>
                  <a:gd name="T26" fmla="*/ 2147483647 w 276"/>
                  <a:gd name="T27" fmla="*/ 2147483647 h 293"/>
                  <a:gd name="T28" fmla="*/ 2147483647 w 276"/>
                  <a:gd name="T29" fmla="*/ 2147483647 h 293"/>
                  <a:gd name="T30" fmla="*/ 2147483647 w 276"/>
                  <a:gd name="T31" fmla="*/ 2147483647 h 293"/>
                  <a:gd name="T32" fmla="*/ 2147483647 w 276"/>
                  <a:gd name="T33" fmla="*/ 2147483647 h 293"/>
                  <a:gd name="T34" fmla="*/ 2147483647 w 276"/>
                  <a:gd name="T35" fmla="*/ 2147483647 h 293"/>
                  <a:gd name="T36" fmla="*/ 2147483647 w 276"/>
                  <a:gd name="T37" fmla="*/ 2147483647 h 293"/>
                  <a:gd name="T38" fmla="*/ 2147483647 w 276"/>
                  <a:gd name="T39" fmla="*/ 2147483647 h 293"/>
                  <a:gd name="T40" fmla="*/ 2147483647 w 276"/>
                  <a:gd name="T41" fmla="*/ 2147483647 h 293"/>
                  <a:gd name="T42" fmla="*/ 2147483647 w 276"/>
                  <a:gd name="T43" fmla="*/ 2147483647 h 293"/>
                  <a:gd name="T44" fmla="*/ 2147483647 w 276"/>
                  <a:gd name="T45" fmla="*/ 2147483647 h 293"/>
                  <a:gd name="T46" fmla="*/ 2147483647 w 276"/>
                  <a:gd name="T47" fmla="*/ 2147483647 h 293"/>
                  <a:gd name="T48" fmla="*/ 2147483647 w 276"/>
                  <a:gd name="T49" fmla="*/ 2147483647 h 293"/>
                  <a:gd name="T50" fmla="*/ 2147483647 w 276"/>
                  <a:gd name="T51" fmla="*/ 2147483647 h 293"/>
                  <a:gd name="T52" fmla="*/ 2147483647 w 276"/>
                  <a:gd name="T53" fmla="*/ 2147483647 h 293"/>
                  <a:gd name="T54" fmla="*/ 2147483647 w 276"/>
                  <a:gd name="T55" fmla="*/ 2147483647 h 293"/>
                  <a:gd name="T56" fmla="*/ 2147483647 w 276"/>
                  <a:gd name="T57" fmla="*/ 2147483647 h 293"/>
                  <a:gd name="T58" fmla="*/ 2147483647 w 276"/>
                  <a:gd name="T59" fmla="*/ 2147483647 h 293"/>
                  <a:gd name="T60" fmla="*/ 2147483647 w 276"/>
                  <a:gd name="T61" fmla="*/ 2147483647 h 293"/>
                  <a:gd name="T62" fmla="*/ 2147483647 w 276"/>
                  <a:gd name="T63" fmla="*/ 2147483647 h 293"/>
                  <a:gd name="T64" fmla="*/ 2147483647 w 276"/>
                  <a:gd name="T65" fmla="*/ 2147483647 h 293"/>
                  <a:gd name="T66" fmla="*/ 2147483647 w 276"/>
                  <a:gd name="T67" fmla="*/ 2147483647 h 293"/>
                  <a:gd name="T68" fmla="*/ 2147483647 w 276"/>
                  <a:gd name="T69" fmla="*/ 2147483647 h 293"/>
                  <a:gd name="T70" fmla="*/ 2147483647 w 276"/>
                  <a:gd name="T71" fmla="*/ 2147483647 h 293"/>
                  <a:gd name="T72" fmla="*/ 2147483647 w 276"/>
                  <a:gd name="T73" fmla="*/ 2147483647 h 293"/>
                  <a:gd name="T74" fmla="*/ 2147483647 w 276"/>
                  <a:gd name="T75" fmla="*/ 2147483647 h 293"/>
                  <a:gd name="T76" fmla="*/ 2147483647 w 276"/>
                  <a:gd name="T77" fmla="*/ 2147483647 h 293"/>
                  <a:gd name="T78" fmla="*/ 0 w 276"/>
                  <a:gd name="T79" fmla="*/ 2147483647 h 293"/>
                  <a:gd name="T80" fmla="*/ 2147483647 w 276"/>
                  <a:gd name="T81" fmla="*/ 2147483647 h 293"/>
                  <a:gd name="T82" fmla="*/ 2147483647 w 276"/>
                  <a:gd name="T83" fmla="*/ 2147483647 h 293"/>
                  <a:gd name="T84" fmla="*/ 2147483647 w 276"/>
                  <a:gd name="T85" fmla="*/ 2147483647 h 293"/>
                  <a:gd name="T86" fmla="*/ 2147483647 w 276"/>
                  <a:gd name="T87" fmla="*/ 2147483647 h 293"/>
                  <a:gd name="T88" fmla="*/ 2147483647 w 276"/>
                  <a:gd name="T89" fmla="*/ 0 h 293"/>
                  <a:gd name="T90" fmla="*/ 2147483647 w 276"/>
                  <a:gd name="T91" fmla="*/ 2147483647 h 29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76"/>
                  <a:gd name="T139" fmla="*/ 0 h 293"/>
                  <a:gd name="T140" fmla="*/ 276 w 276"/>
                  <a:gd name="T141" fmla="*/ 293 h 29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76" h="293">
                    <a:moveTo>
                      <a:pt x="216" y="2"/>
                    </a:moveTo>
                    <a:lnTo>
                      <a:pt x="212" y="12"/>
                    </a:lnTo>
                    <a:lnTo>
                      <a:pt x="210" y="24"/>
                    </a:lnTo>
                    <a:lnTo>
                      <a:pt x="210" y="55"/>
                    </a:lnTo>
                    <a:lnTo>
                      <a:pt x="222" y="53"/>
                    </a:lnTo>
                    <a:lnTo>
                      <a:pt x="230" y="49"/>
                    </a:lnTo>
                    <a:lnTo>
                      <a:pt x="240" y="45"/>
                    </a:lnTo>
                    <a:lnTo>
                      <a:pt x="252" y="43"/>
                    </a:lnTo>
                    <a:lnTo>
                      <a:pt x="260" y="45"/>
                    </a:lnTo>
                    <a:lnTo>
                      <a:pt x="266" y="51"/>
                    </a:lnTo>
                    <a:lnTo>
                      <a:pt x="270" y="59"/>
                    </a:lnTo>
                    <a:lnTo>
                      <a:pt x="272" y="69"/>
                    </a:lnTo>
                    <a:lnTo>
                      <a:pt x="270" y="75"/>
                    </a:lnTo>
                    <a:lnTo>
                      <a:pt x="268" y="79"/>
                    </a:lnTo>
                    <a:lnTo>
                      <a:pt x="258" y="85"/>
                    </a:lnTo>
                    <a:lnTo>
                      <a:pt x="252" y="89"/>
                    </a:lnTo>
                    <a:lnTo>
                      <a:pt x="248" y="93"/>
                    </a:lnTo>
                    <a:lnTo>
                      <a:pt x="244" y="99"/>
                    </a:lnTo>
                    <a:lnTo>
                      <a:pt x="242" y="107"/>
                    </a:lnTo>
                    <a:lnTo>
                      <a:pt x="244" y="113"/>
                    </a:lnTo>
                    <a:lnTo>
                      <a:pt x="248" y="117"/>
                    </a:lnTo>
                    <a:lnTo>
                      <a:pt x="260" y="123"/>
                    </a:lnTo>
                    <a:lnTo>
                      <a:pt x="272" y="129"/>
                    </a:lnTo>
                    <a:lnTo>
                      <a:pt x="276" y="133"/>
                    </a:lnTo>
                    <a:lnTo>
                      <a:pt x="276" y="139"/>
                    </a:lnTo>
                    <a:lnTo>
                      <a:pt x="274" y="157"/>
                    </a:lnTo>
                    <a:lnTo>
                      <a:pt x="270" y="177"/>
                    </a:lnTo>
                    <a:lnTo>
                      <a:pt x="260" y="211"/>
                    </a:lnTo>
                    <a:lnTo>
                      <a:pt x="258" y="221"/>
                    </a:lnTo>
                    <a:lnTo>
                      <a:pt x="256" y="225"/>
                    </a:lnTo>
                    <a:lnTo>
                      <a:pt x="252" y="225"/>
                    </a:lnTo>
                    <a:lnTo>
                      <a:pt x="242" y="213"/>
                    </a:lnTo>
                    <a:lnTo>
                      <a:pt x="236" y="215"/>
                    </a:lnTo>
                    <a:lnTo>
                      <a:pt x="232" y="219"/>
                    </a:lnTo>
                    <a:lnTo>
                      <a:pt x="226" y="221"/>
                    </a:lnTo>
                    <a:lnTo>
                      <a:pt x="220" y="223"/>
                    </a:lnTo>
                    <a:lnTo>
                      <a:pt x="214" y="221"/>
                    </a:lnTo>
                    <a:lnTo>
                      <a:pt x="210" y="219"/>
                    </a:lnTo>
                    <a:lnTo>
                      <a:pt x="202" y="211"/>
                    </a:lnTo>
                    <a:lnTo>
                      <a:pt x="196" y="203"/>
                    </a:lnTo>
                    <a:lnTo>
                      <a:pt x="194" y="199"/>
                    </a:lnTo>
                    <a:lnTo>
                      <a:pt x="190" y="199"/>
                    </a:lnTo>
                    <a:lnTo>
                      <a:pt x="184" y="201"/>
                    </a:lnTo>
                    <a:lnTo>
                      <a:pt x="178" y="205"/>
                    </a:lnTo>
                    <a:lnTo>
                      <a:pt x="170" y="219"/>
                    </a:lnTo>
                    <a:lnTo>
                      <a:pt x="166" y="221"/>
                    </a:lnTo>
                    <a:lnTo>
                      <a:pt x="160" y="223"/>
                    </a:lnTo>
                    <a:lnTo>
                      <a:pt x="148" y="221"/>
                    </a:lnTo>
                    <a:lnTo>
                      <a:pt x="144" y="221"/>
                    </a:lnTo>
                    <a:lnTo>
                      <a:pt x="138" y="223"/>
                    </a:lnTo>
                    <a:lnTo>
                      <a:pt x="136" y="229"/>
                    </a:lnTo>
                    <a:lnTo>
                      <a:pt x="134" y="241"/>
                    </a:lnTo>
                    <a:lnTo>
                      <a:pt x="134" y="259"/>
                    </a:lnTo>
                    <a:lnTo>
                      <a:pt x="136" y="263"/>
                    </a:lnTo>
                    <a:lnTo>
                      <a:pt x="140" y="267"/>
                    </a:lnTo>
                    <a:lnTo>
                      <a:pt x="150" y="273"/>
                    </a:lnTo>
                    <a:lnTo>
                      <a:pt x="148" y="279"/>
                    </a:lnTo>
                    <a:lnTo>
                      <a:pt x="144" y="287"/>
                    </a:lnTo>
                    <a:lnTo>
                      <a:pt x="138" y="283"/>
                    </a:lnTo>
                    <a:lnTo>
                      <a:pt x="134" y="279"/>
                    </a:lnTo>
                    <a:lnTo>
                      <a:pt x="132" y="277"/>
                    </a:lnTo>
                    <a:lnTo>
                      <a:pt x="128" y="279"/>
                    </a:lnTo>
                    <a:lnTo>
                      <a:pt x="124" y="279"/>
                    </a:lnTo>
                    <a:lnTo>
                      <a:pt x="118" y="285"/>
                    </a:lnTo>
                    <a:lnTo>
                      <a:pt x="112" y="289"/>
                    </a:lnTo>
                    <a:lnTo>
                      <a:pt x="110" y="291"/>
                    </a:lnTo>
                    <a:lnTo>
                      <a:pt x="106" y="293"/>
                    </a:lnTo>
                    <a:lnTo>
                      <a:pt x="96" y="275"/>
                    </a:lnTo>
                    <a:lnTo>
                      <a:pt x="84" y="263"/>
                    </a:lnTo>
                    <a:lnTo>
                      <a:pt x="70" y="253"/>
                    </a:lnTo>
                    <a:lnTo>
                      <a:pt x="58" y="241"/>
                    </a:lnTo>
                    <a:lnTo>
                      <a:pt x="50" y="231"/>
                    </a:lnTo>
                    <a:lnTo>
                      <a:pt x="44" y="221"/>
                    </a:lnTo>
                    <a:lnTo>
                      <a:pt x="40" y="211"/>
                    </a:lnTo>
                    <a:lnTo>
                      <a:pt x="34" y="201"/>
                    </a:lnTo>
                    <a:lnTo>
                      <a:pt x="24" y="189"/>
                    </a:lnTo>
                    <a:lnTo>
                      <a:pt x="12" y="173"/>
                    </a:lnTo>
                    <a:lnTo>
                      <a:pt x="4" y="157"/>
                    </a:lnTo>
                    <a:lnTo>
                      <a:pt x="0" y="149"/>
                    </a:lnTo>
                    <a:lnTo>
                      <a:pt x="0" y="141"/>
                    </a:lnTo>
                    <a:lnTo>
                      <a:pt x="2" y="141"/>
                    </a:lnTo>
                    <a:lnTo>
                      <a:pt x="6" y="141"/>
                    </a:lnTo>
                    <a:lnTo>
                      <a:pt x="12" y="133"/>
                    </a:lnTo>
                    <a:lnTo>
                      <a:pt x="18" y="121"/>
                    </a:lnTo>
                    <a:lnTo>
                      <a:pt x="24" y="107"/>
                    </a:lnTo>
                    <a:lnTo>
                      <a:pt x="34" y="77"/>
                    </a:lnTo>
                    <a:lnTo>
                      <a:pt x="40" y="59"/>
                    </a:lnTo>
                    <a:lnTo>
                      <a:pt x="124" y="59"/>
                    </a:lnTo>
                    <a:lnTo>
                      <a:pt x="124" y="0"/>
                    </a:lnTo>
                    <a:lnTo>
                      <a:pt x="212" y="0"/>
                    </a:lnTo>
                    <a:lnTo>
                      <a:pt x="220" y="4"/>
                    </a:lnTo>
                    <a:lnTo>
                      <a:pt x="220" y="2"/>
                    </a:lnTo>
                    <a:lnTo>
                      <a:pt x="216" y="2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57" name="Freeform 31"/>
              <p:cNvSpPr>
                <a:spLocks/>
              </p:cNvSpPr>
              <p:nvPr/>
            </p:nvSpPr>
            <p:spPr bwMode="gray">
              <a:xfrm>
                <a:off x="3328988" y="2577307"/>
                <a:ext cx="833437" cy="673100"/>
              </a:xfrm>
              <a:custGeom>
                <a:avLst/>
                <a:gdLst>
                  <a:gd name="T0" fmla="*/ 2147483647 w 576"/>
                  <a:gd name="T1" fmla="*/ 2147483647 h 464"/>
                  <a:gd name="T2" fmla="*/ 2147483647 w 576"/>
                  <a:gd name="T3" fmla="*/ 2147483647 h 464"/>
                  <a:gd name="T4" fmla="*/ 2147483647 w 576"/>
                  <a:gd name="T5" fmla="*/ 2147483647 h 464"/>
                  <a:gd name="T6" fmla="*/ 2147483647 w 576"/>
                  <a:gd name="T7" fmla="*/ 2147483647 h 464"/>
                  <a:gd name="T8" fmla="*/ 2147483647 w 576"/>
                  <a:gd name="T9" fmla="*/ 2147483647 h 464"/>
                  <a:gd name="T10" fmla="*/ 2147483647 w 576"/>
                  <a:gd name="T11" fmla="*/ 2147483647 h 464"/>
                  <a:gd name="T12" fmla="*/ 2147483647 w 576"/>
                  <a:gd name="T13" fmla="*/ 2147483647 h 464"/>
                  <a:gd name="T14" fmla="*/ 2147483647 w 576"/>
                  <a:gd name="T15" fmla="*/ 2147483647 h 464"/>
                  <a:gd name="T16" fmla="*/ 2147483647 w 576"/>
                  <a:gd name="T17" fmla="*/ 2147483647 h 464"/>
                  <a:gd name="T18" fmla="*/ 2147483647 w 576"/>
                  <a:gd name="T19" fmla="*/ 2147483647 h 464"/>
                  <a:gd name="T20" fmla="*/ 2147483647 w 576"/>
                  <a:gd name="T21" fmla="*/ 2147483647 h 464"/>
                  <a:gd name="T22" fmla="*/ 2147483647 w 576"/>
                  <a:gd name="T23" fmla="*/ 2147483647 h 464"/>
                  <a:gd name="T24" fmla="*/ 2147483647 w 576"/>
                  <a:gd name="T25" fmla="*/ 2147483647 h 464"/>
                  <a:gd name="T26" fmla="*/ 2147483647 w 576"/>
                  <a:gd name="T27" fmla="*/ 2147483647 h 464"/>
                  <a:gd name="T28" fmla="*/ 2147483647 w 576"/>
                  <a:gd name="T29" fmla="*/ 2147483647 h 464"/>
                  <a:gd name="T30" fmla="*/ 2147483647 w 576"/>
                  <a:gd name="T31" fmla="*/ 2147483647 h 464"/>
                  <a:gd name="T32" fmla="*/ 2147483647 w 576"/>
                  <a:gd name="T33" fmla="*/ 2147483647 h 464"/>
                  <a:gd name="T34" fmla="*/ 2147483647 w 576"/>
                  <a:gd name="T35" fmla="*/ 2147483647 h 464"/>
                  <a:gd name="T36" fmla="*/ 2147483647 w 576"/>
                  <a:gd name="T37" fmla="*/ 2147483647 h 464"/>
                  <a:gd name="T38" fmla="*/ 2147483647 w 576"/>
                  <a:gd name="T39" fmla="*/ 0 h 464"/>
                  <a:gd name="T40" fmla="*/ 2147483647 w 576"/>
                  <a:gd name="T41" fmla="*/ 2147483647 h 464"/>
                  <a:gd name="T42" fmla="*/ 2147483647 w 576"/>
                  <a:gd name="T43" fmla="*/ 2147483647 h 464"/>
                  <a:gd name="T44" fmla="*/ 2147483647 w 576"/>
                  <a:gd name="T45" fmla="*/ 2147483647 h 464"/>
                  <a:gd name="T46" fmla="*/ 2147483647 w 576"/>
                  <a:gd name="T47" fmla="*/ 2147483647 h 464"/>
                  <a:gd name="T48" fmla="*/ 2147483647 w 576"/>
                  <a:gd name="T49" fmla="*/ 2147483647 h 464"/>
                  <a:gd name="T50" fmla="*/ 2147483647 w 576"/>
                  <a:gd name="T51" fmla="*/ 2147483647 h 464"/>
                  <a:gd name="T52" fmla="*/ 2147483647 w 576"/>
                  <a:gd name="T53" fmla="*/ 2147483647 h 464"/>
                  <a:gd name="T54" fmla="*/ 2147483647 w 576"/>
                  <a:gd name="T55" fmla="*/ 2147483647 h 464"/>
                  <a:gd name="T56" fmla="*/ 2147483647 w 576"/>
                  <a:gd name="T57" fmla="*/ 2147483647 h 464"/>
                  <a:gd name="T58" fmla="*/ 2147483647 w 576"/>
                  <a:gd name="T59" fmla="*/ 2147483647 h 464"/>
                  <a:gd name="T60" fmla="*/ 2147483647 w 576"/>
                  <a:gd name="T61" fmla="*/ 2147483647 h 464"/>
                  <a:gd name="T62" fmla="*/ 2147483647 w 576"/>
                  <a:gd name="T63" fmla="*/ 2147483647 h 464"/>
                  <a:gd name="T64" fmla="*/ 2147483647 w 576"/>
                  <a:gd name="T65" fmla="*/ 2147483647 h 464"/>
                  <a:gd name="T66" fmla="*/ 2147483647 w 576"/>
                  <a:gd name="T67" fmla="*/ 2147483647 h 464"/>
                  <a:gd name="T68" fmla="*/ 2147483647 w 576"/>
                  <a:gd name="T69" fmla="*/ 2147483647 h 464"/>
                  <a:gd name="T70" fmla="*/ 2147483647 w 576"/>
                  <a:gd name="T71" fmla="*/ 2147483647 h 464"/>
                  <a:gd name="T72" fmla="*/ 2147483647 w 576"/>
                  <a:gd name="T73" fmla="*/ 2147483647 h 464"/>
                  <a:gd name="T74" fmla="*/ 2147483647 w 576"/>
                  <a:gd name="T75" fmla="*/ 2147483647 h 464"/>
                  <a:gd name="T76" fmla="*/ 2147483647 w 576"/>
                  <a:gd name="T77" fmla="*/ 2147483647 h 464"/>
                  <a:gd name="T78" fmla="*/ 2147483647 w 576"/>
                  <a:gd name="T79" fmla="*/ 2147483647 h 464"/>
                  <a:gd name="T80" fmla="*/ 2147483647 w 576"/>
                  <a:gd name="T81" fmla="*/ 2147483647 h 464"/>
                  <a:gd name="T82" fmla="*/ 2147483647 w 576"/>
                  <a:gd name="T83" fmla="*/ 2147483647 h 464"/>
                  <a:gd name="T84" fmla="*/ 2147483647 w 576"/>
                  <a:gd name="T85" fmla="*/ 2147483647 h 464"/>
                  <a:gd name="T86" fmla="*/ 2147483647 w 576"/>
                  <a:gd name="T87" fmla="*/ 2147483647 h 464"/>
                  <a:gd name="T88" fmla="*/ 2147483647 w 576"/>
                  <a:gd name="T89" fmla="*/ 2147483647 h 464"/>
                  <a:gd name="T90" fmla="*/ 2147483647 w 576"/>
                  <a:gd name="T91" fmla="*/ 2147483647 h 464"/>
                  <a:gd name="T92" fmla="*/ 2147483647 w 576"/>
                  <a:gd name="T93" fmla="*/ 2147483647 h 464"/>
                  <a:gd name="T94" fmla="*/ 2147483647 w 576"/>
                  <a:gd name="T95" fmla="*/ 2147483647 h 464"/>
                  <a:gd name="T96" fmla="*/ 2147483647 w 576"/>
                  <a:gd name="T97" fmla="*/ 2147483647 h 464"/>
                  <a:gd name="T98" fmla="*/ 2147483647 w 576"/>
                  <a:gd name="T99" fmla="*/ 2147483647 h 464"/>
                  <a:gd name="T100" fmla="*/ 2147483647 w 576"/>
                  <a:gd name="T101" fmla="*/ 2147483647 h 464"/>
                  <a:gd name="T102" fmla="*/ 2147483647 w 576"/>
                  <a:gd name="T103" fmla="*/ 2147483647 h 46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76"/>
                  <a:gd name="T157" fmla="*/ 0 h 464"/>
                  <a:gd name="T158" fmla="*/ 576 w 576"/>
                  <a:gd name="T159" fmla="*/ 464 h 46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76" h="464">
                    <a:moveTo>
                      <a:pt x="278" y="448"/>
                    </a:moveTo>
                    <a:lnTo>
                      <a:pt x="266" y="442"/>
                    </a:lnTo>
                    <a:lnTo>
                      <a:pt x="260" y="446"/>
                    </a:lnTo>
                    <a:lnTo>
                      <a:pt x="254" y="450"/>
                    </a:lnTo>
                    <a:lnTo>
                      <a:pt x="240" y="456"/>
                    </a:lnTo>
                    <a:lnTo>
                      <a:pt x="222" y="458"/>
                    </a:lnTo>
                    <a:lnTo>
                      <a:pt x="206" y="458"/>
                    </a:lnTo>
                    <a:lnTo>
                      <a:pt x="196" y="460"/>
                    </a:lnTo>
                    <a:lnTo>
                      <a:pt x="186" y="460"/>
                    </a:lnTo>
                    <a:lnTo>
                      <a:pt x="176" y="462"/>
                    </a:lnTo>
                    <a:lnTo>
                      <a:pt x="166" y="464"/>
                    </a:lnTo>
                    <a:lnTo>
                      <a:pt x="152" y="462"/>
                    </a:lnTo>
                    <a:lnTo>
                      <a:pt x="144" y="458"/>
                    </a:lnTo>
                    <a:lnTo>
                      <a:pt x="136" y="450"/>
                    </a:lnTo>
                    <a:lnTo>
                      <a:pt x="132" y="442"/>
                    </a:lnTo>
                    <a:lnTo>
                      <a:pt x="124" y="424"/>
                    </a:lnTo>
                    <a:lnTo>
                      <a:pt x="120" y="414"/>
                    </a:lnTo>
                    <a:lnTo>
                      <a:pt x="116" y="404"/>
                    </a:lnTo>
                    <a:lnTo>
                      <a:pt x="102" y="386"/>
                    </a:lnTo>
                    <a:lnTo>
                      <a:pt x="96" y="378"/>
                    </a:lnTo>
                    <a:lnTo>
                      <a:pt x="86" y="370"/>
                    </a:lnTo>
                    <a:lnTo>
                      <a:pt x="78" y="366"/>
                    </a:lnTo>
                    <a:lnTo>
                      <a:pt x="68" y="364"/>
                    </a:lnTo>
                    <a:lnTo>
                      <a:pt x="60" y="364"/>
                    </a:lnTo>
                    <a:lnTo>
                      <a:pt x="50" y="360"/>
                    </a:lnTo>
                    <a:lnTo>
                      <a:pt x="4" y="360"/>
                    </a:lnTo>
                    <a:lnTo>
                      <a:pt x="2" y="362"/>
                    </a:lnTo>
                    <a:lnTo>
                      <a:pt x="2" y="278"/>
                    </a:lnTo>
                    <a:lnTo>
                      <a:pt x="0" y="268"/>
                    </a:lnTo>
                    <a:lnTo>
                      <a:pt x="2" y="260"/>
                    </a:lnTo>
                    <a:lnTo>
                      <a:pt x="6" y="252"/>
                    </a:lnTo>
                    <a:lnTo>
                      <a:pt x="10" y="246"/>
                    </a:lnTo>
                    <a:lnTo>
                      <a:pt x="14" y="238"/>
                    </a:lnTo>
                    <a:lnTo>
                      <a:pt x="16" y="230"/>
                    </a:lnTo>
                    <a:lnTo>
                      <a:pt x="16" y="222"/>
                    </a:lnTo>
                    <a:lnTo>
                      <a:pt x="18" y="214"/>
                    </a:lnTo>
                    <a:lnTo>
                      <a:pt x="22" y="206"/>
                    </a:lnTo>
                    <a:lnTo>
                      <a:pt x="28" y="200"/>
                    </a:lnTo>
                    <a:lnTo>
                      <a:pt x="42" y="186"/>
                    </a:lnTo>
                    <a:lnTo>
                      <a:pt x="48" y="180"/>
                    </a:lnTo>
                    <a:lnTo>
                      <a:pt x="52" y="172"/>
                    </a:lnTo>
                    <a:lnTo>
                      <a:pt x="56" y="162"/>
                    </a:lnTo>
                    <a:lnTo>
                      <a:pt x="58" y="150"/>
                    </a:lnTo>
                    <a:lnTo>
                      <a:pt x="56" y="138"/>
                    </a:lnTo>
                    <a:lnTo>
                      <a:pt x="54" y="130"/>
                    </a:lnTo>
                    <a:lnTo>
                      <a:pt x="50" y="122"/>
                    </a:lnTo>
                    <a:lnTo>
                      <a:pt x="48" y="110"/>
                    </a:lnTo>
                    <a:lnTo>
                      <a:pt x="48" y="88"/>
                    </a:lnTo>
                    <a:lnTo>
                      <a:pt x="48" y="72"/>
                    </a:lnTo>
                    <a:lnTo>
                      <a:pt x="52" y="62"/>
                    </a:lnTo>
                    <a:lnTo>
                      <a:pt x="58" y="56"/>
                    </a:lnTo>
                    <a:lnTo>
                      <a:pt x="68" y="46"/>
                    </a:lnTo>
                    <a:lnTo>
                      <a:pt x="72" y="38"/>
                    </a:lnTo>
                    <a:lnTo>
                      <a:pt x="76" y="24"/>
                    </a:lnTo>
                    <a:lnTo>
                      <a:pt x="78" y="18"/>
                    </a:lnTo>
                    <a:lnTo>
                      <a:pt x="84" y="12"/>
                    </a:lnTo>
                    <a:lnTo>
                      <a:pt x="90" y="8"/>
                    </a:lnTo>
                    <a:lnTo>
                      <a:pt x="98" y="4"/>
                    </a:lnTo>
                    <a:lnTo>
                      <a:pt x="118" y="0"/>
                    </a:lnTo>
                    <a:lnTo>
                      <a:pt x="138" y="0"/>
                    </a:lnTo>
                    <a:lnTo>
                      <a:pt x="152" y="0"/>
                    </a:lnTo>
                    <a:lnTo>
                      <a:pt x="168" y="6"/>
                    </a:lnTo>
                    <a:lnTo>
                      <a:pt x="182" y="10"/>
                    </a:lnTo>
                    <a:lnTo>
                      <a:pt x="190" y="18"/>
                    </a:lnTo>
                    <a:lnTo>
                      <a:pt x="200" y="32"/>
                    </a:lnTo>
                    <a:lnTo>
                      <a:pt x="206" y="38"/>
                    </a:lnTo>
                    <a:lnTo>
                      <a:pt x="208" y="40"/>
                    </a:lnTo>
                    <a:lnTo>
                      <a:pt x="212" y="40"/>
                    </a:lnTo>
                    <a:lnTo>
                      <a:pt x="218" y="40"/>
                    </a:lnTo>
                    <a:lnTo>
                      <a:pt x="224" y="38"/>
                    </a:lnTo>
                    <a:lnTo>
                      <a:pt x="234" y="34"/>
                    </a:lnTo>
                    <a:lnTo>
                      <a:pt x="244" y="28"/>
                    </a:lnTo>
                    <a:lnTo>
                      <a:pt x="250" y="28"/>
                    </a:lnTo>
                    <a:lnTo>
                      <a:pt x="256" y="26"/>
                    </a:lnTo>
                    <a:lnTo>
                      <a:pt x="264" y="28"/>
                    </a:lnTo>
                    <a:lnTo>
                      <a:pt x="272" y="30"/>
                    </a:lnTo>
                    <a:lnTo>
                      <a:pt x="288" y="40"/>
                    </a:lnTo>
                    <a:lnTo>
                      <a:pt x="302" y="48"/>
                    </a:lnTo>
                    <a:lnTo>
                      <a:pt x="312" y="50"/>
                    </a:lnTo>
                    <a:lnTo>
                      <a:pt x="322" y="52"/>
                    </a:lnTo>
                    <a:lnTo>
                      <a:pt x="334" y="50"/>
                    </a:lnTo>
                    <a:lnTo>
                      <a:pt x="344" y="48"/>
                    </a:lnTo>
                    <a:lnTo>
                      <a:pt x="360" y="38"/>
                    </a:lnTo>
                    <a:lnTo>
                      <a:pt x="368" y="32"/>
                    </a:lnTo>
                    <a:lnTo>
                      <a:pt x="378" y="28"/>
                    </a:lnTo>
                    <a:lnTo>
                      <a:pt x="388" y="26"/>
                    </a:lnTo>
                    <a:lnTo>
                      <a:pt x="402" y="24"/>
                    </a:lnTo>
                    <a:lnTo>
                      <a:pt x="412" y="26"/>
                    </a:lnTo>
                    <a:lnTo>
                      <a:pt x="420" y="28"/>
                    </a:lnTo>
                    <a:lnTo>
                      <a:pt x="434" y="34"/>
                    </a:lnTo>
                    <a:lnTo>
                      <a:pt x="446" y="42"/>
                    </a:lnTo>
                    <a:lnTo>
                      <a:pt x="454" y="44"/>
                    </a:lnTo>
                    <a:lnTo>
                      <a:pt x="462" y="44"/>
                    </a:lnTo>
                    <a:lnTo>
                      <a:pt x="468" y="44"/>
                    </a:lnTo>
                    <a:lnTo>
                      <a:pt x="476" y="40"/>
                    </a:lnTo>
                    <a:lnTo>
                      <a:pt x="492" y="30"/>
                    </a:lnTo>
                    <a:lnTo>
                      <a:pt x="508" y="18"/>
                    </a:lnTo>
                    <a:lnTo>
                      <a:pt x="518" y="14"/>
                    </a:lnTo>
                    <a:lnTo>
                      <a:pt x="528" y="12"/>
                    </a:lnTo>
                    <a:lnTo>
                      <a:pt x="526" y="8"/>
                    </a:lnTo>
                    <a:lnTo>
                      <a:pt x="532" y="18"/>
                    </a:lnTo>
                    <a:lnTo>
                      <a:pt x="538" y="26"/>
                    </a:lnTo>
                    <a:lnTo>
                      <a:pt x="552" y="42"/>
                    </a:lnTo>
                    <a:lnTo>
                      <a:pt x="552" y="74"/>
                    </a:lnTo>
                    <a:lnTo>
                      <a:pt x="556" y="78"/>
                    </a:lnTo>
                    <a:lnTo>
                      <a:pt x="562" y="80"/>
                    </a:lnTo>
                    <a:lnTo>
                      <a:pt x="576" y="82"/>
                    </a:lnTo>
                    <a:lnTo>
                      <a:pt x="574" y="88"/>
                    </a:lnTo>
                    <a:lnTo>
                      <a:pt x="574" y="92"/>
                    </a:lnTo>
                    <a:lnTo>
                      <a:pt x="576" y="104"/>
                    </a:lnTo>
                    <a:lnTo>
                      <a:pt x="574" y="114"/>
                    </a:lnTo>
                    <a:lnTo>
                      <a:pt x="570" y="124"/>
                    </a:lnTo>
                    <a:lnTo>
                      <a:pt x="562" y="130"/>
                    </a:lnTo>
                    <a:lnTo>
                      <a:pt x="554" y="136"/>
                    </a:lnTo>
                    <a:lnTo>
                      <a:pt x="536" y="148"/>
                    </a:lnTo>
                    <a:lnTo>
                      <a:pt x="528" y="154"/>
                    </a:lnTo>
                    <a:lnTo>
                      <a:pt x="524" y="164"/>
                    </a:lnTo>
                    <a:lnTo>
                      <a:pt x="516" y="180"/>
                    </a:lnTo>
                    <a:lnTo>
                      <a:pt x="512" y="186"/>
                    </a:lnTo>
                    <a:lnTo>
                      <a:pt x="510" y="192"/>
                    </a:lnTo>
                    <a:lnTo>
                      <a:pt x="510" y="204"/>
                    </a:lnTo>
                    <a:lnTo>
                      <a:pt x="510" y="210"/>
                    </a:lnTo>
                    <a:lnTo>
                      <a:pt x="510" y="214"/>
                    </a:lnTo>
                    <a:lnTo>
                      <a:pt x="500" y="222"/>
                    </a:lnTo>
                    <a:lnTo>
                      <a:pt x="494" y="228"/>
                    </a:lnTo>
                    <a:lnTo>
                      <a:pt x="490" y="234"/>
                    </a:lnTo>
                    <a:lnTo>
                      <a:pt x="488" y="238"/>
                    </a:lnTo>
                    <a:lnTo>
                      <a:pt x="488" y="244"/>
                    </a:lnTo>
                    <a:lnTo>
                      <a:pt x="488" y="250"/>
                    </a:lnTo>
                    <a:lnTo>
                      <a:pt x="484" y="254"/>
                    </a:lnTo>
                    <a:lnTo>
                      <a:pt x="472" y="264"/>
                    </a:lnTo>
                    <a:lnTo>
                      <a:pt x="464" y="274"/>
                    </a:lnTo>
                    <a:lnTo>
                      <a:pt x="456" y="286"/>
                    </a:lnTo>
                    <a:lnTo>
                      <a:pt x="452" y="302"/>
                    </a:lnTo>
                    <a:lnTo>
                      <a:pt x="446" y="318"/>
                    </a:lnTo>
                    <a:lnTo>
                      <a:pt x="434" y="338"/>
                    </a:lnTo>
                    <a:lnTo>
                      <a:pt x="422" y="356"/>
                    </a:lnTo>
                    <a:lnTo>
                      <a:pt x="416" y="362"/>
                    </a:lnTo>
                    <a:lnTo>
                      <a:pt x="410" y="364"/>
                    </a:lnTo>
                    <a:lnTo>
                      <a:pt x="406" y="364"/>
                    </a:lnTo>
                    <a:lnTo>
                      <a:pt x="402" y="362"/>
                    </a:lnTo>
                    <a:lnTo>
                      <a:pt x="394" y="352"/>
                    </a:lnTo>
                    <a:lnTo>
                      <a:pt x="388" y="342"/>
                    </a:lnTo>
                    <a:lnTo>
                      <a:pt x="380" y="334"/>
                    </a:lnTo>
                    <a:lnTo>
                      <a:pt x="374" y="340"/>
                    </a:lnTo>
                    <a:lnTo>
                      <a:pt x="372" y="344"/>
                    </a:lnTo>
                    <a:lnTo>
                      <a:pt x="368" y="344"/>
                    </a:lnTo>
                    <a:lnTo>
                      <a:pt x="358" y="346"/>
                    </a:lnTo>
                    <a:lnTo>
                      <a:pt x="346" y="350"/>
                    </a:lnTo>
                    <a:lnTo>
                      <a:pt x="334" y="356"/>
                    </a:lnTo>
                    <a:lnTo>
                      <a:pt x="324" y="364"/>
                    </a:lnTo>
                    <a:lnTo>
                      <a:pt x="314" y="372"/>
                    </a:lnTo>
                    <a:lnTo>
                      <a:pt x="304" y="382"/>
                    </a:lnTo>
                    <a:lnTo>
                      <a:pt x="298" y="392"/>
                    </a:lnTo>
                    <a:lnTo>
                      <a:pt x="294" y="400"/>
                    </a:lnTo>
                    <a:lnTo>
                      <a:pt x="286" y="426"/>
                    </a:lnTo>
                    <a:lnTo>
                      <a:pt x="284" y="438"/>
                    </a:lnTo>
                    <a:lnTo>
                      <a:pt x="280" y="448"/>
                    </a:lnTo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58" name="Freeform 34"/>
              <p:cNvSpPr>
                <a:spLocks/>
              </p:cNvSpPr>
              <p:nvPr/>
            </p:nvSpPr>
            <p:spPr bwMode="gray">
              <a:xfrm>
                <a:off x="2917825" y="2756695"/>
                <a:ext cx="298450" cy="449262"/>
              </a:xfrm>
              <a:custGeom>
                <a:avLst/>
                <a:gdLst>
                  <a:gd name="T0" fmla="*/ 2147483647 w 206"/>
                  <a:gd name="T1" fmla="*/ 2147483647 h 310"/>
                  <a:gd name="T2" fmla="*/ 2147483647 w 206"/>
                  <a:gd name="T3" fmla="*/ 2147483647 h 310"/>
                  <a:gd name="T4" fmla="*/ 2147483647 w 206"/>
                  <a:gd name="T5" fmla="*/ 2147483647 h 310"/>
                  <a:gd name="T6" fmla="*/ 2147483647 w 206"/>
                  <a:gd name="T7" fmla="*/ 2147483647 h 310"/>
                  <a:gd name="T8" fmla="*/ 2147483647 w 206"/>
                  <a:gd name="T9" fmla="*/ 0 h 310"/>
                  <a:gd name="T10" fmla="*/ 2147483647 w 206"/>
                  <a:gd name="T11" fmla="*/ 2147483647 h 310"/>
                  <a:gd name="T12" fmla="*/ 2147483647 w 206"/>
                  <a:gd name="T13" fmla="*/ 2147483647 h 310"/>
                  <a:gd name="T14" fmla="*/ 2147483647 w 206"/>
                  <a:gd name="T15" fmla="*/ 2147483647 h 310"/>
                  <a:gd name="T16" fmla="*/ 2147483647 w 206"/>
                  <a:gd name="T17" fmla="*/ 2147483647 h 310"/>
                  <a:gd name="T18" fmla="*/ 2147483647 w 206"/>
                  <a:gd name="T19" fmla="*/ 2147483647 h 310"/>
                  <a:gd name="T20" fmla="*/ 2147483647 w 206"/>
                  <a:gd name="T21" fmla="*/ 2147483647 h 310"/>
                  <a:gd name="T22" fmla="*/ 2147483647 w 206"/>
                  <a:gd name="T23" fmla="*/ 2147483647 h 310"/>
                  <a:gd name="T24" fmla="*/ 2147483647 w 206"/>
                  <a:gd name="T25" fmla="*/ 2147483647 h 310"/>
                  <a:gd name="T26" fmla="*/ 2147483647 w 206"/>
                  <a:gd name="T27" fmla="*/ 2147483647 h 310"/>
                  <a:gd name="T28" fmla="*/ 2147483647 w 206"/>
                  <a:gd name="T29" fmla="*/ 2147483647 h 310"/>
                  <a:gd name="T30" fmla="*/ 0 w 206"/>
                  <a:gd name="T31" fmla="*/ 2147483647 h 310"/>
                  <a:gd name="T32" fmla="*/ 2147483647 w 206"/>
                  <a:gd name="T33" fmla="*/ 2147483647 h 310"/>
                  <a:gd name="T34" fmla="*/ 2147483647 w 206"/>
                  <a:gd name="T35" fmla="*/ 2147483647 h 310"/>
                  <a:gd name="T36" fmla="*/ 2147483647 w 206"/>
                  <a:gd name="T37" fmla="*/ 2147483647 h 310"/>
                  <a:gd name="T38" fmla="*/ 2147483647 w 206"/>
                  <a:gd name="T39" fmla="*/ 2147483647 h 310"/>
                  <a:gd name="T40" fmla="*/ 2147483647 w 206"/>
                  <a:gd name="T41" fmla="*/ 2147483647 h 310"/>
                  <a:gd name="T42" fmla="*/ 2147483647 w 206"/>
                  <a:gd name="T43" fmla="*/ 2147483647 h 310"/>
                  <a:gd name="T44" fmla="*/ 2147483647 w 206"/>
                  <a:gd name="T45" fmla="*/ 2147483647 h 310"/>
                  <a:gd name="T46" fmla="*/ 2147483647 w 206"/>
                  <a:gd name="T47" fmla="*/ 2147483647 h 310"/>
                  <a:gd name="T48" fmla="*/ 2147483647 w 206"/>
                  <a:gd name="T49" fmla="*/ 2147483647 h 310"/>
                  <a:gd name="T50" fmla="*/ 2147483647 w 206"/>
                  <a:gd name="T51" fmla="*/ 2147483647 h 310"/>
                  <a:gd name="T52" fmla="*/ 2147483647 w 206"/>
                  <a:gd name="T53" fmla="*/ 2147483647 h 310"/>
                  <a:gd name="T54" fmla="*/ 2147483647 w 206"/>
                  <a:gd name="T55" fmla="*/ 2147483647 h 310"/>
                  <a:gd name="T56" fmla="*/ 2147483647 w 206"/>
                  <a:gd name="T57" fmla="*/ 2147483647 h 310"/>
                  <a:gd name="T58" fmla="*/ 2147483647 w 206"/>
                  <a:gd name="T59" fmla="*/ 2147483647 h 310"/>
                  <a:gd name="T60" fmla="*/ 2147483647 w 206"/>
                  <a:gd name="T61" fmla="*/ 2147483647 h 310"/>
                  <a:gd name="T62" fmla="*/ 2147483647 w 206"/>
                  <a:gd name="T63" fmla="*/ 2147483647 h 310"/>
                  <a:gd name="T64" fmla="*/ 2147483647 w 206"/>
                  <a:gd name="T65" fmla="*/ 2147483647 h 310"/>
                  <a:gd name="T66" fmla="*/ 2147483647 w 206"/>
                  <a:gd name="T67" fmla="*/ 2147483647 h 310"/>
                  <a:gd name="T68" fmla="*/ 2147483647 w 206"/>
                  <a:gd name="T69" fmla="*/ 2147483647 h 310"/>
                  <a:gd name="T70" fmla="*/ 2147483647 w 206"/>
                  <a:gd name="T71" fmla="*/ 2147483647 h 310"/>
                  <a:gd name="T72" fmla="*/ 2147483647 w 206"/>
                  <a:gd name="T73" fmla="*/ 2147483647 h 310"/>
                  <a:gd name="T74" fmla="*/ 2147483647 w 206"/>
                  <a:gd name="T75" fmla="*/ 2147483647 h 310"/>
                  <a:gd name="T76" fmla="*/ 2147483647 w 206"/>
                  <a:gd name="T77" fmla="*/ 2147483647 h 310"/>
                  <a:gd name="T78" fmla="*/ 2147483647 w 206"/>
                  <a:gd name="T79" fmla="*/ 2147483647 h 310"/>
                  <a:gd name="T80" fmla="*/ 2147483647 w 206"/>
                  <a:gd name="T81" fmla="*/ 2147483647 h 310"/>
                  <a:gd name="T82" fmla="*/ 2147483647 w 206"/>
                  <a:gd name="T83" fmla="*/ 2147483647 h 310"/>
                  <a:gd name="T84" fmla="*/ 2147483647 w 206"/>
                  <a:gd name="T85" fmla="*/ 2147483647 h 310"/>
                  <a:gd name="T86" fmla="*/ 2147483647 w 206"/>
                  <a:gd name="T87" fmla="*/ 2147483647 h 310"/>
                  <a:gd name="T88" fmla="*/ 2147483647 w 206"/>
                  <a:gd name="T89" fmla="*/ 2147483647 h 310"/>
                  <a:gd name="T90" fmla="*/ 2147483647 w 206"/>
                  <a:gd name="T91" fmla="*/ 2147483647 h 310"/>
                  <a:gd name="T92" fmla="*/ 2147483647 w 206"/>
                  <a:gd name="T93" fmla="*/ 2147483647 h 310"/>
                  <a:gd name="T94" fmla="*/ 2147483647 w 206"/>
                  <a:gd name="T95" fmla="*/ 2147483647 h 31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06"/>
                  <a:gd name="T145" fmla="*/ 0 h 310"/>
                  <a:gd name="T146" fmla="*/ 206 w 206"/>
                  <a:gd name="T147" fmla="*/ 310 h 31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06" h="310">
                    <a:moveTo>
                      <a:pt x="162" y="8"/>
                    </a:moveTo>
                    <a:lnTo>
                      <a:pt x="156" y="6"/>
                    </a:lnTo>
                    <a:lnTo>
                      <a:pt x="152" y="4"/>
                    </a:lnTo>
                    <a:lnTo>
                      <a:pt x="148" y="4"/>
                    </a:lnTo>
                    <a:lnTo>
                      <a:pt x="146" y="6"/>
                    </a:lnTo>
                    <a:lnTo>
                      <a:pt x="138" y="12"/>
                    </a:lnTo>
                    <a:lnTo>
                      <a:pt x="122" y="10"/>
                    </a:lnTo>
                    <a:lnTo>
                      <a:pt x="114" y="8"/>
                    </a:lnTo>
                    <a:lnTo>
                      <a:pt x="102" y="8"/>
                    </a:lnTo>
                    <a:lnTo>
                      <a:pt x="40" y="0"/>
                    </a:lnTo>
                    <a:lnTo>
                      <a:pt x="34" y="2"/>
                    </a:lnTo>
                    <a:lnTo>
                      <a:pt x="28" y="6"/>
                    </a:lnTo>
                    <a:lnTo>
                      <a:pt x="24" y="12"/>
                    </a:lnTo>
                    <a:lnTo>
                      <a:pt x="22" y="22"/>
                    </a:lnTo>
                    <a:lnTo>
                      <a:pt x="22" y="62"/>
                    </a:lnTo>
                    <a:lnTo>
                      <a:pt x="24" y="78"/>
                    </a:lnTo>
                    <a:lnTo>
                      <a:pt x="30" y="92"/>
                    </a:lnTo>
                    <a:lnTo>
                      <a:pt x="34" y="106"/>
                    </a:lnTo>
                    <a:lnTo>
                      <a:pt x="36" y="120"/>
                    </a:lnTo>
                    <a:lnTo>
                      <a:pt x="34" y="128"/>
                    </a:lnTo>
                    <a:lnTo>
                      <a:pt x="32" y="134"/>
                    </a:lnTo>
                    <a:lnTo>
                      <a:pt x="26" y="146"/>
                    </a:lnTo>
                    <a:lnTo>
                      <a:pt x="20" y="158"/>
                    </a:lnTo>
                    <a:lnTo>
                      <a:pt x="16" y="170"/>
                    </a:lnTo>
                    <a:lnTo>
                      <a:pt x="16" y="178"/>
                    </a:lnTo>
                    <a:lnTo>
                      <a:pt x="16" y="186"/>
                    </a:lnTo>
                    <a:lnTo>
                      <a:pt x="16" y="194"/>
                    </a:lnTo>
                    <a:lnTo>
                      <a:pt x="14" y="202"/>
                    </a:lnTo>
                    <a:lnTo>
                      <a:pt x="10" y="206"/>
                    </a:lnTo>
                    <a:lnTo>
                      <a:pt x="4" y="210"/>
                    </a:lnTo>
                    <a:lnTo>
                      <a:pt x="0" y="216"/>
                    </a:lnTo>
                    <a:lnTo>
                      <a:pt x="0" y="226"/>
                    </a:lnTo>
                    <a:lnTo>
                      <a:pt x="0" y="234"/>
                    </a:lnTo>
                    <a:lnTo>
                      <a:pt x="2" y="242"/>
                    </a:lnTo>
                    <a:lnTo>
                      <a:pt x="8" y="252"/>
                    </a:lnTo>
                    <a:lnTo>
                      <a:pt x="14" y="262"/>
                    </a:lnTo>
                    <a:lnTo>
                      <a:pt x="22" y="272"/>
                    </a:lnTo>
                    <a:lnTo>
                      <a:pt x="20" y="282"/>
                    </a:lnTo>
                    <a:lnTo>
                      <a:pt x="22" y="288"/>
                    </a:lnTo>
                    <a:lnTo>
                      <a:pt x="22" y="294"/>
                    </a:lnTo>
                    <a:lnTo>
                      <a:pt x="38" y="304"/>
                    </a:lnTo>
                    <a:lnTo>
                      <a:pt x="58" y="310"/>
                    </a:lnTo>
                    <a:lnTo>
                      <a:pt x="64" y="310"/>
                    </a:lnTo>
                    <a:lnTo>
                      <a:pt x="70" y="308"/>
                    </a:lnTo>
                    <a:lnTo>
                      <a:pt x="80" y="302"/>
                    </a:lnTo>
                    <a:lnTo>
                      <a:pt x="90" y="294"/>
                    </a:lnTo>
                    <a:lnTo>
                      <a:pt x="102" y="290"/>
                    </a:lnTo>
                    <a:lnTo>
                      <a:pt x="112" y="288"/>
                    </a:lnTo>
                    <a:lnTo>
                      <a:pt x="118" y="288"/>
                    </a:lnTo>
                    <a:lnTo>
                      <a:pt x="126" y="288"/>
                    </a:lnTo>
                    <a:lnTo>
                      <a:pt x="132" y="286"/>
                    </a:lnTo>
                    <a:lnTo>
                      <a:pt x="140" y="280"/>
                    </a:lnTo>
                    <a:lnTo>
                      <a:pt x="146" y="274"/>
                    </a:lnTo>
                    <a:lnTo>
                      <a:pt x="152" y="268"/>
                    </a:lnTo>
                    <a:lnTo>
                      <a:pt x="162" y="264"/>
                    </a:lnTo>
                    <a:lnTo>
                      <a:pt x="170" y="262"/>
                    </a:lnTo>
                    <a:lnTo>
                      <a:pt x="176" y="262"/>
                    </a:lnTo>
                    <a:lnTo>
                      <a:pt x="188" y="262"/>
                    </a:lnTo>
                    <a:lnTo>
                      <a:pt x="192" y="262"/>
                    </a:lnTo>
                    <a:lnTo>
                      <a:pt x="198" y="260"/>
                    </a:lnTo>
                    <a:lnTo>
                      <a:pt x="202" y="256"/>
                    </a:lnTo>
                    <a:lnTo>
                      <a:pt x="206" y="250"/>
                    </a:lnTo>
                    <a:lnTo>
                      <a:pt x="202" y="248"/>
                    </a:lnTo>
                    <a:lnTo>
                      <a:pt x="196" y="246"/>
                    </a:lnTo>
                    <a:lnTo>
                      <a:pt x="188" y="234"/>
                    </a:lnTo>
                    <a:lnTo>
                      <a:pt x="180" y="222"/>
                    </a:lnTo>
                    <a:lnTo>
                      <a:pt x="178" y="216"/>
                    </a:lnTo>
                    <a:lnTo>
                      <a:pt x="178" y="210"/>
                    </a:lnTo>
                    <a:lnTo>
                      <a:pt x="178" y="204"/>
                    </a:lnTo>
                    <a:lnTo>
                      <a:pt x="180" y="198"/>
                    </a:lnTo>
                    <a:lnTo>
                      <a:pt x="182" y="194"/>
                    </a:lnTo>
                    <a:lnTo>
                      <a:pt x="184" y="190"/>
                    </a:lnTo>
                    <a:lnTo>
                      <a:pt x="184" y="180"/>
                    </a:lnTo>
                    <a:lnTo>
                      <a:pt x="186" y="160"/>
                    </a:lnTo>
                    <a:lnTo>
                      <a:pt x="188" y="138"/>
                    </a:lnTo>
                    <a:lnTo>
                      <a:pt x="188" y="134"/>
                    </a:lnTo>
                    <a:lnTo>
                      <a:pt x="186" y="130"/>
                    </a:lnTo>
                    <a:lnTo>
                      <a:pt x="182" y="126"/>
                    </a:lnTo>
                    <a:lnTo>
                      <a:pt x="178" y="122"/>
                    </a:lnTo>
                    <a:lnTo>
                      <a:pt x="176" y="120"/>
                    </a:lnTo>
                    <a:lnTo>
                      <a:pt x="176" y="116"/>
                    </a:lnTo>
                    <a:lnTo>
                      <a:pt x="178" y="110"/>
                    </a:lnTo>
                    <a:lnTo>
                      <a:pt x="180" y="104"/>
                    </a:lnTo>
                    <a:lnTo>
                      <a:pt x="182" y="98"/>
                    </a:lnTo>
                    <a:lnTo>
                      <a:pt x="184" y="94"/>
                    </a:lnTo>
                    <a:lnTo>
                      <a:pt x="182" y="88"/>
                    </a:lnTo>
                    <a:lnTo>
                      <a:pt x="178" y="82"/>
                    </a:lnTo>
                    <a:lnTo>
                      <a:pt x="174" y="78"/>
                    </a:lnTo>
                    <a:lnTo>
                      <a:pt x="172" y="70"/>
                    </a:lnTo>
                    <a:lnTo>
                      <a:pt x="172" y="50"/>
                    </a:lnTo>
                    <a:lnTo>
                      <a:pt x="170" y="44"/>
                    </a:lnTo>
                    <a:lnTo>
                      <a:pt x="166" y="36"/>
                    </a:lnTo>
                    <a:lnTo>
                      <a:pt x="160" y="28"/>
                    </a:lnTo>
                    <a:lnTo>
                      <a:pt x="158" y="24"/>
                    </a:lnTo>
                    <a:lnTo>
                      <a:pt x="158" y="18"/>
                    </a:lnTo>
                    <a:lnTo>
                      <a:pt x="160" y="6"/>
                    </a:lnTo>
                    <a:lnTo>
                      <a:pt x="162" y="8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59" name="Freeform 35"/>
              <p:cNvSpPr>
                <a:spLocks/>
              </p:cNvSpPr>
              <p:nvPr/>
            </p:nvSpPr>
            <p:spPr bwMode="gray">
              <a:xfrm>
                <a:off x="2538413" y="2780507"/>
                <a:ext cx="430212" cy="449263"/>
              </a:xfrm>
              <a:custGeom>
                <a:avLst/>
                <a:gdLst>
                  <a:gd name="T0" fmla="*/ 2147483647 w 298"/>
                  <a:gd name="T1" fmla="*/ 2147483647 h 310"/>
                  <a:gd name="T2" fmla="*/ 2147483647 w 298"/>
                  <a:gd name="T3" fmla="*/ 2147483647 h 310"/>
                  <a:gd name="T4" fmla="*/ 2147483647 w 298"/>
                  <a:gd name="T5" fmla="*/ 2147483647 h 310"/>
                  <a:gd name="T6" fmla="*/ 2147483647 w 298"/>
                  <a:gd name="T7" fmla="*/ 2147483647 h 310"/>
                  <a:gd name="T8" fmla="*/ 2147483647 w 298"/>
                  <a:gd name="T9" fmla="*/ 2147483647 h 310"/>
                  <a:gd name="T10" fmla="*/ 2147483647 w 298"/>
                  <a:gd name="T11" fmla="*/ 2147483647 h 310"/>
                  <a:gd name="T12" fmla="*/ 2147483647 w 298"/>
                  <a:gd name="T13" fmla="*/ 2147483647 h 310"/>
                  <a:gd name="T14" fmla="*/ 2147483647 w 298"/>
                  <a:gd name="T15" fmla="*/ 2147483647 h 310"/>
                  <a:gd name="T16" fmla="*/ 2147483647 w 298"/>
                  <a:gd name="T17" fmla="*/ 2147483647 h 310"/>
                  <a:gd name="T18" fmla="*/ 2147483647 w 298"/>
                  <a:gd name="T19" fmla="*/ 2147483647 h 310"/>
                  <a:gd name="T20" fmla="*/ 2147483647 w 298"/>
                  <a:gd name="T21" fmla="*/ 2147483647 h 310"/>
                  <a:gd name="T22" fmla="*/ 2147483647 w 298"/>
                  <a:gd name="T23" fmla="*/ 2147483647 h 310"/>
                  <a:gd name="T24" fmla="*/ 2147483647 w 298"/>
                  <a:gd name="T25" fmla="*/ 2147483647 h 310"/>
                  <a:gd name="T26" fmla="*/ 2147483647 w 298"/>
                  <a:gd name="T27" fmla="*/ 2147483647 h 310"/>
                  <a:gd name="T28" fmla="*/ 2147483647 w 298"/>
                  <a:gd name="T29" fmla="*/ 2147483647 h 310"/>
                  <a:gd name="T30" fmla="*/ 2147483647 w 298"/>
                  <a:gd name="T31" fmla="*/ 2147483647 h 310"/>
                  <a:gd name="T32" fmla="*/ 2147483647 w 298"/>
                  <a:gd name="T33" fmla="*/ 2147483647 h 310"/>
                  <a:gd name="T34" fmla="*/ 0 w 298"/>
                  <a:gd name="T35" fmla="*/ 2147483647 h 310"/>
                  <a:gd name="T36" fmla="*/ 2147483647 w 298"/>
                  <a:gd name="T37" fmla="*/ 2147483647 h 310"/>
                  <a:gd name="T38" fmla="*/ 2147483647 w 298"/>
                  <a:gd name="T39" fmla="*/ 2147483647 h 310"/>
                  <a:gd name="T40" fmla="*/ 2147483647 w 298"/>
                  <a:gd name="T41" fmla="*/ 2147483647 h 310"/>
                  <a:gd name="T42" fmla="*/ 2147483647 w 298"/>
                  <a:gd name="T43" fmla="*/ 2147483647 h 310"/>
                  <a:gd name="T44" fmla="*/ 2147483647 w 298"/>
                  <a:gd name="T45" fmla="*/ 2147483647 h 310"/>
                  <a:gd name="T46" fmla="*/ 2147483647 w 298"/>
                  <a:gd name="T47" fmla="*/ 2147483647 h 310"/>
                  <a:gd name="T48" fmla="*/ 2147483647 w 298"/>
                  <a:gd name="T49" fmla="*/ 2147483647 h 310"/>
                  <a:gd name="T50" fmla="*/ 2147483647 w 298"/>
                  <a:gd name="T51" fmla="*/ 2147483647 h 310"/>
                  <a:gd name="T52" fmla="*/ 2147483647 w 298"/>
                  <a:gd name="T53" fmla="*/ 2147483647 h 310"/>
                  <a:gd name="T54" fmla="*/ 2147483647 w 298"/>
                  <a:gd name="T55" fmla="*/ 2147483647 h 310"/>
                  <a:gd name="T56" fmla="*/ 2147483647 w 298"/>
                  <a:gd name="T57" fmla="*/ 2147483647 h 310"/>
                  <a:gd name="T58" fmla="*/ 2147483647 w 298"/>
                  <a:gd name="T59" fmla="*/ 2147483647 h 310"/>
                  <a:gd name="T60" fmla="*/ 2147483647 w 298"/>
                  <a:gd name="T61" fmla="*/ 2147483647 h 310"/>
                  <a:gd name="T62" fmla="*/ 2147483647 w 298"/>
                  <a:gd name="T63" fmla="*/ 2147483647 h 310"/>
                  <a:gd name="T64" fmla="*/ 2147483647 w 298"/>
                  <a:gd name="T65" fmla="*/ 2147483647 h 310"/>
                  <a:gd name="T66" fmla="*/ 2147483647 w 298"/>
                  <a:gd name="T67" fmla="*/ 2147483647 h 310"/>
                  <a:gd name="T68" fmla="*/ 2147483647 w 298"/>
                  <a:gd name="T69" fmla="*/ 0 h 310"/>
                  <a:gd name="T70" fmla="*/ 2147483647 w 298"/>
                  <a:gd name="T71" fmla="*/ 2147483647 h 310"/>
                  <a:gd name="T72" fmla="*/ 2147483647 w 298"/>
                  <a:gd name="T73" fmla="*/ 2147483647 h 310"/>
                  <a:gd name="T74" fmla="*/ 2147483647 w 298"/>
                  <a:gd name="T75" fmla="*/ 2147483647 h 310"/>
                  <a:gd name="T76" fmla="*/ 2147483647 w 298"/>
                  <a:gd name="T77" fmla="*/ 2147483647 h 310"/>
                  <a:gd name="T78" fmla="*/ 2147483647 w 298"/>
                  <a:gd name="T79" fmla="*/ 2147483647 h 310"/>
                  <a:gd name="T80" fmla="*/ 2147483647 w 298"/>
                  <a:gd name="T81" fmla="*/ 2147483647 h 310"/>
                  <a:gd name="T82" fmla="*/ 2147483647 w 298"/>
                  <a:gd name="T83" fmla="*/ 2147483647 h 310"/>
                  <a:gd name="T84" fmla="*/ 2147483647 w 298"/>
                  <a:gd name="T85" fmla="*/ 2147483647 h 310"/>
                  <a:gd name="T86" fmla="*/ 2147483647 w 298"/>
                  <a:gd name="T87" fmla="*/ 2147483647 h 31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98"/>
                  <a:gd name="T133" fmla="*/ 0 h 310"/>
                  <a:gd name="T134" fmla="*/ 298 w 298"/>
                  <a:gd name="T135" fmla="*/ 310 h 31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98" h="310">
                    <a:moveTo>
                      <a:pt x="284" y="46"/>
                    </a:moveTo>
                    <a:lnTo>
                      <a:pt x="286" y="62"/>
                    </a:lnTo>
                    <a:lnTo>
                      <a:pt x="292" y="76"/>
                    </a:lnTo>
                    <a:lnTo>
                      <a:pt x="296" y="90"/>
                    </a:lnTo>
                    <a:lnTo>
                      <a:pt x="298" y="104"/>
                    </a:lnTo>
                    <a:lnTo>
                      <a:pt x="296" y="112"/>
                    </a:lnTo>
                    <a:lnTo>
                      <a:pt x="294" y="118"/>
                    </a:lnTo>
                    <a:lnTo>
                      <a:pt x="288" y="130"/>
                    </a:lnTo>
                    <a:lnTo>
                      <a:pt x="282" y="142"/>
                    </a:lnTo>
                    <a:lnTo>
                      <a:pt x="278" y="154"/>
                    </a:lnTo>
                    <a:lnTo>
                      <a:pt x="278" y="162"/>
                    </a:lnTo>
                    <a:lnTo>
                      <a:pt x="278" y="170"/>
                    </a:lnTo>
                    <a:lnTo>
                      <a:pt x="278" y="178"/>
                    </a:lnTo>
                    <a:lnTo>
                      <a:pt x="276" y="186"/>
                    </a:lnTo>
                    <a:lnTo>
                      <a:pt x="272" y="190"/>
                    </a:lnTo>
                    <a:lnTo>
                      <a:pt x="266" y="194"/>
                    </a:lnTo>
                    <a:lnTo>
                      <a:pt x="262" y="200"/>
                    </a:lnTo>
                    <a:lnTo>
                      <a:pt x="262" y="210"/>
                    </a:lnTo>
                    <a:lnTo>
                      <a:pt x="262" y="218"/>
                    </a:lnTo>
                    <a:lnTo>
                      <a:pt x="264" y="226"/>
                    </a:lnTo>
                    <a:lnTo>
                      <a:pt x="270" y="236"/>
                    </a:lnTo>
                    <a:lnTo>
                      <a:pt x="276" y="246"/>
                    </a:lnTo>
                    <a:lnTo>
                      <a:pt x="284" y="256"/>
                    </a:lnTo>
                    <a:lnTo>
                      <a:pt x="282" y="266"/>
                    </a:lnTo>
                    <a:lnTo>
                      <a:pt x="284" y="272"/>
                    </a:lnTo>
                    <a:lnTo>
                      <a:pt x="284" y="278"/>
                    </a:lnTo>
                    <a:lnTo>
                      <a:pt x="274" y="278"/>
                    </a:lnTo>
                    <a:lnTo>
                      <a:pt x="248" y="276"/>
                    </a:lnTo>
                    <a:lnTo>
                      <a:pt x="232" y="274"/>
                    </a:lnTo>
                    <a:lnTo>
                      <a:pt x="218" y="274"/>
                    </a:lnTo>
                    <a:lnTo>
                      <a:pt x="172" y="274"/>
                    </a:lnTo>
                    <a:lnTo>
                      <a:pt x="154" y="274"/>
                    </a:lnTo>
                    <a:lnTo>
                      <a:pt x="136" y="276"/>
                    </a:lnTo>
                    <a:lnTo>
                      <a:pt x="122" y="280"/>
                    </a:lnTo>
                    <a:lnTo>
                      <a:pt x="106" y="284"/>
                    </a:lnTo>
                    <a:lnTo>
                      <a:pt x="92" y="290"/>
                    </a:lnTo>
                    <a:lnTo>
                      <a:pt x="78" y="300"/>
                    </a:lnTo>
                    <a:lnTo>
                      <a:pt x="64" y="306"/>
                    </a:lnTo>
                    <a:lnTo>
                      <a:pt x="56" y="308"/>
                    </a:lnTo>
                    <a:lnTo>
                      <a:pt x="50" y="310"/>
                    </a:lnTo>
                    <a:lnTo>
                      <a:pt x="46" y="306"/>
                    </a:lnTo>
                    <a:lnTo>
                      <a:pt x="44" y="300"/>
                    </a:lnTo>
                    <a:lnTo>
                      <a:pt x="44" y="286"/>
                    </a:lnTo>
                    <a:lnTo>
                      <a:pt x="44" y="278"/>
                    </a:lnTo>
                    <a:lnTo>
                      <a:pt x="48" y="272"/>
                    </a:lnTo>
                    <a:lnTo>
                      <a:pt x="52" y="260"/>
                    </a:lnTo>
                    <a:lnTo>
                      <a:pt x="52" y="244"/>
                    </a:lnTo>
                    <a:lnTo>
                      <a:pt x="46" y="240"/>
                    </a:lnTo>
                    <a:lnTo>
                      <a:pt x="42" y="236"/>
                    </a:lnTo>
                    <a:lnTo>
                      <a:pt x="40" y="230"/>
                    </a:lnTo>
                    <a:lnTo>
                      <a:pt x="34" y="224"/>
                    </a:lnTo>
                    <a:lnTo>
                      <a:pt x="26" y="220"/>
                    </a:lnTo>
                    <a:lnTo>
                      <a:pt x="18" y="218"/>
                    </a:lnTo>
                    <a:lnTo>
                      <a:pt x="0" y="214"/>
                    </a:lnTo>
                    <a:lnTo>
                      <a:pt x="2" y="214"/>
                    </a:lnTo>
                    <a:lnTo>
                      <a:pt x="2" y="204"/>
                    </a:lnTo>
                    <a:lnTo>
                      <a:pt x="4" y="198"/>
                    </a:lnTo>
                    <a:lnTo>
                      <a:pt x="8" y="192"/>
                    </a:lnTo>
                    <a:lnTo>
                      <a:pt x="12" y="184"/>
                    </a:lnTo>
                    <a:lnTo>
                      <a:pt x="14" y="178"/>
                    </a:lnTo>
                    <a:lnTo>
                      <a:pt x="14" y="170"/>
                    </a:lnTo>
                    <a:lnTo>
                      <a:pt x="12" y="162"/>
                    </a:lnTo>
                    <a:lnTo>
                      <a:pt x="10" y="148"/>
                    </a:lnTo>
                    <a:lnTo>
                      <a:pt x="18" y="144"/>
                    </a:lnTo>
                    <a:lnTo>
                      <a:pt x="26" y="140"/>
                    </a:lnTo>
                    <a:lnTo>
                      <a:pt x="30" y="132"/>
                    </a:lnTo>
                    <a:lnTo>
                      <a:pt x="32" y="124"/>
                    </a:lnTo>
                    <a:lnTo>
                      <a:pt x="28" y="122"/>
                    </a:lnTo>
                    <a:lnTo>
                      <a:pt x="24" y="118"/>
                    </a:lnTo>
                    <a:lnTo>
                      <a:pt x="22" y="114"/>
                    </a:lnTo>
                    <a:lnTo>
                      <a:pt x="22" y="110"/>
                    </a:lnTo>
                    <a:lnTo>
                      <a:pt x="22" y="106"/>
                    </a:lnTo>
                    <a:lnTo>
                      <a:pt x="26" y="102"/>
                    </a:lnTo>
                    <a:lnTo>
                      <a:pt x="30" y="100"/>
                    </a:lnTo>
                    <a:lnTo>
                      <a:pt x="32" y="100"/>
                    </a:lnTo>
                    <a:lnTo>
                      <a:pt x="38" y="102"/>
                    </a:lnTo>
                    <a:lnTo>
                      <a:pt x="42" y="104"/>
                    </a:lnTo>
                    <a:lnTo>
                      <a:pt x="44" y="104"/>
                    </a:lnTo>
                    <a:lnTo>
                      <a:pt x="50" y="104"/>
                    </a:lnTo>
                    <a:lnTo>
                      <a:pt x="42" y="94"/>
                    </a:lnTo>
                    <a:lnTo>
                      <a:pt x="40" y="88"/>
                    </a:lnTo>
                    <a:lnTo>
                      <a:pt x="38" y="82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36" y="60"/>
                    </a:lnTo>
                    <a:lnTo>
                      <a:pt x="34" y="54"/>
                    </a:lnTo>
                    <a:lnTo>
                      <a:pt x="32" y="46"/>
                    </a:lnTo>
                    <a:lnTo>
                      <a:pt x="34" y="40"/>
                    </a:lnTo>
                    <a:lnTo>
                      <a:pt x="36" y="34"/>
                    </a:lnTo>
                    <a:lnTo>
                      <a:pt x="42" y="22"/>
                    </a:lnTo>
                    <a:lnTo>
                      <a:pt x="46" y="16"/>
                    </a:lnTo>
                    <a:lnTo>
                      <a:pt x="52" y="14"/>
                    </a:lnTo>
                    <a:lnTo>
                      <a:pt x="58" y="12"/>
                    </a:lnTo>
                    <a:lnTo>
                      <a:pt x="64" y="10"/>
                    </a:lnTo>
                    <a:lnTo>
                      <a:pt x="68" y="12"/>
                    </a:lnTo>
                    <a:lnTo>
                      <a:pt x="72" y="14"/>
                    </a:lnTo>
                    <a:lnTo>
                      <a:pt x="78" y="18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6" y="18"/>
                    </a:lnTo>
                    <a:lnTo>
                      <a:pt x="100" y="12"/>
                    </a:lnTo>
                    <a:lnTo>
                      <a:pt x="104" y="6"/>
                    </a:lnTo>
                    <a:lnTo>
                      <a:pt x="106" y="2"/>
                    </a:lnTo>
                    <a:lnTo>
                      <a:pt x="112" y="0"/>
                    </a:lnTo>
                    <a:lnTo>
                      <a:pt x="118" y="0"/>
                    </a:lnTo>
                    <a:lnTo>
                      <a:pt x="128" y="0"/>
                    </a:lnTo>
                    <a:lnTo>
                      <a:pt x="128" y="14"/>
                    </a:lnTo>
                    <a:lnTo>
                      <a:pt x="130" y="18"/>
                    </a:lnTo>
                    <a:lnTo>
                      <a:pt x="132" y="20"/>
                    </a:lnTo>
                    <a:lnTo>
                      <a:pt x="136" y="22"/>
                    </a:lnTo>
                    <a:lnTo>
                      <a:pt x="142" y="20"/>
                    </a:lnTo>
                    <a:lnTo>
                      <a:pt x="150" y="16"/>
                    </a:lnTo>
                    <a:lnTo>
                      <a:pt x="156" y="12"/>
                    </a:lnTo>
                    <a:lnTo>
                      <a:pt x="164" y="10"/>
                    </a:lnTo>
                    <a:lnTo>
                      <a:pt x="172" y="12"/>
                    </a:lnTo>
                    <a:lnTo>
                      <a:pt x="178" y="16"/>
                    </a:lnTo>
                    <a:lnTo>
                      <a:pt x="184" y="22"/>
                    </a:lnTo>
                    <a:lnTo>
                      <a:pt x="188" y="28"/>
                    </a:lnTo>
                    <a:lnTo>
                      <a:pt x="192" y="34"/>
                    </a:lnTo>
                    <a:lnTo>
                      <a:pt x="196" y="40"/>
                    </a:lnTo>
                    <a:lnTo>
                      <a:pt x="204" y="44"/>
                    </a:lnTo>
                    <a:lnTo>
                      <a:pt x="212" y="44"/>
                    </a:lnTo>
                    <a:lnTo>
                      <a:pt x="224" y="44"/>
                    </a:lnTo>
                    <a:lnTo>
                      <a:pt x="232" y="40"/>
                    </a:lnTo>
                    <a:lnTo>
                      <a:pt x="240" y="36"/>
                    </a:lnTo>
                    <a:lnTo>
                      <a:pt x="250" y="36"/>
                    </a:lnTo>
                    <a:lnTo>
                      <a:pt x="258" y="36"/>
                    </a:lnTo>
                    <a:lnTo>
                      <a:pt x="264" y="38"/>
                    </a:lnTo>
                    <a:lnTo>
                      <a:pt x="272" y="44"/>
                    </a:lnTo>
                    <a:lnTo>
                      <a:pt x="280" y="54"/>
                    </a:lnTo>
                    <a:lnTo>
                      <a:pt x="286" y="60"/>
                    </a:lnTo>
                    <a:lnTo>
                      <a:pt x="284" y="46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60" name="Freeform 40"/>
              <p:cNvSpPr>
                <a:spLocks/>
              </p:cNvSpPr>
              <p:nvPr/>
            </p:nvSpPr>
            <p:spPr bwMode="gray">
              <a:xfrm>
                <a:off x="2011363" y="2310607"/>
                <a:ext cx="376237" cy="328613"/>
              </a:xfrm>
              <a:custGeom>
                <a:avLst/>
                <a:gdLst>
                  <a:gd name="T0" fmla="*/ 2147483647 w 260"/>
                  <a:gd name="T1" fmla="*/ 2147483647 h 226"/>
                  <a:gd name="T2" fmla="*/ 2147483647 w 260"/>
                  <a:gd name="T3" fmla="*/ 2147483647 h 226"/>
                  <a:gd name="T4" fmla="*/ 2147483647 w 260"/>
                  <a:gd name="T5" fmla="*/ 2147483647 h 226"/>
                  <a:gd name="T6" fmla="*/ 2147483647 w 260"/>
                  <a:gd name="T7" fmla="*/ 2147483647 h 226"/>
                  <a:gd name="T8" fmla="*/ 2147483647 w 260"/>
                  <a:gd name="T9" fmla="*/ 2147483647 h 226"/>
                  <a:gd name="T10" fmla="*/ 2147483647 w 260"/>
                  <a:gd name="T11" fmla="*/ 2147483647 h 226"/>
                  <a:gd name="T12" fmla="*/ 2147483647 w 260"/>
                  <a:gd name="T13" fmla="*/ 2147483647 h 226"/>
                  <a:gd name="T14" fmla="*/ 2147483647 w 260"/>
                  <a:gd name="T15" fmla="*/ 2147483647 h 226"/>
                  <a:gd name="T16" fmla="*/ 2147483647 w 260"/>
                  <a:gd name="T17" fmla="*/ 2147483647 h 226"/>
                  <a:gd name="T18" fmla="*/ 2147483647 w 260"/>
                  <a:gd name="T19" fmla="*/ 2147483647 h 226"/>
                  <a:gd name="T20" fmla="*/ 2147483647 w 260"/>
                  <a:gd name="T21" fmla="*/ 2147483647 h 226"/>
                  <a:gd name="T22" fmla="*/ 2147483647 w 260"/>
                  <a:gd name="T23" fmla="*/ 2147483647 h 226"/>
                  <a:gd name="T24" fmla="*/ 2147483647 w 260"/>
                  <a:gd name="T25" fmla="*/ 2147483647 h 226"/>
                  <a:gd name="T26" fmla="*/ 2147483647 w 260"/>
                  <a:gd name="T27" fmla="*/ 2147483647 h 226"/>
                  <a:gd name="T28" fmla="*/ 2147483647 w 260"/>
                  <a:gd name="T29" fmla="*/ 2147483647 h 226"/>
                  <a:gd name="T30" fmla="*/ 2147483647 w 260"/>
                  <a:gd name="T31" fmla="*/ 2147483647 h 226"/>
                  <a:gd name="T32" fmla="*/ 2147483647 w 260"/>
                  <a:gd name="T33" fmla="*/ 2147483647 h 226"/>
                  <a:gd name="T34" fmla="*/ 2147483647 w 260"/>
                  <a:gd name="T35" fmla="*/ 2147483647 h 226"/>
                  <a:gd name="T36" fmla="*/ 2147483647 w 260"/>
                  <a:gd name="T37" fmla="*/ 2147483647 h 226"/>
                  <a:gd name="T38" fmla="*/ 2147483647 w 260"/>
                  <a:gd name="T39" fmla="*/ 2147483647 h 226"/>
                  <a:gd name="T40" fmla="*/ 2147483647 w 260"/>
                  <a:gd name="T41" fmla="*/ 2147483647 h 226"/>
                  <a:gd name="T42" fmla="*/ 2147483647 w 260"/>
                  <a:gd name="T43" fmla="*/ 2147483647 h 226"/>
                  <a:gd name="T44" fmla="*/ 2147483647 w 260"/>
                  <a:gd name="T45" fmla="*/ 2147483647 h 226"/>
                  <a:gd name="T46" fmla="*/ 2147483647 w 260"/>
                  <a:gd name="T47" fmla="*/ 2147483647 h 226"/>
                  <a:gd name="T48" fmla="*/ 2147483647 w 260"/>
                  <a:gd name="T49" fmla="*/ 2147483647 h 226"/>
                  <a:gd name="T50" fmla="*/ 2147483647 w 260"/>
                  <a:gd name="T51" fmla="*/ 2147483647 h 226"/>
                  <a:gd name="T52" fmla="*/ 2147483647 w 260"/>
                  <a:gd name="T53" fmla="*/ 2147483647 h 226"/>
                  <a:gd name="T54" fmla="*/ 2147483647 w 260"/>
                  <a:gd name="T55" fmla="*/ 2147483647 h 226"/>
                  <a:gd name="T56" fmla="*/ 2147483647 w 260"/>
                  <a:gd name="T57" fmla="*/ 2147483647 h 226"/>
                  <a:gd name="T58" fmla="*/ 2147483647 w 260"/>
                  <a:gd name="T59" fmla="*/ 2147483647 h 226"/>
                  <a:gd name="T60" fmla="*/ 2147483647 w 260"/>
                  <a:gd name="T61" fmla="*/ 2147483647 h 226"/>
                  <a:gd name="T62" fmla="*/ 2147483647 w 260"/>
                  <a:gd name="T63" fmla="*/ 2147483647 h 226"/>
                  <a:gd name="T64" fmla="*/ 2147483647 w 260"/>
                  <a:gd name="T65" fmla="*/ 2147483647 h 226"/>
                  <a:gd name="T66" fmla="*/ 2147483647 w 260"/>
                  <a:gd name="T67" fmla="*/ 2147483647 h 226"/>
                  <a:gd name="T68" fmla="*/ 2147483647 w 260"/>
                  <a:gd name="T69" fmla="*/ 0 h 226"/>
                  <a:gd name="T70" fmla="*/ 2147483647 w 260"/>
                  <a:gd name="T71" fmla="*/ 0 h 226"/>
                  <a:gd name="T72" fmla="*/ 2147483647 w 260"/>
                  <a:gd name="T73" fmla="*/ 2147483647 h 226"/>
                  <a:gd name="T74" fmla="*/ 2147483647 w 260"/>
                  <a:gd name="T75" fmla="*/ 2147483647 h 226"/>
                  <a:gd name="T76" fmla="*/ 2147483647 w 260"/>
                  <a:gd name="T77" fmla="*/ 2147483647 h 226"/>
                  <a:gd name="T78" fmla="*/ 2147483647 w 260"/>
                  <a:gd name="T79" fmla="*/ 2147483647 h 226"/>
                  <a:gd name="T80" fmla="*/ 2147483647 w 260"/>
                  <a:gd name="T81" fmla="*/ 2147483647 h 226"/>
                  <a:gd name="T82" fmla="*/ 2147483647 w 260"/>
                  <a:gd name="T83" fmla="*/ 2147483647 h 226"/>
                  <a:gd name="T84" fmla="*/ 2147483647 w 260"/>
                  <a:gd name="T85" fmla="*/ 2147483647 h 226"/>
                  <a:gd name="T86" fmla="*/ 2147483647 w 260"/>
                  <a:gd name="T87" fmla="*/ 2147483647 h 226"/>
                  <a:gd name="T88" fmla="*/ 2147483647 w 260"/>
                  <a:gd name="T89" fmla="*/ 2147483647 h 226"/>
                  <a:gd name="T90" fmla="*/ 2147483647 w 260"/>
                  <a:gd name="T91" fmla="*/ 2147483647 h 226"/>
                  <a:gd name="T92" fmla="*/ 2147483647 w 260"/>
                  <a:gd name="T93" fmla="*/ 2147483647 h 226"/>
                  <a:gd name="T94" fmla="*/ 2147483647 w 260"/>
                  <a:gd name="T95" fmla="*/ 2147483647 h 226"/>
                  <a:gd name="T96" fmla="*/ 2147483647 w 260"/>
                  <a:gd name="T97" fmla="*/ 2147483647 h 226"/>
                  <a:gd name="T98" fmla="*/ 2147483647 w 260"/>
                  <a:gd name="T99" fmla="*/ 2147483647 h 226"/>
                  <a:gd name="T100" fmla="*/ 2147483647 w 260"/>
                  <a:gd name="T101" fmla="*/ 2147483647 h 226"/>
                  <a:gd name="T102" fmla="*/ 2147483647 w 260"/>
                  <a:gd name="T103" fmla="*/ 2147483647 h 226"/>
                  <a:gd name="T104" fmla="*/ 2147483647 w 260"/>
                  <a:gd name="T105" fmla="*/ 2147483647 h 22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60"/>
                  <a:gd name="T160" fmla="*/ 0 h 226"/>
                  <a:gd name="T161" fmla="*/ 260 w 260"/>
                  <a:gd name="T162" fmla="*/ 226 h 22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60" h="226">
                    <a:moveTo>
                      <a:pt x="252" y="226"/>
                    </a:moveTo>
                    <a:lnTo>
                      <a:pt x="236" y="226"/>
                    </a:lnTo>
                    <a:lnTo>
                      <a:pt x="218" y="226"/>
                    </a:lnTo>
                    <a:lnTo>
                      <a:pt x="200" y="224"/>
                    </a:lnTo>
                    <a:lnTo>
                      <a:pt x="186" y="218"/>
                    </a:lnTo>
                    <a:lnTo>
                      <a:pt x="182" y="214"/>
                    </a:lnTo>
                    <a:lnTo>
                      <a:pt x="178" y="208"/>
                    </a:lnTo>
                    <a:lnTo>
                      <a:pt x="172" y="204"/>
                    </a:lnTo>
                    <a:lnTo>
                      <a:pt x="162" y="204"/>
                    </a:lnTo>
                    <a:lnTo>
                      <a:pt x="96" y="200"/>
                    </a:lnTo>
                    <a:lnTo>
                      <a:pt x="78" y="200"/>
                    </a:lnTo>
                    <a:lnTo>
                      <a:pt x="60" y="204"/>
                    </a:lnTo>
                    <a:lnTo>
                      <a:pt x="26" y="214"/>
                    </a:lnTo>
                    <a:lnTo>
                      <a:pt x="20" y="208"/>
                    </a:lnTo>
                    <a:lnTo>
                      <a:pt x="18" y="204"/>
                    </a:lnTo>
                    <a:lnTo>
                      <a:pt x="18" y="200"/>
                    </a:lnTo>
                    <a:lnTo>
                      <a:pt x="18" y="186"/>
                    </a:lnTo>
                    <a:lnTo>
                      <a:pt x="18" y="170"/>
                    </a:lnTo>
                    <a:lnTo>
                      <a:pt x="34" y="170"/>
                    </a:lnTo>
                    <a:lnTo>
                      <a:pt x="40" y="176"/>
                    </a:lnTo>
                    <a:lnTo>
                      <a:pt x="48" y="176"/>
                    </a:lnTo>
                    <a:lnTo>
                      <a:pt x="54" y="176"/>
                    </a:lnTo>
                    <a:lnTo>
                      <a:pt x="60" y="174"/>
                    </a:lnTo>
                    <a:lnTo>
                      <a:pt x="70" y="168"/>
                    </a:lnTo>
                    <a:lnTo>
                      <a:pt x="80" y="162"/>
                    </a:lnTo>
                    <a:lnTo>
                      <a:pt x="86" y="160"/>
                    </a:lnTo>
                    <a:lnTo>
                      <a:pt x="92" y="160"/>
                    </a:lnTo>
                    <a:lnTo>
                      <a:pt x="102" y="162"/>
                    </a:lnTo>
                    <a:lnTo>
                      <a:pt x="110" y="168"/>
                    </a:lnTo>
                    <a:lnTo>
                      <a:pt x="120" y="174"/>
                    </a:lnTo>
                    <a:lnTo>
                      <a:pt x="126" y="176"/>
                    </a:lnTo>
                    <a:lnTo>
                      <a:pt x="130" y="176"/>
                    </a:lnTo>
                    <a:lnTo>
                      <a:pt x="144" y="176"/>
                    </a:lnTo>
                    <a:lnTo>
                      <a:pt x="152" y="176"/>
                    </a:lnTo>
                    <a:lnTo>
                      <a:pt x="152" y="164"/>
                    </a:lnTo>
                    <a:lnTo>
                      <a:pt x="146" y="160"/>
                    </a:lnTo>
                    <a:lnTo>
                      <a:pt x="142" y="158"/>
                    </a:lnTo>
                    <a:lnTo>
                      <a:pt x="126" y="158"/>
                    </a:lnTo>
                    <a:lnTo>
                      <a:pt x="120" y="156"/>
                    </a:lnTo>
                    <a:lnTo>
                      <a:pt x="114" y="150"/>
                    </a:lnTo>
                    <a:lnTo>
                      <a:pt x="104" y="144"/>
                    </a:lnTo>
                    <a:lnTo>
                      <a:pt x="98" y="142"/>
                    </a:lnTo>
                    <a:lnTo>
                      <a:pt x="92" y="142"/>
                    </a:lnTo>
                    <a:lnTo>
                      <a:pt x="80" y="144"/>
                    </a:lnTo>
                    <a:lnTo>
                      <a:pt x="66" y="148"/>
                    </a:lnTo>
                    <a:lnTo>
                      <a:pt x="52" y="152"/>
                    </a:lnTo>
                    <a:lnTo>
                      <a:pt x="38" y="154"/>
                    </a:lnTo>
                    <a:lnTo>
                      <a:pt x="24" y="154"/>
                    </a:lnTo>
                    <a:lnTo>
                      <a:pt x="24" y="148"/>
                    </a:lnTo>
                    <a:lnTo>
                      <a:pt x="24" y="138"/>
                    </a:lnTo>
                    <a:lnTo>
                      <a:pt x="20" y="130"/>
                    </a:lnTo>
                    <a:lnTo>
                      <a:pt x="12" y="112"/>
                    </a:lnTo>
                    <a:lnTo>
                      <a:pt x="4" y="98"/>
                    </a:lnTo>
                    <a:lnTo>
                      <a:pt x="2" y="90"/>
                    </a:lnTo>
                    <a:lnTo>
                      <a:pt x="0" y="86"/>
                    </a:lnTo>
                    <a:lnTo>
                      <a:pt x="4" y="82"/>
                    </a:lnTo>
                    <a:lnTo>
                      <a:pt x="10" y="78"/>
                    </a:lnTo>
                    <a:lnTo>
                      <a:pt x="20" y="68"/>
                    </a:lnTo>
                    <a:lnTo>
                      <a:pt x="32" y="56"/>
                    </a:lnTo>
                    <a:lnTo>
                      <a:pt x="38" y="48"/>
                    </a:lnTo>
                    <a:lnTo>
                      <a:pt x="40" y="42"/>
                    </a:lnTo>
                    <a:lnTo>
                      <a:pt x="44" y="28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4" y="8"/>
                    </a:lnTo>
                    <a:lnTo>
                      <a:pt x="60" y="6"/>
                    </a:lnTo>
                    <a:lnTo>
                      <a:pt x="66" y="6"/>
                    </a:lnTo>
                    <a:lnTo>
                      <a:pt x="80" y="6"/>
                    </a:lnTo>
                    <a:lnTo>
                      <a:pt x="96" y="2"/>
                    </a:lnTo>
                    <a:lnTo>
                      <a:pt x="106" y="0"/>
                    </a:lnTo>
                    <a:lnTo>
                      <a:pt x="116" y="0"/>
                    </a:lnTo>
                    <a:lnTo>
                      <a:pt x="126" y="0"/>
                    </a:lnTo>
                    <a:lnTo>
                      <a:pt x="132" y="2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50" y="18"/>
                    </a:lnTo>
                    <a:lnTo>
                      <a:pt x="158" y="26"/>
                    </a:lnTo>
                    <a:lnTo>
                      <a:pt x="164" y="32"/>
                    </a:lnTo>
                    <a:lnTo>
                      <a:pt x="170" y="34"/>
                    </a:lnTo>
                    <a:lnTo>
                      <a:pt x="176" y="34"/>
                    </a:lnTo>
                    <a:lnTo>
                      <a:pt x="182" y="38"/>
                    </a:lnTo>
                    <a:lnTo>
                      <a:pt x="186" y="42"/>
                    </a:lnTo>
                    <a:lnTo>
                      <a:pt x="186" y="46"/>
                    </a:lnTo>
                    <a:lnTo>
                      <a:pt x="186" y="52"/>
                    </a:lnTo>
                    <a:lnTo>
                      <a:pt x="188" y="58"/>
                    </a:lnTo>
                    <a:lnTo>
                      <a:pt x="198" y="74"/>
                    </a:lnTo>
                    <a:lnTo>
                      <a:pt x="210" y="88"/>
                    </a:lnTo>
                    <a:lnTo>
                      <a:pt x="220" y="104"/>
                    </a:lnTo>
                    <a:lnTo>
                      <a:pt x="228" y="126"/>
                    </a:lnTo>
                    <a:lnTo>
                      <a:pt x="230" y="130"/>
                    </a:lnTo>
                    <a:lnTo>
                      <a:pt x="232" y="134"/>
                    </a:lnTo>
                    <a:lnTo>
                      <a:pt x="236" y="138"/>
                    </a:lnTo>
                    <a:lnTo>
                      <a:pt x="236" y="142"/>
                    </a:lnTo>
                    <a:lnTo>
                      <a:pt x="234" y="15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36" y="172"/>
                    </a:lnTo>
                    <a:lnTo>
                      <a:pt x="246" y="180"/>
                    </a:lnTo>
                    <a:lnTo>
                      <a:pt x="256" y="192"/>
                    </a:lnTo>
                    <a:lnTo>
                      <a:pt x="258" y="198"/>
                    </a:lnTo>
                    <a:lnTo>
                      <a:pt x="260" y="204"/>
                    </a:lnTo>
                    <a:lnTo>
                      <a:pt x="258" y="210"/>
                    </a:lnTo>
                    <a:lnTo>
                      <a:pt x="256" y="216"/>
                    </a:lnTo>
                    <a:lnTo>
                      <a:pt x="254" y="222"/>
                    </a:lnTo>
                    <a:lnTo>
                      <a:pt x="256" y="226"/>
                    </a:lnTo>
                    <a:lnTo>
                      <a:pt x="252" y="226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61" name="Freeform 51"/>
              <p:cNvSpPr>
                <a:spLocks/>
              </p:cNvSpPr>
              <p:nvPr/>
            </p:nvSpPr>
            <p:spPr bwMode="gray">
              <a:xfrm>
                <a:off x="3730625" y="2639220"/>
                <a:ext cx="542925" cy="793750"/>
              </a:xfrm>
              <a:custGeom>
                <a:avLst/>
                <a:gdLst>
                  <a:gd name="T0" fmla="*/ 2147483647 w 375"/>
                  <a:gd name="T1" fmla="*/ 2147483647 h 548"/>
                  <a:gd name="T2" fmla="*/ 2147483647 w 375"/>
                  <a:gd name="T3" fmla="*/ 2147483647 h 548"/>
                  <a:gd name="T4" fmla="*/ 2147483647 w 375"/>
                  <a:gd name="T5" fmla="*/ 2147483647 h 548"/>
                  <a:gd name="T6" fmla="*/ 2147483647 w 375"/>
                  <a:gd name="T7" fmla="*/ 2147483647 h 548"/>
                  <a:gd name="T8" fmla="*/ 2147483647 w 375"/>
                  <a:gd name="T9" fmla="*/ 2147483647 h 548"/>
                  <a:gd name="T10" fmla="*/ 2147483647 w 375"/>
                  <a:gd name="T11" fmla="*/ 2147483647 h 548"/>
                  <a:gd name="T12" fmla="*/ 2147483647 w 375"/>
                  <a:gd name="T13" fmla="*/ 2147483647 h 548"/>
                  <a:gd name="T14" fmla="*/ 2147483647 w 375"/>
                  <a:gd name="T15" fmla="*/ 2147483647 h 548"/>
                  <a:gd name="T16" fmla="*/ 2147483647 w 375"/>
                  <a:gd name="T17" fmla="*/ 2147483647 h 548"/>
                  <a:gd name="T18" fmla="*/ 2147483647 w 375"/>
                  <a:gd name="T19" fmla="*/ 2147483647 h 548"/>
                  <a:gd name="T20" fmla="*/ 2147483647 w 375"/>
                  <a:gd name="T21" fmla="*/ 2147483647 h 548"/>
                  <a:gd name="T22" fmla="*/ 2147483647 w 375"/>
                  <a:gd name="T23" fmla="*/ 2147483647 h 548"/>
                  <a:gd name="T24" fmla="*/ 2147483647 w 375"/>
                  <a:gd name="T25" fmla="*/ 2147483647 h 548"/>
                  <a:gd name="T26" fmla="*/ 2147483647 w 375"/>
                  <a:gd name="T27" fmla="*/ 2147483647 h 548"/>
                  <a:gd name="T28" fmla="*/ 2147483647 w 375"/>
                  <a:gd name="T29" fmla="*/ 2147483647 h 548"/>
                  <a:gd name="T30" fmla="*/ 2147483647 w 375"/>
                  <a:gd name="T31" fmla="*/ 2147483647 h 548"/>
                  <a:gd name="T32" fmla="*/ 2147483647 w 375"/>
                  <a:gd name="T33" fmla="*/ 2147483647 h 548"/>
                  <a:gd name="T34" fmla="*/ 2147483647 w 375"/>
                  <a:gd name="T35" fmla="*/ 2147483647 h 548"/>
                  <a:gd name="T36" fmla="*/ 2147483647 w 375"/>
                  <a:gd name="T37" fmla="*/ 2147483647 h 548"/>
                  <a:gd name="T38" fmla="*/ 2147483647 w 375"/>
                  <a:gd name="T39" fmla="*/ 2147483647 h 548"/>
                  <a:gd name="T40" fmla="*/ 2147483647 w 375"/>
                  <a:gd name="T41" fmla="*/ 2147483647 h 548"/>
                  <a:gd name="T42" fmla="*/ 2147483647 w 375"/>
                  <a:gd name="T43" fmla="*/ 2147483647 h 548"/>
                  <a:gd name="T44" fmla="*/ 2147483647 w 375"/>
                  <a:gd name="T45" fmla="*/ 2147483647 h 548"/>
                  <a:gd name="T46" fmla="*/ 2147483647 w 375"/>
                  <a:gd name="T47" fmla="*/ 0 h 548"/>
                  <a:gd name="T48" fmla="*/ 2147483647 w 375"/>
                  <a:gd name="T49" fmla="*/ 2147483647 h 548"/>
                  <a:gd name="T50" fmla="*/ 2147483647 w 375"/>
                  <a:gd name="T51" fmla="*/ 2147483647 h 548"/>
                  <a:gd name="T52" fmla="*/ 2147483647 w 375"/>
                  <a:gd name="T53" fmla="*/ 2147483647 h 548"/>
                  <a:gd name="T54" fmla="*/ 2147483647 w 375"/>
                  <a:gd name="T55" fmla="*/ 2147483647 h 548"/>
                  <a:gd name="T56" fmla="*/ 2147483647 w 375"/>
                  <a:gd name="T57" fmla="*/ 2147483647 h 548"/>
                  <a:gd name="T58" fmla="*/ 2147483647 w 375"/>
                  <a:gd name="T59" fmla="*/ 2147483647 h 548"/>
                  <a:gd name="T60" fmla="*/ 2147483647 w 375"/>
                  <a:gd name="T61" fmla="*/ 2147483647 h 548"/>
                  <a:gd name="T62" fmla="*/ 2147483647 w 375"/>
                  <a:gd name="T63" fmla="*/ 2147483647 h 548"/>
                  <a:gd name="T64" fmla="*/ 2147483647 w 375"/>
                  <a:gd name="T65" fmla="*/ 2147483647 h 548"/>
                  <a:gd name="T66" fmla="*/ 2147483647 w 375"/>
                  <a:gd name="T67" fmla="*/ 2147483647 h 548"/>
                  <a:gd name="T68" fmla="*/ 2147483647 w 375"/>
                  <a:gd name="T69" fmla="*/ 2147483647 h 548"/>
                  <a:gd name="T70" fmla="*/ 2147483647 w 375"/>
                  <a:gd name="T71" fmla="*/ 2147483647 h 548"/>
                  <a:gd name="T72" fmla="*/ 2147483647 w 375"/>
                  <a:gd name="T73" fmla="*/ 2147483647 h 548"/>
                  <a:gd name="T74" fmla="*/ 2147483647 w 375"/>
                  <a:gd name="T75" fmla="*/ 2147483647 h 548"/>
                  <a:gd name="T76" fmla="*/ 2147483647 w 375"/>
                  <a:gd name="T77" fmla="*/ 2147483647 h 548"/>
                  <a:gd name="T78" fmla="*/ 2147483647 w 375"/>
                  <a:gd name="T79" fmla="*/ 2147483647 h 548"/>
                  <a:gd name="T80" fmla="*/ 2147483647 w 375"/>
                  <a:gd name="T81" fmla="*/ 2147483647 h 548"/>
                  <a:gd name="T82" fmla="*/ 2147483647 w 375"/>
                  <a:gd name="T83" fmla="*/ 2147483647 h 548"/>
                  <a:gd name="T84" fmla="*/ 2147483647 w 375"/>
                  <a:gd name="T85" fmla="*/ 2147483647 h 548"/>
                  <a:gd name="T86" fmla="*/ 2147483647 w 375"/>
                  <a:gd name="T87" fmla="*/ 2147483647 h 548"/>
                  <a:gd name="T88" fmla="*/ 2147483647 w 375"/>
                  <a:gd name="T89" fmla="*/ 2147483647 h 548"/>
                  <a:gd name="T90" fmla="*/ 2147483647 w 375"/>
                  <a:gd name="T91" fmla="*/ 2147483647 h 54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5"/>
                  <a:gd name="T139" fmla="*/ 0 h 548"/>
                  <a:gd name="T140" fmla="*/ 375 w 375"/>
                  <a:gd name="T141" fmla="*/ 548 h 54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5" h="548">
                    <a:moveTo>
                      <a:pt x="224" y="530"/>
                    </a:moveTo>
                    <a:lnTo>
                      <a:pt x="136" y="530"/>
                    </a:lnTo>
                    <a:lnTo>
                      <a:pt x="62" y="530"/>
                    </a:lnTo>
                    <a:lnTo>
                      <a:pt x="62" y="516"/>
                    </a:lnTo>
                    <a:lnTo>
                      <a:pt x="66" y="506"/>
                    </a:lnTo>
                    <a:lnTo>
                      <a:pt x="68" y="496"/>
                    </a:lnTo>
                    <a:lnTo>
                      <a:pt x="70" y="486"/>
                    </a:lnTo>
                    <a:lnTo>
                      <a:pt x="68" y="478"/>
                    </a:lnTo>
                    <a:lnTo>
                      <a:pt x="64" y="468"/>
                    </a:lnTo>
                    <a:lnTo>
                      <a:pt x="58" y="462"/>
                    </a:lnTo>
                    <a:lnTo>
                      <a:pt x="50" y="454"/>
                    </a:lnTo>
                    <a:lnTo>
                      <a:pt x="36" y="444"/>
                    </a:lnTo>
                    <a:lnTo>
                      <a:pt x="22" y="436"/>
                    </a:lnTo>
                    <a:lnTo>
                      <a:pt x="16" y="430"/>
                    </a:lnTo>
                    <a:lnTo>
                      <a:pt x="12" y="422"/>
                    </a:lnTo>
                    <a:lnTo>
                      <a:pt x="6" y="412"/>
                    </a:lnTo>
                    <a:lnTo>
                      <a:pt x="0" y="406"/>
                    </a:lnTo>
                    <a:lnTo>
                      <a:pt x="6" y="396"/>
                    </a:lnTo>
                    <a:lnTo>
                      <a:pt x="8" y="384"/>
                    </a:lnTo>
                    <a:lnTo>
                      <a:pt x="16" y="358"/>
                    </a:lnTo>
                    <a:lnTo>
                      <a:pt x="20" y="350"/>
                    </a:lnTo>
                    <a:lnTo>
                      <a:pt x="26" y="340"/>
                    </a:lnTo>
                    <a:lnTo>
                      <a:pt x="36" y="330"/>
                    </a:lnTo>
                    <a:lnTo>
                      <a:pt x="46" y="322"/>
                    </a:lnTo>
                    <a:lnTo>
                      <a:pt x="56" y="314"/>
                    </a:lnTo>
                    <a:lnTo>
                      <a:pt x="68" y="308"/>
                    </a:lnTo>
                    <a:lnTo>
                      <a:pt x="80" y="304"/>
                    </a:lnTo>
                    <a:lnTo>
                      <a:pt x="90" y="302"/>
                    </a:lnTo>
                    <a:lnTo>
                      <a:pt x="94" y="302"/>
                    </a:lnTo>
                    <a:lnTo>
                      <a:pt x="96" y="298"/>
                    </a:lnTo>
                    <a:lnTo>
                      <a:pt x="102" y="292"/>
                    </a:lnTo>
                    <a:lnTo>
                      <a:pt x="110" y="300"/>
                    </a:lnTo>
                    <a:lnTo>
                      <a:pt x="116" y="310"/>
                    </a:lnTo>
                    <a:lnTo>
                      <a:pt x="124" y="320"/>
                    </a:lnTo>
                    <a:lnTo>
                      <a:pt x="128" y="322"/>
                    </a:lnTo>
                    <a:lnTo>
                      <a:pt x="132" y="322"/>
                    </a:lnTo>
                    <a:lnTo>
                      <a:pt x="138" y="320"/>
                    </a:lnTo>
                    <a:lnTo>
                      <a:pt x="144" y="314"/>
                    </a:lnTo>
                    <a:lnTo>
                      <a:pt x="156" y="296"/>
                    </a:lnTo>
                    <a:lnTo>
                      <a:pt x="168" y="276"/>
                    </a:lnTo>
                    <a:lnTo>
                      <a:pt x="174" y="260"/>
                    </a:lnTo>
                    <a:lnTo>
                      <a:pt x="178" y="244"/>
                    </a:lnTo>
                    <a:lnTo>
                      <a:pt x="186" y="232"/>
                    </a:lnTo>
                    <a:lnTo>
                      <a:pt x="194" y="222"/>
                    </a:lnTo>
                    <a:lnTo>
                      <a:pt x="206" y="212"/>
                    </a:lnTo>
                    <a:lnTo>
                      <a:pt x="210" y="208"/>
                    </a:lnTo>
                    <a:lnTo>
                      <a:pt x="210" y="202"/>
                    </a:lnTo>
                    <a:lnTo>
                      <a:pt x="210" y="196"/>
                    </a:lnTo>
                    <a:lnTo>
                      <a:pt x="212" y="192"/>
                    </a:lnTo>
                    <a:lnTo>
                      <a:pt x="216" y="186"/>
                    </a:lnTo>
                    <a:lnTo>
                      <a:pt x="222" y="180"/>
                    </a:lnTo>
                    <a:lnTo>
                      <a:pt x="232" y="172"/>
                    </a:lnTo>
                    <a:lnTo>
                      <a:pt x="232" y="168"/>
                    </a:lnTo>
                    <a:lnTo>
                      <a:pt x="232" y="162"/>
                    </a:lnTo>
                    <a:lnTo>
                      <a:pt x="232" y="150"/>
                    </a:lnTo>
                    <a:lnTo>
                      <a:pt x="234" y="144"/>
                    </a:lnTo>
                    <a:lnTo>
                      <a:pt x="238" y="138"/>
                    </a:lnTo>
                    <a:lnTo>
                      <a:pt x="246" y="122"/>
                    </a:lnTo>
                    <a:lnTo>
                      <a:pt x="250" y="112"/>
                    </a:lnTo>
                    <a:lnTo>
                      <a:pt x="258" y="106"/>
                    </a:lnTo>
                    <a:lnTo>
                      <a:pt x="276" y="94"/>
                    </a:lnTo>
                    <a:lnTo>
                      <a:pt x="284" y="88"/>
                    </a:lnTo>
                    <a:lnTo>
                      <a:pt x="292" y="82"/>
                    </a:lnTo>
                    <a:lnTo>
                      <a:pt x="296" y="72"/>
                    </a:lnTo>
                    <a:lnTo>
                      <a:pt x="298" y="62"/>
                    </a:lnTo>
                    <a:lnTo>
                      <a:pt x="296" y="50"/>
                    </a:lnTo>
                    <a:lnTo>
                      <a:pt x="296" y="46"/>
                    </a:lnTo>
                    <a:lnTo>
                      <a:pt x="298" y="40"/>
                    </a:lnTo>
                    <a:lnTo>
                      <a:pt x="284" y="38"/>
                    </a:lnTo>
                    <a:lnTo>
                      <a:pt x="278" y="36"/>
                    </a:lnTo>
                    <a:lnTo>
                      <a:pt x="274" y="32"/>
                    </a:lnTo>
                    <a:lnTo>
                      <a:pt x="274" y="0"/>
                    </a:lnTo>
                    <a:lnTo>
                      <a:pt x="284" y="10"/>
                    </a:lnTo>
                    <a:lnTo>
                      <a:pt x="292" y="18"/>
                    </a:lnTo>
                    <a:lnTo>
                      <a:pt x="306" y="40"/>
                    </a:lnTo>
                    <a:lnTo>
                      <a:pt x="306" y="74"/>
                    </a:lnTo>
                    <a:lnTo>
                      <a:pt x="314" y="92"/>
                    </a:lnTo>
                    <a:lnTo>
                      <a:pt x="320" y="110"/>
                    </a:lnTo>
                    <a:lnTo>
                      <a:pt x="324" y="126"/>
                    </a:lnTo>
                    <a:lnTo>
                      <a:pt x="330" y="144"/>
                    </a:lnTo>
                    <a:lnTo>
                      <a:pt x="310" y="144"/>
                    </a:lnTo>
                    <a:lnTo>
                      <a:pt x="290" y="146"/>
                    </a:lnTo>
                    <a:lnTo>
                      <a:pt x="280" y="146"/>
                    </a:lnTo>
                    <a:lnTo>
                      <a:pt x="274" y="150"/>
                    </a:lnTo>
                    <a:lnTo>
                      <a:pt x="268" y="156"/>
                    </a:lnTo>
                    <a:lnTo>
                      <a:pt x="268" y="166"/>
                    </a:lnTo>
                    <a:lnTo>
                      <a:pt x="268" y="174"/>
                    </a:lnTo>
                    <a:lnTo>
                      <a:pt x="270" y="182"/>
                    </a:lnTo>
                    <a:lnTo>
                      <a:pt x="274" y="188"/>
                    </a:lnTo>
                    <a:lnTo>
                      <a:pt x="280" y="192"/>
                    </a:lnTo>
                    <a:lnTo>
                      <a:pt x="292" y="200"/>
                    </a:lnTo>
                    <a:lnTo>
                      <a:pt x="302" y="210"/>
                    </a:lnTo>
                    <a:lnTo>
                      <a:pt x="314" y="224"/>
                    </a:lnTo>
                    <a:lnTo>
                      <a:pt x="326" y="240"/>
                    </a:lnTo>
                    <a:lnTo>
                      <a:pt x="334" y="256"/>
                    </a:lnTo>
                    <a:lnTo>
                      <a:pt x="342" y="278"/>
                    </a:lnTo>
                    <a:lnTo>
                      <a:pt x="332" y="282"/>
                    </a:lnTo>
                    <a:lnTo>
                      <a:pt x="320" y="296"/>
                    </a:lnTo>
                    <a:lnTo>
                      <a:pt x="310" y="314"/>
                    </a:lnTo>
                    <a:lnTo>
                      <a:pt x="300" y="330"/>
                    </a:lnTo>
                    <a:lnTo>
                      <a:pt x="288" y="346"/>
                    </a:lnTo>
                    <a:lnTo>
                      <a:pt x="292" y="350"/>
                    </a:lnTo>
                    <a:lnTo>
                      <a:pt x="294" y="352"/>
                    </a:lnTo>
                    <a:lnTo>
                      <a:pt x="296" y="356"/>
                    </a:lnTo>
                    <a:lnTo>
                      <a:pt x="296" y="362"/>
                    </a:lnTo>
                    <a:lnTo>
                      <a:pt x="296" y="374"/>
                    </a:lnTo>
                    <a:lnTo>
                      <a:pt x="296" y="386"/>
                    </a:lnTo>
                    <a:lnTo>
                      <a:pt x="300" y="400"/>
                    </a:lnTo>
                    <a:lnTo>
                      <a:pt x="306" y="414"/>
                    </a:lnTo>
                    <a:lnTo>
                      <a:pt x="312" y="428"/>
                    </a:lnTo>
                    <a:lnTo>
                      <a:pt x="326" y="452"/>
                    </a:lnTo>
                    <a:lnTo>
                      <a:pt x="340" y="472"/>
                    </a:lnTo>
                    <a:lnTo>
                      <a:pt x="344" y="476"/>
                    </a:lnTo>
                    <a:lnTo>
                      <a:pt x="348" y="480"/>
                    </a:lnTo>
                    <a:lnTo>
                      <a:pt x="360" y="490"/>
                    </a:lnTo>
                    <a:lnTo>
                      <a:pt x="366" y="494"/>
                    </a:lnTo>
                    <a:lnTo>
                      <a:pt x="371" y="500"/>
                    </a:lnTo>
                    <a:lnTo>
                      <a:pt x="373" y="506"/>
                    </a:lnTo>
                    <a:lnTo>
                      <a:pt x="375" y="516"/>
                    </a:lnTo>
                    <a:lnTo>
                      <a:pt x="375" y="512"/>
                    </a:lnTo>
                    <a:lnTo>
                      <a:pt x="371" y="520"/>
                    </a:lnTo>
                    <a:lnTo>
                      <a:pt x="368" y="528"/>
                    </a:lnTo>
                    <a:lnTo>
                      <a:pt x="366" y="538"/>
                    </a:lnTo>
                    <a:lnTo>
                      <a:pt x="362" y="548"/>
                    </a:lnTo>
                    <a:lnTo>
                      <a:pt x="354" y="542"/>
                    </a:lnTo>
                    <a:lnTo>
                      <a:pt x="348" y="540"/>
                    </a:lnTo>
                    <a:lnTo>
                      <a:pt x="342" y="538"/>
                    </a:lnTo>
                    <a:lnTo>
                      <a:pt x="330" y="538"/>
                    </a:lnTo>
                    <a:lnTo>
                      <a:pt x="320" y="536"/>
                    </a:lnTo>
                    <a:lnTo>
                      <a:pt x="304" y="530"/>
                    </a:lnTo>
                    <a:lnTo>
                      <a:pt x="288" y="524"/>
                    </a:lnTo>
                    <a:lnTo>
                      <a:pt x="278" y="522"/>
                    </a:lnTo>
                    <a:lnTo>
                      <a:pt x="268" y="522"/>
                    </a:lnTo>
                    <a:lnTo>
                      <a:pt x="254" y="522"/>
                    </a:lnTo>
                    <a:lnTo>
                      <a:pt x="244" y="524"/>
                    </a:lnTo>
                    <a:lnTo>
                      <a:pt x="236" y="528"/>
                    </a:lnTo>
                    <a:lnTo>
                      <a:pt x="228" y="532"/>
                    </a:lnTo>
                    <a:lnTo>
                      <a:pt x="224" y="530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700"/>
              </a:p>
            </p:txBody>
          </p:sp>
        </p:grpSp>
        <p:sp>
          <p:nvSpPr>
            <p:cNvPr id="28" name="Freeform 52"/>
            <p:cNvSpPr>
              <a:spLocks/>
            </p:cNvSpPr>
            <p:nvPr/>
          </p:nvSpPr>
          <p:spPr bwMode="gray">
            <a:xfrm>
              <a:off x="3979863" y="3885407"/>
              <a:ext cx="63500" cy="87313"/>
            </a:xfrm>
            <a:custGeom>
              <a:avLst/>
              <a:gdLst>
                <a:gd name="T0" fmla="*/ 2147483647 w 44"/>
                <a:gd name="T1" fmla="*/ 2147483647 h 60"/>
                <a:gd name="T2" fmla="*/ 2147483647 w 44"/>
                <a:gd name="T3" fmla="*/ 2147483647 h 60"/>
                <a:gd name="T4" fmla="*/ 2147483647 w 44"/>
                <a:gd name="T5" fmla="*/ 2147483647 h 60"/>
                <a:gd name="T6" fmla="*/ 2147483647 w 44"/>
                <a:gd name="T7" fmla="*/ 2147483647 h 60"/>
                <a:gd name="T8" fmla="*/ 2147483647 w 44"/>
                <a:gd name="T9" fmla="*/ 2147483647 h 60"/>
                <a:gd name="T10" fmla="*/ 2147483647 w 44"/>
                <a:gd name="T11" fmla="*/ 2147483647 h 60"/>
                <a:gd name="T12" fmla="*/ 2147483647 w 44"/>
                <a:gd name="T13" fmla="*/ 2147483647 h 60"/>
                <a:gd name="T14" fmla="*/ 2147483647 w 44"/>
                <a:gd name="T15" fmla="*/ 2147483647 h 60"/>
                <a:gd name="T16" fmla="*/ 2147483647 w 44"/>
                <a:gd name="T17" fmla="*/ 2147483647 h 60"/>
                <a:gd name="T18" fmla="*/ 2147483647 w 44"/>
                <a:gd name="T19" fmla="*/ 2147483647 h 60"/>
                <a:gd name="T20" fmla="*/ 2147483647 w 44"/>
                <a:gd name="T21" fmla="*/ 2147483647 h 60"/>
                <a:gd name="T22" fmla="*/ 2147483647 w 44"/>
                <a:gd name="T23" fmla="*/ 2147483647 h 60"/>
                <a:gd name="T24" fmla="*/ 2147483647 w 44"/>
                <a:gd name="T25" fmla="*/ 0 h 60"/>
                <a:gd name="T26" fmla="*/ 2147483647 w 44"/>
                <a:gd name="T27" fmla="*/ 2147483647 h 60"/>
                <a:gd name="T28" fmla="*/ 2147483647 w 44"/>
                <a:gd name="T29" fmla="*/ 2147483647 h 60"/>
                <a:gd name="T30" fmla="*/ 2147483647 w 44"/>
                <a:gd name="T31" fmla="*/ 2147483647 h 60"/>
                <a:gd name="T32" fmla="*/ 0 w 44"/>
                <a:gd name="T33" fmla="*/ 2147483647 h 60"/>
                <a:gd name="T34" fmla="*/ 2147483647 w 44"/>
                <a:gd name="T35" fmla="*/ 2147483647 h 60"/>
                <a:gd name="T36" fmla="*/ 2147483647 w 44"/>
                <a:gd name="T37" fmla="*/ 2147483647 h 60"/>
                <a:gd name="T38" fmla="*/ 2147483647 w 44"/>
                <a:gd name="T39" fmla="*/ 2147483647 h 60"/>
                <a:gd name="T40" fmla="*/ 2147483647 w 44"/>
                <a:gd name="T41" fmla="*/ 2147483647 h 60"/>
                <a:gd name="T42" fmla="*/ 2147483647 w 44"/>
                <a:gd name="T43" fmla="*/ 2147483647 h 60"/>
                <a:gd name="T44" fmla="*/ 2147483647 w 44"/>
                <a:gd name="T45" fmla="*/ 2147483647 h 6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4"/>
                <a:gd name="T70" fmla="*/ 0 h 60"/>
                <a:gd name="T71" fmla="*/ 44 w 44"/>
                <a:gd name="T72" fmla="*/ 60 h 6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4" h="60">
                  <a:moveTo>
                    <a:pt x="12" y="58"/>
                  </a:moveTo>
                  <a:lnTo>
                    <a:pt x="18" y="58"/>
                  </a:lnTo>
                  <a:lnTo>
                    <a:pt x="20" y="54"/>
                  </a:lnTo>
                  <a:lnTo>
                    <a:pt x="22" y="50"/>
                  </a:lnTo>
                  <a:lnTo>
                    <a:pt x="22" y="44"/>
                  </a:lnTo>
                  <a:lnTo>
                    <a:pt x="22" y="32"/>
                  </a:lnTo>
                  <a:lnTo>
                    <a:pt x="24" y="22"/>
                  </a:lnTo>
                  <a:lnTo>
                    <a:pt x="28" y="16"/>
                  </a:lnTo>
                  <a:lnTo>
                    <a:pt x="34" y="12"/>
                  </a:lnTo>
                  <a:lnTo>
                    <a:pt x="40" y="10"/>
                  </a:lnTo>
                  <a:lnTo>
                    <a:pt x="44" y="4"/>
                  </a:lnTo>
                  <a:lnTo>
                    <a:pt x="40" y="2"/>
                  </a:lnTo>
                  <a:lnTo>
                    <a:pt x="32" y="0"/>
                  </a:lnTo>
                  <a:lnTo>
                    <a:pt x="26" y="2"/>
                  </a:lnTo>
                  <a:lnTo>
                    <a:pt x="16" y="10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4" y="34"/>
                  </a:lnTo>
                  <a:lnTo>
                    <a:pt x="6" y="40"/>
                  </a:lnTo>
                  <a:lnTo>
                    <a:pt x="10" y="50"/>
                  </a:lnTo>
                  <a:lnTo>
                    <a:pt x="12" y="60"/>
                  </a:lnTo>
                  <a:lnTo>
                    <a:pt x="12" y="58"/>
                  </a:lnTo>
                  <a:close/>
                </a:path>
              </a:pathLst>
            </a:custGeom>
            <a:solidFill>
              <a:srgbClr val="BBE0E3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700"/>
            </a:p>
          </p:txBody>
        </p:sp>
        <p:sp>
          <p:nvSpPr>
            <p:cNvPr id="29" name="Rectangle 53"/>
            <p:cNvSpPr>
              <a:spLocks noChangeArrowheads="1"/>
            </p:cNvSpPr>
            <p:nvPr/>
          </p:nvSpPr>
          <p:spPr bwMode="gray">
            <a:xfrm>
              <a:off x="4238625" y="1600995"/>
              <a:ext cx="26352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 </a:t>
              </a:r>
              <a:endParaRPr kumimoji="1" lang="en-US" altLang="en-US" sz="700">
                <a:solidFill>
                  <a:schemeClr val="bg2"/>
                </a:solidFill>
                <a:cs typeface="Times New Roman" pitchFamily="18" charset="0"/>
              </a:endParaRPr>
            </a:p>
            <a:p>
              <a:pPr eaLnBrk="1" hangingPunct="1"/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30" name="Rectangle 54"/>
            <p:cNvSpPr>
              <a:spLocks noChangeArrowheads="1"/>
            </p:cNvSpPr>
            <p:nvPr/>
          </p:nvSpPr>
          <p:spPr bwMode="gray">
            <a:xfrm>
              <a:off x="4416425" y="3904457"/>
              <a:ext cx="68580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kumimoji="1" lang="en-US" altLang="en-US" sz="700" b="1"/>
                <a:t>DRC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31" name="Rectangle 55"/>
            <p:cNvSpPr>
              <a:spLocks noChangeArrowheads="1"/>
            </p:cNvSpPr>
            <p:nvPr/>
          </p:nvSpPr>
          <p:spPr bwMode="gray">
            <a:xfrm>
              <a:off x="4351338" y="2990057"/>
              <a:ext cx="71596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dirty="0">
                  <a:solidFill>
                    <a:srgbClr val="000000"/>
                  </a:solidFill>
                </a:rPr>
                <a:t>CENTRAL AFRICAN REP</a:t>
              </a:r>
              <a:endParaRPr kumimoji="1" lang="en-US" altLang="en-US" sz="700" dirty="0">
                <a:latin typeface="Times New Roman" pitchFamily="18" charset="0"/>
              </a:endParaRPr>
            </a:p>
          </p:txBody>
        </p:sp>
        <p:sp>
          <p:nvSpPr>
            <p:cNvPr id="32" name="Rectangle 56"/>
            <p:cNvSpPr>
              <a:spLocks noChangeArrowheads="1"/>
            </p:cNvSpPr>
            <p:nvPr/>
          </p:nvSpPr>
          <p:spPr bwMode="gray">
            <a:xfrm>
              <a:off x="4970463" y="3667920"/>
              <a:ext cx="39594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/>
                <a:t>RWANDA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33" name="Rectangle 57"/>
            <p:cNvSpPr>
              <a:spLocks noChangeArrowheads="1"/>
            </p:cNvSpPr>
            <p:nvPr/>
          </p:nvSpPr>
          <p:spPr bwMode="gray">
            <a:xfrm>
              <a:off x="3821113" y="3559970"/>
              <a:ext cx="33342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GABON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34" name="Rectangle 58"/>
            <p:cNvSpPr>
              <a:spLocks noChangeArrowheads="1"/>
            </p:cNvSpPr>
            <p:nvPr/>
          </p:nvSpPr>
          <p:spPr bwMode="gray">
            <a:xfrm>
              <a:off x="3048000" y="3382170"/>
              <a:ext cx="104140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dirty="0"/>
                <a:t>EQUATORIAL GUINEA</a:t>
              </a:r>
              <a:endParaRPr kumimoji="1" lang="en-US" altLang="en-US" sz="700" dirty="0">
                <a:latin typeface="Times New Roman" pitchFamily="18" charset="0"/>
              </a:endParaRPr>
            </a:p>
          </p:txBody>
        </p:sp>
        <p:sp>
          <p:nvSpPr>
            <p:cNvPr id="35" name="Rectangle 59"/>
            <p:cNvSpPr>
              <a:spLocks noChangeArrowheads="1"/>
            </p:cNvSpPr>
            <p:nvPr/>
          </p:nvSpPr>
          <p:spPr bwMode="gray">
            <a:xfrm>
              <a:off x="4024313" y="3707607"/>
              <a:ext cx="339837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/>
                <a:t>CONGO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36" name="Rectangle 60"/>
            <p:cNvSpPr>
              <a:spLocks noChangeArrowheads="1"/>
            </p:cNvSpPr>
            <p:nvPr/>
          </p:nvSpPr>
          <p:spPr bwMode="gray">
            <a:xfrm>
              <a:off x="3216275" y="2729707"/>
              <a:ext cx="35242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/>
                <a:t>BENIN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37" name="Rectangle 61"/>
            <p:cNvSpPr>
              <a:spLocks noChangeArrowheads="1"/>
            </p:cNvSpPr>
            <p:nvPr/>
          </p:nvSpPr>
          <p:spPr bwMode="gray">
            <a:xfrm>
              <a:off x="1679575" y="2859882"/>
              <a:ext cx="795338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SIERRA LEONE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38" name="Rectangle 62"/>
            <p:cNvSpPr>
              <a:spLocks noChangeArrowheads="1"/>
            </p:cNvSpPr>
            <p:nvPr/>
          </p:nvSpPr>
          <p:spPr bwMode="gray">
            <a:xfrm>
              <a:off x="1809750" y="2404270"/>
              <a:ext cx="611188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SENEGAL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39" name="Rectangle 63"/>
            <p:cNvSpPr>
              <a:spLocks noChangeArrowheads="1"/>
            </p:cNvSpPr>
            <p:nvPr/>
          </p:nvSpPr>
          <p:spPr bwMode="gray">
            <a:xfrm>
              <a:off x="2982913" y="3186907"/>
              <a:ext cx="48895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GHANA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40" name="Rectangle 64"/>
            <p:cNvSpPr>
              <a:spLocks noChangeArrowheads="1"/>
            </p:cNvSpPr>
            <p:nvPr/>
          </p:nvSpPr>
          <p:spPr bwMode="gray">
            <a:xfrm>
              <a:off x="1289050" y="2664620"/>
              <a:ext cx="79216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GUINEA BISSAU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41" name="Rectangle 65"/>
            <p:cNvSpPr>
              <a:spLocks noChangeArrowheads="1"/>
            </p:cNvSpPr>
            <p:nvPr/>
          </p:nvSpPr>
          <p:spPr bwMode="gray">
            <a:xfrm>
              <a:off x="2200275" y="3055145"/>
              <a:ext cx="455613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LIBERIA</a:t>
              </a:r>
              <a:endParaRPr kumimoji="1" lang="en-US" altLang="en-US" sz="700">
                <a:solidFill>
                  <a:schemeClr val="bg2"/>
                </a:solidFill>
                <a:cs typeface="Times New Roman" pitchFamily="18" charset="0"/>
              </a:endParaRPr>
            </a:p>
            <a:p>
              <a:pPr eaLnBrk="1" hangingPunct="1"/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42" name="Rectangle 66"/>
            <p:cNvSpPr>
              <a:spLocks noChangeArrowheads="1"/>
            </p:cNvSpPr>
            <p:nvPr/>
          </p:nvSpPr>
          <p:spPr bwMode="gray">
            <a:xfrm>
              <a:off x="3775075" y="3191670"/>
              <a:ext cx="532197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CAMEROON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43" name="Rectangle 70"/>
            <p:cNvSpPr>
              <a:spLocks noChangeArrowheads="1"/>
            </p:cNvSpPr>
            <p:nvPr/>
          </p:nvSpPr>
          <p:spPr bwMode="gray">
            <a:xfrm>
              <a:off x="5197475" y="3317082"/>
              <a:ext cx="39113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 dirty="0"/>
                <a:t>UGANDA</a:t>
              </a:r>
              <a:endParaRPr kumimoji="1" lang="en-US" altLang="en-US" sz="700" b="1" dirty="0">
                <a:latin typeface="Times New Roman" pitchFamily="18" charset="0"/>
              </a:endParaRPr>
            </a:p>
          </p:txBody>
        </p:sp>
        <p:sp>
          <p:nvSpPr>
            <p:cNvPr id="44" name="Rectangle 71"/>
            <p:cNvSpPr>
              <a:spLocks noChangeArrowheads="1"/>
            </p:cNvSpPr>
            <p:nvPr/>
          </p:nvSpPr>
          <p:spPr bwMode="gray">
            <a:xfrm>
              <a:off x="3121025" y="2859882"/>
              <a:ext cx="266098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/>
                <a:t>TOGO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45" name="Rectangle 72"/>
            <p:cNvSpPr>
              <a:spLocks noChangeArrowheads="1"/>
            </p:cNvSpPr>
            <p:nvPr/>
          </p:nvSpPr>
          <p:spPr bwMode="gray">
            <a:xfrm>
              <a:off x="2584924" y="2859882"/>
              <a:ext cx="39433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kumimoji="1" lang="en-US" altLang="en-US" sz="700" b="1"/>
                <a:t>COTE </a:t>
              </a:r>
            </a:p>
            <a:p>
              <a:pPr algn="ctr" eaLnBrk="1" hangingPunct="1"/>
              <a:r>
                <a:rPr kumimoji="1" lang="en-US" altLang="en-US" sz="700" b="1"/>
                <a:t>D’IVOIRE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46" name="Rectangle 73"/>
            <p:cNvSpPr>
              <a:spLocks noChangeArrowheads="1"/>
            </p:cNvSpPr>
            <p:nvPr/>
          </p:nvSpPr>
          <p:spPr bwMode="gray">
            <a:xfrm>
              <a:off x="2854325" y="2534445"/>
              <a:ext cx="42159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BURKINA </a:t>
              </a:r>
            </a:p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FASO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47" name="Rectangle 74"/>
            <p:cNvSpPr>
              <a:spLocks noChangeArrowheads="1"/>
            </p:cNvSpPr>
            <p:nvPr/>
          </p:nvSpPr>
          <p:spPr bwMode="gray">
            <a:xfrm>
              <a:off x="2070100" y="2729707"/>
              <a:ext cx="55143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GUINEA REP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48" name="Rectangle 75"/>
            <p:cNvSpPr>
              <a:spLocks noChangeArrowheads="1"/>
            </p:cNvSpPr>
            <p:nvPr/>
          </p:nvSpPr>
          <p:spPr bwMode="gray">
            <a:xfrm>
              <a:off x="1616075" y="2534445"/>
              <a:ext cx="34945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GAMBIA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49" name="Oval 76"/>
            <p:cNvSpPr>
              <a:spLocks noChangeArrowheads="1"/>
            </p:cNvSpPr>
            <p:nvPr/>
          </p:nvSpPr>
          <p:spPr bwMode="gray">
            <a:xfrm>
              <a:off x="6202363" y="4326732"/>
              <a:ext cx="39687" cy="3968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50" name="Oval 78"/>
            <p:cNvSpPr>
              <a:spLocks noChangeArrowheads="1"/>
            </p:cNvSpPr>
            <p:nvPr/>
          </p:nvSpPr>
          <p:spPr bwMode="gray">
            <a:xfrm>
              <a:off x="6696075" y="5010945"/>
              <a:ext cx="39688" cy="41275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51" name="Oval 79"/>
            <p:cNvSpPr>
              <a:spLocks noChangeArrowheads="1"/>
            </p:cNvSpPr>
            <p:nvPr/>
          </p:nvSpPr>
          <p:spPr bwMode="gray">
            <a:xfrm>
              <a:off x="6415088" y="4193382"/>
              <a:ext cx="39687" cy="3968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52" name="Oval 80"/>
            <p:cNvSpPr>
              <a:spLocks noChangeArrowheads="1"/>
            </p:cNvSpPr>
            <p:nvPr/>
          </p:nvSpPr>
          <p:spPr bwMode="gray">
            <a:xfrm>
              <a:off x="6243638" y="4425157"/>
              <a:ext cx="38100" cy="3968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53" name="Oval 81"/>
            <p:cNvSpPr>
              <a:spLocks noChangeArrowheads="1"/>
            </p:cNvSpPr>
            <p:nvPr/>
          </p:nvSpPr>
          <p:spPr bwMode="gray">
            <a:xfrm flipH="1" flipV="1">
              <a:off x="1557338" y="2374107"/>
              <a:ext cx="69850" cy="68263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rot="10800000"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54" name="Oval 82"/>
            <p:cNvSpPr>
              <a:spLocks noChangeArrowheads="1"/>
            </p:cNvSpPr>
            <p:nvPr/>
          </p:nvSpPr>
          <p:spPr bwMode="gray">
            <a:xfrm flipH="1" flipV="1">
              <a:off x="3328988" y="3534570"/>
              <a:ext cx="68262" cy="69850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rot="10800000"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55" name="Line 83"/>
            <p:cNvSpPr>
              <a:spLocks noChangeShapeType="1"/>
            </p:cNvSpPr>
            <p:nvPr/>
          </p:nvSpPr>
          <p:spPr bwMode="gray">
            <a:xfrm flipV="1">
              <a:off x="6423025" y="2651920"/>
              <a:ext cx="207963" cy="27781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700"/>
            </a:p>
          </p:txBody>
        </p:sp>
        <p:sp>
          <p:nvSpPr>
            <p:cNvPr id="56" name="Rectangle 84"/>
            <p:cNvSpPr>
              <a:spLocks noChangeArrowheads="1"/>
            </p:cNvSpPr>
            <p:nvPr/>
          </p:nvSpPr>
          <p:spPr bwMode="gray">
            <a:xfrm>
              <a:off x="896938" y="2339182"/>
              <a:ext cx="74295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CAPE VERDE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57" name="Rectangle 85"/>
            <p:cNvSpPr>
              <a:spLocks noChangeArrowheads="1"/>
            </p:cNvSpPr>
            <p:nvPr/>
          </p:nvSpPr>
          <p:spPr bwMode="gray">
            <a:xfrm>
              <a:off x="2917825" y="3577432"/>
              <a:ext cx="52070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SAO TOME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58" name="Rectangle 86"/>
            <p:cNvSpPr>
              <a:spLocks noChangeArrowheads="1"/>
            </p:cNvSpPr>
            <p:nvPr/>
          </p:nvSpPr>
          <p:spPr bwMode="gray">
            <a:xfrm>
              <a:off x="2868613" y="2221707"/>
              <a:ext cx="52546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>
                  <a:solidFill>
                    <a:srgbClr val="000000"/>
                  </a:solidFill>
                </a:rPr>
                <a:t>MALI 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59" name="Rectangle 87"/>
            <p:cNvSpPr>
              <a:spLocks noChangeArrowheads="1"/>
            </p:cNvSpPr>
            <p:nvPr/>
          </p:nvSpPr>
          <p:spPr bwMode="gray">
            <a:xfrm>
              <a:off x="3698875" y="2274095"/>
              <a:ext cx="52546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NIGER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60" name="Rectangle 88"/>
            <p:cNvSpPr>
              <a:spLocks noChangeArrowheads="1"/>
            </p:cNvSpPr>
            <p:nvPr/>
          </p:nvSpPr>
          <p:spPr bwMode="gray">
            <a:xfrm>
              <a:off x="3438525" y="2859882"/>
              <a:ext cx="52546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NIGERIA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61" name="Rectangle 89"/>
            <p:cNvSpPr>
              <a:spLocks noChangeArrowheads="1"/>
            </p:cNvSpPr>
            <p:nvPr/>
          </p:nvSpPr>
          <p:spPr bwMode="gray">
            <a:xfrm>
              <a:off x="4248150" y="2485232"/>
              <a:ext cx="41751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CHAD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62" name="Rectangle 90"/>
            <p:cNvSpPr>
              <a:spLocks noChangeArrowheads="1"/>
            </p:cNvSpPr>
            <p:nvPr/>
          </p:nvSpPr>
          <p:spPr bwMode="gray">
            <a:xfrm>
              <a:off x="5037138" y="3799682"/>
              <a:ext cx="40556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/>
                <a:t>BURUNDI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63" name="Rectangle 91"/>
            <p:cNvSpPr>
              <a:spLocks noChangeArrowheads="1"/>
            </p:cNvSpPr>
            <p:nvPr/>
          </p:nvSpPr>
          <p:spPr bwMode="gray">
            <a:xfrm>
              <a:off x="5299075" y="3904457"/>
              <a:ext cx="61595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TANZANIA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64" name="Rectangle 92"/>
            <p:cNvSpPr>
              <a:spLocks noChangeArrowheads="1"/>
            </p:cNvSpPr>
            <p:nvPr/>
          </p:nvSpPr>
          <p:spPr bwMode="gray">
            <a:xfrm>
              <a:off x="5654675" y="3447257"/>
              <a:ext cx="522288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KENYA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65" name="Rectangle 93"/>
            <p:cNvSpPr>
              <a:spLocks noChangeArrowheads="1"/>
            </p:cNvSpPr>
            <p:nvPr/>
          </p:nvSpPr>
          <p:spPr bwMode="gray">
            <a:xfrm>
              <a:off x="4156075" y="4360070"/>
              <a:ext cx="57467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>
                  <a:solidFill>
                    <a:srgbClr val="000000"/>
                  </a:solidFill>
                </a:rPr>
                <a:t>ANGOLA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66" name="Rectangle 94"/>
            <p:cNvSpPr>
              <a:spLocks noChangeArrowheads="1"/>
            </p:cNvSpPr>
            <p:nvPr/>
          </p:nvSpPr>
          <p:spPr bwMode="gray">
            <a:xfrm>
              <a:off x="4156075" y="5010945"/>
              <a:ext cx="41592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/>
                <a:t>NAMIBIA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67" name="Rectangle 95"/>
            <p:cNvSpPr>
              <a:spLocks noChangeArrowheads="1"/>
            </p:cNvSpPr>
            <p:nvPr/>
          </p:nvSpPr>
          <p:spPr bwMode="gray">
            <a:xfrm>
              <a:off x="4089400" y="5663407"/>
              <a:ext cx="94615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SOUTH AFRICA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68" name="Rectangle 96"/>
            <p:cNvSpPr>
              <a:spLocks noChangeArrowheads="1"/>
            </p:cNvSpPr>
            <p:nvPr/>
          </p:nvSpPr>
          <p:spPr bwMode="gray">
            <a:xfrm>
              <a:off x="5915025" y="4815682"/>
              <a:ext cx="91122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 dirty="0"/>
                <a:t>MADAGASCAR</a:t>
              </a:r>
              <a:endParaRPr kumimoji="1" lang="en-US" altLang="en-US" sz="700" b="1" dirty="0">
                <a:latin typeface="Times New Roman" pitchFamily="18" charset="0"/>
              </a:endParaRPr>
            </a:p>
          </p:txBody>
        </p:sp>
        <p:sp>
          <p:nvSpPr>
            <p:cNvPr id="69" name="Rectangle 97"/>
            <p:cNvSpPr>
              <a:spLocks noChangeArrowheads="1"/>
            </p:cNvSpPr>
            <p:nvPr/>
          </p:nvSpPr>
          <p:spPr bwMode="gray">
            <a:xfrm>
              <a:off x="4676775" y="4555332"/>
              <a:ext cx="48101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>
                  <a:solidFill>
                    <a:srgbClr val="000000"/>
                  </a:solidFill>
                </a:rPr>
                <a:t>ZAMBIA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70" name="Rectangle 98"/>
            <p:cNvSpPr>
              <a:spLocks noChangeArrowheads="1"/>
            </p:cNvSpPr>
            <p:nvPr/>
          </p:nvSpPr>
          <p:spPr bwMode="gray">
            <a:xfrm>
              <a:off x="5589588" y="4490245"/>
              <a:ext cx="41751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MALAWI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71" name="Rectangle 99"/>
            <p:cNvSpPr>
              <a:spLocks noChangeArrowheads="1"/>
            </p:cNvSpPr>
            <p:nvPr/>
          </p:nvSpPr>
          <p:spPr bwMode="gray">
            <a:xfrm>
              <a:off x="4806950" y="5533232"/>
              <a:ext cx="55562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LESOTHO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72" name="Rectangle 100"/>
            <p:cNvSpPr>
              <a:spLocks noChangeArrowheads="1"/>
            </p:cNvSpPr>
            <p:nvPr/>
          </p:nvSpPr>
          <p:spPr bwMode="gray">
            <a:xfrm>
              <a:off x="4546600" y="5076032"/>
              <a:ext cx="585788" cy="107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BOTSWANA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73" name="Rectangle 101"/>
            <p:cNvSpPr>
              <a:spLocks noChangeArrowheads="1"/>
            </p:cNvSpPr>
            <p:nvPr/>
          </p:nvSpPr>
          <p:spPr bwMode="gray">
            <a:xfrm>
              <a:off x="4937125" y="4880770"/>
              <a:ext cx="65246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 dirty="0">
                  <a:solidFill>
                    <a:srgbClr val="000000"/>
                  </a:solidFill>
                </a:rPr>
                <a:t>ZIMBABWE</a:t>
              </a:r>
              <a:endParaRPr kumimoji="1" lang="en-US" altLang="en-US" sz="700" b="1" dirty="0">
                <a:latin typeface="Times New Roman" pitchFamily="18" charset="0"/>
              </a:endParaRPr>
            </a:p>
          </p:txBody>
        </p:sp>
        <p:sp>
          <p:nvSpPr>
            <p:cNvPr id="74" name="Rectangle 102"/>
            <p:cNvSpPr>
              <a:spLocks noChangeArrowheads="1"/>
            </p:cNvSpPr>
            <p:nvPr/>
          </p:nvSpPr>
          <p:spPr bwMode="gray">
            <a:xfrm>
              <a:off x="5430838" y="4685507"/>
              <a:ext cx="80962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>
                  <a:solidFill>
                    <a:srgbClr val="000000"/>
                  </a:solidFill>
                </a:rPr>
                <a:t>MOZAMBIQUE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75" name="Rectangle 103"/>
            <p:cNvSpPr>
              <a:spLocks noChangeArrowheads="1"/>
            </p:cNvSpPr>
            <p:nvPr/>
          </p:nvSpPr>
          <p:spPr bwMode="gray">
            <a:xfrm>
              <a:off x="4806950" y="5337970"/>
              <a:ext cx="64770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SWAZILAND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76" name="Rectangle 104"/>
            <p:cNvSpPr>
              <a:spLocks noChangeArrowheads="1"/>
            </p:cNvSpPr>
            <p:nvPr/>
          </p:nvSpPr>
          <p:spPr bwMode="gray">
            <a:xfrm>
              <a:off x="5132388" y="2404270"/>
              <a:ext cx="417512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SUDAN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77" name="Rectangle 105"/>
            <p:cNvSpPr>
              <a:spLocks noChangeArrowheads="1"/>
            </p:cNvSpPr>
            <p:nvPr/>
          </p:nvSpPr>
          <p:spPr bwMode="gray">
            <a:xfrm>
              <a:off x="5759450" y="2353470"/>
              <a:ext cx="41751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ERITREA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78" name="Rectangle 106"/>
            <p:cNvSpPr>
              <a:spLocks noChangeArrowheads="1"/>
            </p:cNvSpPr>
            <p:nvPr/>
          </p:nvSpPr>
          <p:spPr bwMode="gray">
            <a:xfrm>
              <a:off x="6045200" y="2664620"/>
              <a:ext cx="54451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DJIBOUTI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79" name="Rectangle 107"/>
            <p:cNvSpPr>
              <a:spLocks noChangeArrowheads="1"/>
            </p:cNvSpPr>
            <p:nvPr/>
          </p:nvSpPr>
          <p:spPr bwMode="gray">
            <a:xfrm>
              <a:off x="5589588" y="2859882"/>
              <a:ext cx="58737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ETHIOPIA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80" name="Rectangle 108"/>
            <p:cNvSpPr>
              <a:spLocks noChangeArrowheads="1"/>
            </p:cNvSpPr>
            <p:nvPr/>
          </p:nvSpPr>
          <p:spPr bwMode="gray">
            <a:xfrm>
              <a:off x="6153150" y="2794795"/>
              <a:ext cx="608013" cy="107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SOMALILAND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81" name="Rectangle 109"/>
            <p:cNvSpPr>
              <a:spLocks noChangeArrowheads="1"/>
            </p:cNvSpPr>
            <p:nvPr/>
          </p:nvSpPr>
          <p:spPr bwMode="gray">
            <a:xfrm>
              <a:off x="6153150" y="3207545"/>
              <a:ext cx="41751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SOMALIA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82" name="Rectangle 110"/>
            <p:cNvSpPr>
              <a:spLocks noChangeArrowheads="1"/>
            </p:cNvSpPr>
            <p:nvPr/>
          </p:nvSpPr>
          <p:spPr bwMode="gray">
            <a:xfrm>
              <a:off x="6481763" y="4164807"/>
              <a:ext cx="73660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SEYCHELLES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83" name="Rectangle 111"/>
            <p:cNvSpPr>
              <a:spLocks noChangeArrowheads="1"/>
            </p:cNvSpPr>
            <p:nvPr/>
          </p:nvSpPr>
          <p:spPr bwMode="gray">
            <a:xfrm>
              <a:off x="6283325" y="4296570"/>
              <a:ext cx="60801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COMOROS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84" name="Rectangle 112"/>
            <p:cNvSpPr>
              <a:spLocks noChangeArrowheads="1"/>
            </p:cNvSpPr>
            <p:nvPr/>
          </p:nvSpPr>
          <p:spPr bwMode="gray">
            <a:xfrm>
              <a:off x="6991350" y="4945857"/>
              <a:ext cx="682625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/>
                <a:t>MAURITIUS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85" name="Rectangle 113"/>
            <p:cNvSpPr>
              <a:spLocks noChangeArrowheads="1"/>
            </p:cNvSpPr>
            <p:nvPr/>
          </p:nvSpPr>
          <p:spPr bwMode="gray">
            <a:xfrm>
              <a:off x="6500813" y="5076032"/>
              <a:ext cx="647700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00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 b="1">
                  <a:solidFill>
                    <a:srgbClr val="000000"/>
                  </a:solidFill>
                </a:rPr>
                <a:t>REUNION</a:t>
              </a:r>
              <a:endParaRPr kumimoji="1" lang="en-US" altLang="en-US" sz="700" b="1">
                <a:latin typeface="Times New Roman" pitchFamily="18" charset="0"/>
              </a:endParaRPr>
            </a:p>
          </p:txBody>
        </p:sp>
        <p:sp>
          <p:nvSpPr>
            <p:cNvPr id="86" name="Rectangle 114"/>
            <p:cNvSpPr>
              <a:spLocks noChangeArrowheads="1"/>
            </p:cNvSpPr>
            <p:nvPr/>
          </p:nvSpPr>
          <p:spPr bwMode="gray">
            <a:xfrm>
              <a:off x="6045200" y="4490245"/>
              <a:ext cx="519113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kumimoji="1" lang="en-US" altLang="en-US" sz="700">
                  <a:solidFill>
                    <a:srgbClr val="000000"/>
                  </a:solidFill>
                </a:rPr>
                <a:t>MAYOTTE</a:t>
              </a:r>
              <a:endParaRPr kumimoji="1" lang="en-US" altLang="en-US" sz="700">
                <a:latin typeface="Times New Roman" pitchFamily="18" charset="0"/>
              </a:endParaRPr>
            </a:p>
          </p:txBody>
        </p:sp>
        <p:sp>
          <p:nvSpPr>
            <p:cNvPr id="87" name="Oval 163"/>
            <p:cNvSpPr>
              <a:spLocks noChangeArrowheads="1"/>
            </p:cNvSpPr>
            <p:nvPr/>
          </p:nvSpPr>
          <p:spPr bwMode="gray">
            <a:xfrm>
              <a:off x="2670175" y="3134520"/>
              <a:ext cx="65088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88" name="Oval 163"/>
            <p:cNvSpPr>
              <a:spLocks noChangeArrowheads="1"/>
            </p:cNvSpPr>
            <p:nvPr/>
          </p:nvSpPr>
          <p:spPr bwMode="gray">
            <a:xfrm>
              <a:off x="2947988" y="3064670"/>
              <a:ext cx="65087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89" name="Oval 163"/>
            <p:cNvSpPr>
              <a:spLocks noChangeArrowheads="1"/>
            </p:cNvSpPr>
            <p:nvPr/>
          </p:nvSpPr>
          <p:spPr bwMode="gray">
            <a:xfrm>
              <a:off x="3503613" y="3134520"/>
              <a:ext cx="65087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0" name="Oval 163"/>
            <p:cNvSpPr>
              <a:spLocks noChangeArrowheads="1"/>
            </p:cNvSpPr>
            <p:nvPr/>
          </p:nvSpPr>
          <p:spPr bwMode="gray">
            <a:xfrm>
              <a:off x="3851275" y="3272632"/>
              <a:ext cx="65088" cy="6508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1" name="Oval 163"/>
            <p:cNvSpPr>
              <a:spLocks noChangeArrowheads="1"/>
            </p:cNvSpPr>
            <p:nvPr/>
          </p:nvSpPr>
          <p:spPr bwMode="gray">
            <a:xfrm>
              <a:off x="3851275" y="3690145"/>
              <a:ext cx="65088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2" name="Oval 163"/>
            <p:cNvSpPr>
              <a:spLocks noChangeArrowheads="1"/>
            </p:cNvSpPr>
            <p:nvPr/>
          </p:nvSpPr>
          <p:spPr bwMode="gray">
            <a:xfrm>
              <a:off x="4268788" y="3899695"/>
              <a:ext cx="65087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3" name="Oval 163"/>
            <p:cNvSpPr>
              <a:spLocks noChangeArrowheads="1"/>
            </p:cNvSpPr>
            <p:nvPr/>
          </p:nvSpPr>
          <p:spPr bwMode="gray">
            <a:xfrm>
              <a:off x="5727700" y="3620295"/>
              <a:ext cx="65088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4" name="Oval 163"/>
            <p:cNvSpPr>
              <a:spLocks noChangeArrowheads="1"/>
            </p:cNvSpPr>
            <p:nvPr/>
          </p:nvSpPr>
          <p:spPr bwMode="gray">
            <a:xfrm>
              <a:off x="4198938" y="5290345"/>
              <a:ext cx="65087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5" name="Oval 163"/>
            <p:cNvSpPr>
              <a:spLocks noChangeArrowheads="1"/>
            </p:cNvSpPr>
            <p:nvPr/>
          </p:nvSpPr>
          <p:spPr bwMode="gray">
            <a:xfrm>
              <a:off x="2112963" y="2369345"/>
              <a:ext cx="65087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6" name="Oval 163"/>
            <p:cNvSpPr>
              <a:spLocks noChangeArrowheads="1"/>
            </p:cNvSpPr>
            <p:nvPr/>
          </p:nvSpPr>
          <p:spPr bwMode="gray">
            <a:xfrm>
              <a:off x="4059238" y="4455320"/>
              <a:ext cx="65087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7" name="Oval 163"/>
            <p:cNvSpPr>
              <a:spLocks noChangeArrowheads="1"/>
            </p:cNvSpPr>
            <p:nvPr/>
          </p:nvSpPr>
          <p:spPr bwMode="gray">
            <a:xfrm>
              <a:off x="6891338" y="4880770"/>
              <a:ext cx="66675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8" name="Oval 163"/>
            <p:cNvSpPr>
              <a:spLocks noChangeArrowheads="1"/>
            </p:cNvSpPr>
            <p:nvPr/>
          </p:nvSpPr>
          <p:spPr bwMode="gray">
            <a:xfrm>
              <a:off x="4894263" y="5706270"/>
              <a:ext cx="65087" cy="66675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99" name="Oval 163"/>
            <p:cNvSpPr>
              <a:spLocks noChangeArrowheads="1"/>
            </p:cNvSpPr>
            <p:nvPr/>
          </p:nvSpPr>
          <p:spPr bwMode="gray">
            <a:xfrm>
              <a:off x="4964113" y="4663282"/>
              <a:ext cx="65087" cy="6508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100" name="Oval 163"/>
            <p:cNvSpPr>
              <a:spLocks noChangeArrowheads="1"/>
            </p:cNvSpPr>
            <p:nvPr/>
          </p:nvSpPr>
          <p:spPr bwMode="gray">
            <a:xfrm>
              <a:off x="5380038" y="5220495"/>
              <a:ext cx="65087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101" name="Oval 163"/>
            <p:cNvSpPr>
              <a:spLocks noChangeArrowheads="1"/>
            </p:cNvSpPr>
            <p:nvPr/>
          </p:nvSpPr>
          <p:spPr bwMode="gray">
            <a:xfrm>
              <a:off x="5657850" y="4037807"/>
              <a:ext cx="65088" cy="6508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102" name="Oval 163"/>
            <p:cNvSpPr>
              <a:spLocks noChangeArrowheads="1"/>
            </p:cNvSpPr>
            <p:nvPr/>
          </p:nvSpPr>
          <p:spPr bwMode="gray">
            <a:xfrm>
              <a:off x="6283325" y="4942682"/>
              <a:ext cx="65088" cy="6508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103" name="Text Box 2678"/>
            <p:cNvSpPr txBox="1">
              <a:spLocks noChangeArrowheads="1"/>
            </p:cNvSpPr>
            <p:nvPr/>
          </p:nvSpPr>
          <p:spPr bwMode="gray">
            <a:xfrm>
              <a:off x="1349375" y="1743870"/>
              <a:ext cx="730250" cy="20005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DKR GTW</a:t>
              </a:r>
            </a:p>
          </p:txBody>
        </p:sp>
        <p:sp>
          <p:nvSpPr>
            <p:cNvPr id="104" name="Text Box 2678"/>
            <p:cNvSpPr txBox="1">
              <a:spLocks noChangeArrowheads="1"/>
            </p:cNvSpPr>
            <p:nvPr/>
          </p:nvSpPr>
          <p:spPr bwMode="gray">
            <a:xfrm>
              <a:off x="1289050" y="3251995"/>
              <a:ext cx="583814" cy="20005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ABJ GTW</a:t>
              </a:r>
            </a:p>
          </p:txBody>
        </p:sp>
        <p:sp>
          <p:nvSpPr>
            <p:cNvPr id="105" name="Text Box 2678"/>
            <p:cNvSpPr txBox="1">
              <a:spLocks noChangeArrowheads="1"/>
            </p:cNvSpPr>
            <p:nvPr/>
          </p:nvSpPr>
          <p:spPr bwMode="gray">
            <a:xfrm>
              <a:off x="2459038" y="3967957"/>
              <a:ext cx="588623" cy="20005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LBV GTW</a:t>
              </a:r>
            </a:p>
          </p:txBody>
        </p:sp>
        <p:sp>
          <p:nvSpPr>
            <p:cNvPr id="106" name="Text Box 2678"/>
            <p:cNvSpPr txBox="1">
              <a:spLocks noChangeArrowheads="1"/>
            </p:cNvSpPr>
            <p:nvPr/>
          </p:nvSpPr>
          <p:spPr bwMode="gray">
            <a:xfrm>
              <a:off x="3433763" y="1256507"/>
              <a:ext cx="717550" cy="415498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 dirty="0"/>
                <a:t>LOS HUB</a:t>
              </a:r>
            </a:p>
            <a:p>
              <a:pPr eaLnBrk="1" hangingPunct="1"/>
              <a:r>
                <a:rPr lang="en-US" altLang="en-US" sz="700" dirty="0"/>
                <a:t>LOS GTW</a:t>
              </a:r>
            </a:p>
            <a:p>
              <a:pPr eaLnBrk="1" hangingPunct="1"/>
              <a:r>
                <a:rPr lang="en-US" altLang="en-US" sz="700" dirty="0"/>
                <a:t>LOS ELC</a:t>
              </a:r>
            </a:p>
          </p:txBody>
        </p:sp>
        <p:sp>
          <p:nvSpPr>
            <p:cNvPr id="107" name="Text Box 2678"/>
            <p:cNvSpPr txBox="1">
              <a:spLocks noChangeArrowheads="1"/>
            </p:cNvSpPr>
            <p:nvPr/>
          </p:nvSpPr>
          <p:spPr bwMode="gray">
            <a:xfrm>
              <a:off x="2590800" y="3707607"/>
              <a:ext cx="593432" cy="20005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DLA GTW</a:t>
              </a:r>
            </a:p>
          </p:txBody>
        </p:sp>
        <p:sp>
          <p:nvSpPr>
            <p:cNvPr id="108" name="Text Box 2678"/>
            <p:cNvSpPr txBox="1">
              <a:spLocks noChangeArrowheads="1"/>
            </p:cNvSpPr>
            <p:nvPr/>
          </p:nvSpPr>
          <p:spPr bwMode="gray">
            <a:xfrm>
              <a:off x="2135188" y="3382170"/>
              <a:ext cx="607859" cy="20005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ACC GTW</a:t>
              </a:r>
            </a:p>
          </p:txBody>
        </p:sp>
        <p:sp>
          <p:nvSpPr>
            <p:cNvPr id="109" name="Text Box 2678"/>
            <p:cNvSpPr txBox="1">
              <a:spLocks noChangeArrowheads="1"/>
            </p:cNvSpPr>
            <p:nvPr/>
          </p:nvSpPr>
          <p:spPr bwMode="gray">
            <a:xfrm>
              <a:off x="2854325" y="4229895"/>
              <a:ext cx="564578" cy="20005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FIH GTW</a:t>
              </a:r>
            </a:p>
          </p:txBody>
        </p:sp>
        <p:sp>
          <p:nvSpPr>
            <p:cNvPr id="110" name="Text Box 2678"/>
            <p:cNvSpPr txBox="1">
              <a:spLocks noChangeArrowheads="1"/>
            </p:cNvSpPr>
            <p:nvPr/>
          </p:nvSpPr>
          <p:spPr bwMode="gray">
            <a:xfrm>
              <a:off x="7396163" y="3134520"/>
              <a:ext cx="813043" cy="307777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NBO GTW</a:t>
              </a:r>
            </a:p>
            <a:p>
              <a:pPr eaLnBrk="1" hangingPunct="1"/>
              <a:r>
                <a:rPr lang="en-US" altLang="en-US" sz="700">
                  <a:solidFill>
                    <a:srgbClr val="FF0000"/>
                  </a:solidFill>
                </a:rPr>
                <a:t>KE C0 &amp; GOPS</a:t>
              </a:r>
            </a:p>
          </p:txBody>
        </p:sp>
        <p:sp>
          <p:nvSpPr>
            <p:cNvPr id="111" name="Text Box 2678"/>
            <p:cNvSpPr txBox="1">
              <a:spLocks noChangeArrowheads="1"/>
            </p:cNvSpPr>
            <p:nvPr/>
          </p:nvSpPr>
          <p:spPr bwMode="gray">
            <a:xfrm>
              <a:off x="7345363" y="4555332"/>
              <a:ext cx="623889" cy="20005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MRU GTW</a:t>
              </a:r>
            </a:p>
          </p:txBody>
        </p:sp>
        <p:sp>
          <p:nvSpPr>
            <p:cNvPr id="112" name="Text Box 2678"/>
            <p:cNvSpPr txBox="1">
              <a:spLocks noChangeArrowheads="1"/>
            </p:cNvSpPr>
            <p:nvPr/>
          </p:nvSpPr>
          <p:spPr bwMode="gray">
            <a:xfrm>
              <a:off x="3017838" y="5033170"/>
              <a:ext cx="633507" cy="20005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WDH GTW</a:t>
              </a:r>
            </a:p>
          </p:txBody>
        </p:sp>
        <p:sp>
          <p:nvSpPr>
            <p:cNvPr id="113" name="Text Box 2678"/>
            <p:cNvSpPr txBox="1">
              <a:spLocks noChangeArrowheads="1"/>
            </p:cNvSpPr>
            <p:nvPr/>
          </p:nvSpPr>
          <p:spPr bwMode="gray">
            <a:xfrm>
              <a:off x="3243263" y="5403057"/>
              <a:ext cx="598241" cy="846386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JNB HUB</a:t>
              </a:r>
            </a:p>
            <a:p>
              <a:pPr eaLnBrk="1" hangingPunct="1"/>
              <a:r>
                <a:rPr lang="en-US" altLang="en-US" sz="700"/>
                <a:t>CPT GTW</a:t>
              </a:r>
            </a:p>
            <a:p>
              <a:pPr eaLnBrk="1" hangingPunct="1"/>
              <a:r>
                <a:rPr lang="en-US" altLang="en-US" sz="700"/>
                <a:t>PRY SVC</a:t>
              </a:r>
            </a:p>
            <a:p>
              <a:pPr eaLnBrk="1" hangingPunct="1"/>
              <a:r>
                <a:rPr lang="en-US" altLang="en-US" sz="700"/>
                <a:t>SDN SVC</a:t>
              </a:r>
            </a:p>
            <a:p>
              <a:pPr eaLnBrk="1" hangingPunct="1"/>
              <a:r>
                <a:rPr lang="en-US" altLang="en-US" sz="700"/>
                <a:t>ISN SVC</a:t>
              </a:r>
            </a:p>
            <a:p>
              <a:pPr eaLnBrk="1" hangingPunct="1"/>
              <a:r>
                <a:rPr lang="en-US" altLang="en-US" sz="700"/>
                <a:t>MDR SVC</a:t>
              </a:r>
            </a:p>
            <a:p>
              <a:pPr eaLnBrk="1" hangingPunct="1"/>
              <a:r>
                <a:rPr lang="en-US" altLang="en-US" sz="700"/>
                <a:t>DUR SVC</a:t>
              </a:r>
            </a:p>
          </p:txBody>
        </p:sp>
        <p:sp>
          <p:nvSpPr>
            <p:cNvPr id="114" name="Text Box 2678"/>
            <p:cNvSpPr txBox="1">
              <a:spLocks noChangeArrowheads="1"/>
            </p:cNvSpPr>
            <p:nvPr/>
          </p:nvSpPr>
          <p:spPr bwMode="gray">
            <a:xfrm>
              <a:off x="7326313" y="3552032"/>
              <a:ext cx="607859" cy="200055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DAR GTW</a:t>
              </a:r>
            </a:p>
          </p:txBody>
        </p:sp>
        <p:sp>
          <p:nvSpPr>
            <p:cNvPr id="115" name="Text Box 2678"/>
            <p:cNvSpPr txBox="1">
              <a:spLocks noChangeArrowheads="1"/>
            </p:cNvSpPr>
            <p:nvPr/>
          </p:nvSpPr>
          <p:spPr bwMode="gray">
            <a:xfrm>
              <a:off x="7345363" y="5401470"/>
              <a:ext cx="603050" cy="200055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TNR GTW</a:t>
              </a:r>
            </a:p>
          </p:txBody>
        </p:sp>
        <p:sp>
          <p:nvSpPr>
            <p:cNvPr id="116" name="Text Box 2678"/>
            <p:cNvSpPr txBox="1">
              <a:spLocks noChangeArrowheads="1"/>
            </p:cNvSpPr>
            <p:nvPr/>
          </p:nvSpPr>
          <p:spPr bwMode="gray">
            <a:xfrm>
              <a:off x="5915025" y="5468145"/>
              <a:ext cx="598241" cy="200055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LUN GTW</a:t>
              </a:r>
            </a:p>
          </p:txBody>
        </p:sp>
        <p:sp>
          <p:nvSpPr>
            <p:cNvPr id="117" name="Text Box 2678"/>
            <p:cNvSpPr txBox="1">
              <a:spLocks noChangeArrowheads="1"/>
            </p:cNvSpPr>
            <p:nvPr/>
          </p:nvSpPr>
          <p:spPr bwMode="gray">
            <a:xfrm>
              <a:off x="7270750" y="2286795"/>
              <a:ext cx="902811" cy="200055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 dirty="0"/>
                <a:t>ADD CO &amp; GOPS</a:t>
              </a:r>
            </a:p>
          </p:txBody>
        </p:sp>
        <p:sp>
          <p:nvSpPr>
            <p:cNvPr id="118" name="Oval 163"/>
            <p:cNvSpPr>
              <a:spLocks noChangeArrowheads="1"/>
            </p:cNvSpPr>
            <p:nvPr/>
          </p:nvSpPr>
          <p:spPr bwMode="gray">
            <a:xfrm>
              <a:off x="5824538" y="2812257"/>
              <a:ext cx="65087" cy="65088"/>
            </a:xfrm>
            <a:prstGeom prst="ellipse">
              <a:avLst/>
            </a:prstGeom>
            <a:solidFill>
              <a:srgbClr val="0033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119" name="Oval 163"/>
            <p:cNvSpPr>
              <a:spLocks noChangeArrowheads="1"/>
            </p:cNvSpPr>
            <p:nvPr/>
          </p:nvSpPr>
          <p:spPr bwMode="gray">
            <a:xfrm>
              <a:off x="3986213" y="3799682"/>
              <a:ext cx="65087" cy="6508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120" name="Text Box 2678"/>
            <p:cNvSpPr txBox="1">
              <a:spLocks noChangeArrowheads="1"/>
            </p:cNvSpPr>
            <p:nvPr/>
          </p:nvSpPr>
          <p:spPr bwMode="gray">
            <a:xfrm>
              <a:off x="5589588" y="5923757"/>
              <a:ext cx="925253" cy="307777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MPM GTW</a:t>
              </a:r>
            </a:p>
            <a:p>
              <a:pPr eaLnBrk="1" hangingPunct="1"/>
              <a:r>
                <a:rPr lang="en-US" altLang="en-US" sz="700"/>
                <a:t>MPM CO &amp; GOPS</a:t>
              </a:r>
            </a:p>
          </p:txBody>
        </p:sp>
        <p:sp>
          <p:nvSpPr>
            <p:cNvPr id="121" name="Text Box 2678"/>
            <p:cNvSpPr txBox="1">
              <a:spLocks noChangeArrowheads="1"/>
            </p:cNvSpPr>
            <p:nvPr/>
          </p:nvSpPr>
          <p:spPr bwMode="gray">
            <a:xfrm>
              <a:off x="2395538" y="4490245"/>
              <a:ext cx="1141412" cy="200055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LAD CO &amp; GOPS</a:t>
              </a:r>
            </a:p>
          </p:txBody>
        </p:sp>
        <p:sp>
          <p:nvSpPr>
            <p:cNvPr id="122" name="Text Box 2678"/>
            <p:cNvSpPr txBox="1">
              <a:spLocks noChangeArrowheads="1"/>
            </p:cNvSpPr>
            <p:nvPr/>
          </p:nvSpPr>
          <p:spPr bwMode="gray">
            <a:xfrm>
              <a:off x="2070100" y="1426370"/>
              <a:ext cx="784225" cy="200055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BKO GTW</a:t>
              </a:r>
            </a:p>
          </p:txBody>
        </p:sp>
        <p:sp>
          <p:nvSpPr>
            <p:cNvPr id="123" name="Oval 163"/>
            <p:cNvSpPr>
              <a:spLocks noChangeArrowheads="1"/>
            </p:cNvSpPr>
            <p:nvPr/>
          </p:nvSpPr>
          <p:spPr bwMode="gray">
            <a:xfrm>
              <a:off x="2887663" y="2359820"/>
              <a:ext cx="65087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124" name="Text Box 2678"/>
            <p:cNvSpPr txBox="1">
              <a:spLocks noChangeArrowheads="1"/>
            </p:cNvSpPr>
            <p:nvPr/>
          </p:nvSpPr>
          <p:spPr bwMode="gray">
            <a:xfrm>
              <a:off x="7348538" y="5076032"/>
              <a:ext cx="857927" cy="200055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RUN CO &amp; GTW</a:t>
              </a:r>
            </a:p>
          </p:txBody>
        </p:sp>
        <p:sp>
          <p:nvSpPr>
            <p:cNvPr id="125" name="Text Box 2678"/>
            <p:cNvSpPr txBox="1">
              <a:spLocks noChangeArrowheads="1"/>
            </p:cNvSpPr>
            <p:nvPr/>
          </p:nvSpPr>
          <p:spPr bwMode="gray">
            <a:xfrm>
              <a:off x="2462213" y="4750595"/>
              <a:ext cx="904415" cy="200055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GBE CO &amp; GOPS</a:t>
              </a:r>
            </a:p>
          </p:txBody>
        </p:sp>
        <p:sp>
          <p:nvSpPr>
            <p:cNvPr id="126" name="Oval 163"/>
            <p:cNvSpPr>
              <a:spLocks noChangeArrowheads="1"/>
            </p:cNvSpPr>
            <p:nvPr/>
          </p:nvSpPr>
          <p:spPr bwMode="gray">
            <a:xfrm>
              <a:off x="4676775" y="5207795"/>
              <a:ext cx="65088" cy="6508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127" name="Text Box 2678"/>
            <p:cNvSpPr txBox="1">
              <a:spLocks noChangeArrowheads="1"/>
            </p:cNvSpPr>
            <p:nvPr/>
          </p:nvSpPr>
          <p:spPr bwMode="gray">
            <a:xfrm>
              <a:off x="7285038" y="2728120"/>
              <a:ext cx="893193" cy="200055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700"/>
                <a:t>EBB CO &amp; GOPS</a:t>
              </a:r>
            </a:p>
          </p:txBody>
        </p:sp>
        <p:sp>
          <p:nvSpPr>
            <p:cNvPr id="128" name="Oval 163"/>
            <p:cNvSpPr>
              <a:spLocks noChangeArrowheads="1"/>
            </p:cNvSpPr>
            <p:nvPr/>
          </p:nvSpPr>
          <p:spPr bwMode="gray">
            <a:xfrm>
              <a:off x="5392738" y="3447257"/>
              <a:ext cx="65087" cy="65088"/>
            </a:xfrm>
            <a:prstGeom prst="ellipse">
              <a:avLst/>
            </a:prstGeom>
            <a:solidFill>
              <a:srgbClr val="0033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grpSp>
          <p:nvGrpSpPr>
            <p:cNvPr id="129" name="Group 128"/>
            <p:cNvGrpSpPr/>
            <p:nvPr/>
          </p:nvGrpSpPr>
          <p:grpSpPr>
            <a:xfrm>
              <a:off x="1835150" y="1643857"/>
              <a:ext cx="5561013" cy="4344988"/>
              <a:chOff x="1835150" y="1643857"/>
              <a:chExt cx="5561013" cy="4344988"/>
            </a:xfrm>
          </p:grpSpPr>
          <p:sp>
            <p:nvSpPr>
              <p:cNvPr id="130" name="Line 2687"/>
              <p:cNvSpPr>
                <a:spLocks noChangeShapeType="1"/>
              </p:cNvSpPr>
              <p:nvPr/>
            </p:nvSpPr>
            <p:spPr bwMode="gray">
              <a:xfrm>
                <a:off x="1835150" y="1951832"/>
                <a:ext cx="277813" cy="41751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31" name="Line 2687"/>
              <p:cNvSpPr>
                <a:spLocks noChangeShapeType="1"/>
              </p:cNvSpPr>
              <p:nvPr/>
            </p:nvSpPr>
            <p:spPr bwMode="gray">
              <a:xfrm flipH="1">
                <a:off x="2005013" y="3186907"/>
                <a:ext cx="717550" cy="19526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32" name="Line 2687"/>
              <p:cNvSpPr>
                <a:spLocks noChangeShapeType="1"/>
              </p:cNvSpPr>
              <p:nvPr/>
            </p:nvSpPr>
            <p:spPr bwMode="gray">
              <a:xfrm flipH="1">
                <a:off x="2590800" y="3134520"/>
                <a:ext cx="357188" cy="24765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33" name="Line 2687"/>
              <p:cNvSpPr>
                <a:spLocks noChangeShapeType="1"/>
              </p:cNvSpPr>
              <p:nvPr/>
            </p:nvSpPr>
            <p:spPr bwMode="gray">
              <a:xfrm flipH="1">
                <a:off x="3525838" y="1743870"/>
                <a:ext cx="255587" cy="139700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34" name="Line 2687"/>
              <p:cNvSpPr>
                <a:spLocks noChangeShapeType="1"/>
              </p:cNvSpPr>
              <p:nvPr/>
            </p:nvSpPr>
            <p:spPr bwMode="gray">
              <a:xfrm flipH="1">
                <a:off x="3308350" y="3317082"/>
                <a:ext cx="595313" cy="45561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35" name="Line 2687"/>
              <p:cNvSpPr>
                <a:spLocks noChangeShapeType="1"/>
              </p:cNvSpPr>
              <p:nvPr/>
            </p:nvSpPr>
            <p:spPr bwMode="gray">
              <a:xfrm flipH="1">
                <a:off x="3178175" y="3734595"/>
                <a:ext cx="676275" cy="29845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36" name="Line 2687"/>
              <p:cNvSpPr>
                <a:spLocks noChangeShapeType="1"/>
              </p:cNvSpPr>
              <p:nvPr/>
            </p:nvSpPr>
            <p:spPr bwMode="gray">
              <a:xfrm flipH="1">
                <a:off x="5797550" y="3272632"/>
                <a:ext cx="1598613" cy="34766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37" name="Line 2687"/>
              <p:cNvSpPr>
                <a:spLocks noChangeShapeType="1"/>
              </p:cNvSpPr>
              <p:nvPr/>
            </p:nvSpPr>
            <p:spPr bwMode="gray">
              <a:xfrm flipH="1" flipV="1">
                <a:off x="6696075" y="5010945"/>
                <a:ext cx="652463" cy="19685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38" name="Line 2687"/>
              <p:cNvSpPr>
                <a:spLocks noChangeShapeType="1"/>
              </p:cNvSpPr>
              <p:nvPr/>
            </p:nvSpPr>
            <p:spPr bwMode="gray">
              <a:xfrm flipH="1">
                <a:off x="3503613" y="3967957"/>
                <a:ext cx="795337" cy="39211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39" name="Line 2687"/>
              <p:cNvSpPr>
                <a:spLocks noChangeShapeType="1"/>
              </p:cNvSpPr>
              <p:nvPr/>
            </p:nvSpPr>
            <p:spPr bwMode="gray">
              <a:xfrm flipV="1">
                <a:off x="3959225" y="5750720"/>
                <a:ext cx="938213" cy="23812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0" name="Line 2687"/>
              <p:cNvSpPr>
                <a:spLocks noChangeShapeType="1"/>
              </p:cNvSpPr>
              <p:nvPr/>
            </p:nvSpPr>
            <p:spPr bwMode="gray">
              <a:xfrm flipH="1" flipV="1">
                <a:off x="3798888" y="5163345"/>
                <a:ext cx="390525" cy="13017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1" name="Line 2687"/>
              <p:cNvSpPr>
                <a:spLocks noChangeShapeType="1"/>
              </p:cNvSpPr>
              <p:nvPr/>
            </p:nvSpPr>
            <p:spPr bwMode="gray">
              <a:xfrm flipH="1">
                <a:off x="5692775" y="3690145"/>
                <a:ext cx="1633538" cy="37147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2" name="Line 2687"/>
              <p:cNvSpPr>
                <a:spLocks noChangeShapeType="1"/>
              </p:cNvSpPr>
              <p:nvPr/>
            </p:nvSpPr>
            <p:spPr bwMode="gray">
              <a:xfrm flipH="1" flipV="1">
                <a:off x="6353175" y="5010945"/>
                <a:ext cx="995363" cy="522287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3" name="Line 2687"/>
              <p:cNvSpPr>
                <a:spLocks noChangeShapeType="1"/>
              </p:cNvSpPr>
              <p:nvPr/>
            </p:nvSpPr>
            <p:spPr bwMode="gray">
              <a:xfrm flipH="1" flipV="1">
                <a:off x="5427663" y="5228432"/>
                <a:ext cx="617537" cy="69532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4" name="Line 2687"/>
              <p:cNvSpPr>
                <a:spLocks noChangeShapeType="1"/>
              </p:cNvSpPr>
              <p:nvPr/>
            </p:nvSpPr>
            <p:spPr bwMode="gray">
              <a:xfrm flipH="1">
                <a:off x="5889625" y="2418557"/>
                <a:ext cx="1381125" cy="43021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5" name="Line 2687"/>
              <p:cNvSpPr>
                <a:spLocks noChangeShapeType="1"/>
              </p:cNvSpPr>
              <p:nvPr/>
            </p:nvSpPr>
            <p:spPr bwMode="gray">
              <a:xfrm flipH="1">
                <a:off x="3503613" y="4490245"/>
                <a:ext cx="542925" cy="13017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6" name="Line 2687"/>
              <p:cNvSpPr>
                <a:spLocks noChangeShapeType="1"/>
              </p:cNvSpPr>
              <p:nvPr/>
            </p:nvSpPr>
            <p:spPr bwMode="gray">
              <a:xfrm>
                <a:off x="5002213" y="4685507"/>
                <a:ext cx="1173162" cy="78263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7" name="Line 2687"/>
              <p:cNvSpPr>
                <a:spLocks noChangeShapeType="1"/>
              </p:cNvSpPr>
              <p:nvPr/>
            </p:nvSpPr>
            <p:spPr bwMode="gray">
              <a:xfrm>
                <a:off x="2495550" y="1643857"/>
                <a:ext cx="422275" cy="76041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8" name="Line 2687"/>
              <p:cNvSpPr>
                <a:spLocks noChangeShapeType="1"/>
              </p:cNvSpPr>
              <p:nvPr/>
            </p:nvSpPr>
            <p:spPr bwMode="gray">
              <a:xfrm flipH="1">
                <a:off x="6958013" y="4685507"/>
                <a:ext cx="390525" cy="19526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49" name="Line 2687"/>
              <p:cNvSpPr>
                <a:spLocks noChangeShapeType="1"/>
              </p:cNvSpPr>
              <p:nvPr/>
            </p:nvSpPr>
            <p:spPr bwMode="gray">
              <a:xfrm flipH="1" flipV="1">
                <a:off x="3568700" y="4880770"/>
                <a:ext cx="1108075" cy="39211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  <p:sp>
            <p:nvSpPr>
              <p:cNvPr id="150" name="Line 2687"/>
              <p:cNvSpPr>
                <a:spLocks noChangeShapeType="1"/>
              </p:cNvSpPr>
              <p:nvPr/>
            </p:nvSpPr>
            <p:spPr bwMode="gray">
              <a:xfrm flipH="1">
                <a:off x="5392738" y="2859882"/>
                <a:ext cx="1890712" cy="60960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700"/>
              </a:p>
            </p:txBody>
          </p:sp>
        </p:grpSp>
      </p:grpSp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s clearance experts in Africa</a:t>
            </a:r>
            <a:endParaRPr lang="en-US" dirty="0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gray">
          <a:xfrm>
            <a:off x="5286375" y="3228975"/>
            <a:ext cx="3455987" cy="2776538"/>
          </a:xfrm>
          <a:prstGeom prst="rect">
            <a:avLst/>
          </a:pr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44000" tIns="144000" rIns="144000" bIns="144000" anchor="ctr"/>
          <a:lstStyle>
            <a:lvl1pPr marL="285750" indent="-28575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Aft>
                <a:spcPts val="1200"/>
              </a:spcAft>
              <a:buFontTx/>
              <a:buChar char="•"/>
            </a:pPr>
            <a:r>
              <a:rPr lang="en-US" altLang="en-US" dirty="0"/>
              <a:t>We help you cut through the clutter of procedures</a:t>
            </a:r>
          </a:p>
          <a:p>
            <a:pPr>
              <a:spcAft>
                <a:spcPts val="1200"/>
              </a:spcAft>
              <a:buFontTx/>
              <a:buChar char="•"/>
            </a:pPr>
            <a:r>
              <a:rPr lang="en-US" altLang="en-US" dirty="0"/>
              <a:t>Our teams keep up to date with the constantly changing regulations</a:t>
            </a:r>
          </a:p>
          <a:p>
            <a:pPr>
              <a:spcAft>
                <a:spcPts val="1200"/>
              </a:spcAft>
              <a:buFontTx/>
              <a:buChar char="•"/>
            </a:pPr>
            <a:r>
              <a:rPr lang="en-US" altLang="en-US" dirty="0"/>
              <a:t>We assist you with compliance to all customs requirements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651065" y="1225855"/>
            <a:ext cx="4412002" cy="4847386"/>
            <a:chOff x="421942" y="1338263"/>
            <a:chExt cx="4663096" cy="5123258"/>
          </a:xfrm>
        </p:grpSpPr>
        <p:pic>
          <p:nvPicPr>
            <p:cNvPr id="17" name="Picture 12" descr="SSA-map_plain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21942" y="1338263"/>
              <a:ext cx="4663096" cy="51232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3" descr="CUSTOMS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008178" y="2151063"/>
              <a:ext cx="3574147" cy="3495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9" name="Picture 2" descr="GRA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752031" y="5376647"/>
            <a:ext cx="551566" cy="605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4" descr="http://www.kra.go.ke/templates/kra_template/images/logo2.g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428730" y="5498883"/>
            <a:ext cx="1301695" cy="483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6" descr="http://www.firs.gov.ng/App_Themes/FIRS_SITE/images/firs_logo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25202" y="5429033"/>
            <a:ext cx="877778" cy="553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8" descr="South African Revenue Servic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9278" y="5727483"/>
            <a:ext cx="1452982" cy="228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13866" y="5413159"/>
            <a:ext cx="493258" cy="624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>
            <a:spLocks noChangeArrowheads="1"/>
          </p:cNvSpPr>
          <p:nvPr/>
        </p:nvSpPr>
        <p:spPr bwMode="gray">
          <a:xfrm>
            <a:off x="5286374" y="1255713"/>
            <a:ext cx="3443625" cy="1869020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TextBox 25"/>
          <p:cNvSpPr txBox="1">
            <a:spLocks noChangeArrowheads="1"/>
          </p:cNvSpPr>
          <p:nvPr/>
        </p:nvSpPr>
        <p:spPr bwMode="gray">
          <a:xfrm>
            <a:off x="5376333" y="1379538"/>
            <a:ext cx="3190027" cy="1649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95363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xpertise and </a:t>
            </a:r>
            <a:r>
              <a:rPr lang="en-US" sz="24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ocal</a:t>
            </a:r>
            <a:br>
              <a:rPr lang="en-US" sz="24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US" sz="24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know-how </a:t>
            </a: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 facilitate </a:t>
            </a:r>
            <a:r>
              <a:rPr lang="en-US" sz="2800" b="1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sz="2800" b="1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US" sz="4000" b="1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rade</a:t>
            </a:r>
            <a:endParaRPr lang="en-US" sz="40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</a:rPr>
              <a:t>No one knows Africa like we do</a:t>
            </a: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432974" y="1255713"/>
            <a:ext cx="5290493" cy="4749800"/>
            <a:chOff x="432974" y="1255713"/>
            <a:chExt cx="5644882" cy="5156530"/>
          </a:xfrm>
        </p:grpSpPr>
        <p:pic>
          <p:nvPicPr>
            <p:cNvPr id="18" name="Picture 1" descr="Flag_Zimbabwean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6125" y="5594349"/>
              <a:ext cx="1224476" cy="817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 descr="Flag_Botswana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2974" y="4725988"/>
              <a:ext cx="1227627" cy="819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 descr="Flag_Gabon.jp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2974" y="2990849"/>
              <a:ext cx="1227627" cy="817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5" descr="Flag_Nigeria.jp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2974" y="3859213"/>
              <a:ext cx="1227627" cy="817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6" descr="Flag_Tanzania.jp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2974" y="2122488"/>
              <a:ext cx="1227627" cy="817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7" descr="Flag_Angola.jp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32974" y="1255713"/>
              <a:ext cx="1227627" cy="8178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Rectangle 28"/>
            <p:cNvSpPr>
              <a:spLocks noChangeArrowheads="1"/>
            </p:cNvSpPr>
            <p:nvPr/>
          </p:nvSpPr>
          <p:spPr bwMode="gray">
            <a:xfrm>
              <a:off x="1701574" y="1255713"/>
              <a:ext cx="4376282" cy="817893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latin typeface="+mn-lt"/>
                  <a:ea typeface="+mn-ea"/>
                  <a:cs typeface="+mn-cs"/>
                </a:rPr>
                <a:t>Angola is the only country with an official </a:t>
              </a:r>
              <a:r>
                <a:rPr lang="en-US" sz="1400" dirty="0" err="1">
                  <a:latin typeface="+mn-lt"/>
                  <a:ea typeface="+mn-ea"/>
                  <a:cs typeface="+mn-cs"/>
                </a:rPr>
                <a:t>deminimus</a:t>
              </a:r>
              <a:r>
                <a:rPr lang="en-US" sz="1400" dirty="0">
                  <a:latin typeface="+mn-lt"/>
                  <a:ea typeface="+mn-ea"/>
                  <a:cs typeface="+mn-cs"/>
                </a:rPr>
                <a:t> value of </a:t>
              </a:r>
              <a:r>
                <a:rPr lang="en-US" sz="1400" dirty="0" smtClean="0">
                  <a:latin typeface="+mn-lt"/>
                  <a:ea typeface="+mn-ea"/>
                  <a:cs typeface="+mn-cs"/>
                </a:rPr>
                <a:t>USD 370 </a:t>
              </a:r>
              <a:r>
                <a:rPr lang="en-US" sz="1400" dirty="0">
                  <a:latin typeface="+mn-lt"/>
                  <a:ea typeface="+mn-ea"/>
                  <a:cs typeface="+mn-cs"/>
                </a:rPr>
                <a:t>whereas</a:t>
              </a: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gray">
            <a:xfrm>
              <a:off x="1701574" y="2122488"/>
              <a:ext cx="4376282" cy="817893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latin typeface="+mn-lt"/>
                  <a:ea typeface="+mn-ea"/>
                  <a:cs typeface="+mn-cs"/>
                </a:rPr>
                <a:t>In Tanzania </a:t>
              </a:r>
              <a:r>
                <a:rPr lang="en-US" sz="1400" dirty="0" err="1">
                  <a:latin typeface="+mn-lt"/>
                  <a:ea typeface="+mn-ea"/>
                  <a:cs typeface="+mn-cs"/>
                </a:rPr>
                <a:t>deminimus</a:t>
              </a:r>
              <a:r>
                <a:rPr lang="en-US" sz="1400" dirty="0">
                  <a:latin typeface="+mn-lt"/>
                  <a:ea typeface="+mn-ea"/>
                  <a:cs typeface="+mn-cs"/>
                </a:rPr>
                <a:t> value is </a:t>
              </a:r>
              <a:r>
                <a:rPr lang="en-US" sz="1400" dirty="0" smtClean="0">
                  <a:latin typeface="+mn-lt"/>
                  <a:ea typeface="+mn-ea"/>
                  <a:cs typeface="+mn-cs"/>
                </a:rPr>
                <a:t>USD 3 </a:t>
              </a:r>
              <a:r>
                <a:rPr lang="en-US" sz="1400" dirty="0">
                  <a:latin typeface="+mn-lt"/>
                  <a:ea typeface="+mn-ea"/>
                  <a:cs typeface="+mn-cs"/>
                </a:rPr>
                <a:t>instead </a:t>
              </a: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gray">
            <a:xfrm>
              <a:off x="1701574" y="2990849"/>
              <a:ext cx="4376282" cy="817894"/>
            </a:xfrm>
            <a:prstGeom prst="rect">
              <a:avLst/>
            </a:prstGeom>
            <a:solidFill>
              <a:srgbClr val="FFE0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latin typeface="+mn-lt"/>
                  <a:ea typeface="+mn-ea"/>
                  <a:cs typeface="+mn-cs"/>
                </a:rPr>
                <a:t>Gabon high value clearance &gt;</a:t>
              </a:r>
              <a:r>
                <a:rPr lang="en-US" sz="1400" dirty="0" smtClean="0">
                  <a:latin typeface="+mn-lt"/>
                  <a:ea typeface="+mn-ea"/>
                  <a:cs typeface="+mn-cs"/>
                </a:rPr>
                <a:t>USD 100 </a:t>
              </a:r>
              <a:r>
                <a:rPr lang="en-US" sz="1400" dirty="0">
                  <a:latin typeface="+mn-lt"/>
                  <a:ea typeface="+mn-ea"/>
                  <a:cs typeface="+mn-cs"/>
                </a:rPr>
                <a:t>takes an average of 5 days to clear because of prevailing </a:t>
              </a:r>
              <a:endParaRPr lang="en-US" sz="1400" dirty="0" smtClean="0">
                <a:latin typeface="+mn-lt"/>
                <a:ea typeface="+mn-ea"/>
                <a:cs typeface="+mn-cs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 smtClean="0">
                  <a:latin typeface="+mn-lt"/>
                  <a:ea typeface="+mn-ea"/>
                  <a:cs typeface="+mn-cs"/>
                </a:rPr>
                <a:t>Import controls whereas</a:t>
              </a:r>
              <a:endParaRPr lang="en-US" sz="140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gray">
            <a:xfrm>
              <a:off x="1701575" y="3859213"/>
              <a:ext cx="4376281" cy="817893"/>
            </a:xfrm>
            <a:prstGeom prst="rect">
              <a:avLst/>
            </a:prstGeom>
            <a:solidFill>
              <a:srgbClr val="FFE0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defTabSz="995363" eaLnBrk="0" hangingPunct="0">
                <a:defRPr/>
              </a:pPr>
              <a:r>
                <a:rPr lang="en-US" sz="1400" dirty="0">
                  <a:ea typeface="ＭＳ Ｐゴシック" charset="0"/>
                </a:rPr>
                <a:t>In Nigeria high value clearance take</a:t>
              </a:r>
              <a:r>
                <a:rPr lang="ja-JP" altLang="en-US" sz="1400" dirty="0">
                  <a:ea typeface="ＭＳ Ｐゴシック" charset="0"/>
                </a:rPr>
                <a:t>’</a:t>
              </a:r>
              <a:r>
                <a:rPr lang="en-US" sz="1400" dirty="0">
                  <a:ea typeface="ＭＳ Ｐゴシック" charset="0"/>
                </a:rPr>
                <a:t>s up to 4 hours because of liberalized customs procedures </a:t>
              </a: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gray">
            <a:xfrm>
              <a:off x="1701575" y="4725988"/>
              <a:ext cx="4376281" cy="819469"/>
            </a:xfrm>
            <a:prstGeom prst="rect">
              <a:avLst/>
            </a:prstGeom>
            <a:solidFill>
              <a:srgbClr val="FFEB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latin typeface="+mn-lt"/>
                  <a:ea typeface="+mn-ea"/>
                  <a:cs typeface="+mn-cs"/>
                </a:rPr>
                <a:t>In Botswana, Customs at border crossings turn away trucks because systems are down whereas</a:t>
              </a:r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gray">
            <a:xfrm>
              <a:off x="1701575" y="5594349"/>
              <a:ext cx="4376281" cy="817894"/>
            </a:xfrm>
            <a:prstGeom prst="rect">
              <a:avLst/>
            </a:prstGeom>
            <a:solidFill>
              <a:srgbClr val="FFEB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latin typeface="+mn-lt"/>
                  <a:ea typeface="+mn-ea"/>
                  <a:cs typeface="+mn-cs"/>
                </a:rPr>
                <a:t>In Zimbabwe, Customs  are able to process manual clearances and avert congestion at border crossings</a:t>
              </a:r>
            </a:p>
          </p:txBody>
        </p:sp>
      </p:grpSp>
      <p:sp>
        <p:nvSpPr>
          <p:cNvPr id="35" name="Rectangle 9"/>
          <p:cNvSpPr>
            <a:spLocks noChangeArrowheads="1"/>
          </p:cNvSpPr>
          <p:nvPr/>
        </p:nvSpPr>
        <p:spPr bwMode="gray">
          <a:xfrm>
            <a:off x="5772150" y="1265237"/>
            <a:ext cx="2970213" cy="473805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44000" rIns="144000" bIns="144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2000" dirty="0"/>
              <a:t>In Sub-Saharan Africa, exchange rates for customs clearance change every day whereas in Asia, exchange rates change weekly to facilitate trade; mitigate rework for insignificant  monetary impact,  improved productivity and expedited clearanc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</a:rPr>
              <a:t>Quality </a:t>
            </a: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Control </a:t>
            </a:r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</a:rPr>
              <a:t>Centre – state of the art technology</a:t>
            </a: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gray">
          <a:xfrm>
            <a:off x="5286375" y="3228975"/>
            <a:ext cx="3455988" cy="2776538"/>
          </a:xfrm>
          <a:prstGeom prst="rect">
            <a:avLst/>
          </a:pr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44000" tIns="144000" rIns="144000" bIns="144000" anchor="ctr"/>
          <a:lstStyle>
            <a:lvl1pPr marL="285750" indent="-28575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Aft>
                <a:spcPts val="1200"/>
              </a:spcAft>
              <a:buFontTx/>
              <a:buChar char="•"/>
            </a:pPr>
            <a:r>
              <a:rPr lang="en-US" altLang="en-US" dirty="0"/>
              <a:t>Reliable &amp; consistent transit time performance</a:t>
            </a:r>
          </a:p>
          <a:p>
            <a:pPr>
              <a:spcAft>
                <a:spcPts val="1200"/>
              </a:spcAft>
              <a:buFontTx/>
              <a:buChar char="•"/>
            </a:pPr>
            <a:r>
              <a:rPr lang="en-US" altLang="en-US" dirty="0"/>
              <a:t>Pro-active notification on service issues</a:t>
            </a:r>
          </a:p>
          <a:p>
            <a:pPr>
              <a:spcAft>
                <a:spcPts val="1200"/>
              </a:spcAft>
              <a:buFontTx/>
              <a:buChar char="•"/>
            </a:pPr>
            <a:r>
              <a:rPr lang="en-US" altLang="en-US" dirty="0"/>
              <a:t>End-to-end shipment visibility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5286375" y="1255713"/>
            <a:ext cx="3445300" cy="1879600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gray">
          <a:xfrm>
            <a:off x="5639755" y="1493838"/>
            <a:ext cx="3091921" cy="1643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95363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Using the industry </a:t>
            </a:r>
            <a:r>
              <a:rPr lang="en-US" sz="2800" b="1" dirty="0">
                <a:latin typeface="+mn-lt"/>
                <a:ea typeface="+mn-ea"/>
                <a:cs typeface="+mn-cs"/>
              </a:rPr>
              <a:t>benchmark</a:t>
            </a:r>
            <a:r>
              <a:rPr lang="en-US" sz="2800" dirty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2800" dirty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is your advantage</a:t>
            </a:r>
          </a:p>
        </p:txBody>
      </p:sp>
      <p:pic>
        <p:nvPicPr>
          <p:cNvPr id="14" name="Picture 3" descr="DSC0947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21"/>
          <a:stretch/>
        </p:blipFill>
        <p:spPr bwMode="gray">
          <a:xfrm>
            <a:off x="414001" y="1255713"/>
            <a:ext cx="4767600" cy="314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5" descr="DSC09460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066"/>
          <a:stretch/>
        </p:blipFill>
        <p:spPr bwMode="gray">
          <a:xfrm>
            <a:off x="2823202" y="4441760"/>
            <a:ext cx="2358399" cy="1563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 descr="DSC0948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3" r="-1"/>
          <a:stretch/>
        </p:blipFill>
        <p:spPr bwMode="gray">
          <a:xfrm>
            <a:off x="419100" y="4441760"/>
            <a:ext cx="2350125" cy="1563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20755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5393796" y="1258360"/>
            <a:ext cx="3335338" cy="1609725"/>
            <a:chOff x="5568950" y="1216025"/>
            <a:chExt cx="3335338" cy="1609725"/>
          </a:xfrm>
        </p:grpSpPr>
        <p:pic>
          <p:nvPicPr>
            <p:cNvPr id="44035" name="Picture 5" descr="Lion 2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8950" y="1216025"/>
              <a:ext cx="3335338" cy="160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TextBox 2"/>
            <p:cNvSpPr txBox="1"/>
            <p:nvPr/>
          </p:nvSpPr>
          <p:spPr>
            <a:xfrm>
              <a:off x="5639931" y="2423173"/>
              <a:ext cx="25567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noProof="1">
                  <a:solidFill>
                    <a:schemeClr val="bg1"/>
                  </a:solidFill>
                  <a:ea typeface="ＭＳ Ｐゴシック" pitchFamily="34" charset="-128"/>
                  <a:cs typeface="Times New Roman" pitchFamily="18" charset="0"/>
                </a:rPr>
                <a:t>95% on time deliveries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44039" name="Rectangle 150"/>
          <p:cNvSpPr>
            <a:spLocks noGrp="1" noChangeArrowheads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pPr eaLnBrk="1" hangingPunct="1"/>
            <a:r>
              <a:rPr lang="en-US">
                <a:latin typeface="Arial" charset="0"/>
                <a:ea typeface="ＭＳ Ｐゴシック" charset="0"/>
                <a:cs typeface="ＭＳ Ｐゴシック" charset="0"/>
              </a:rPr>
              <a:t>Recent key achievements</a:t>
            </a:r>
            <a:endParaRPr lang="th-TH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414000" y="1258360"/>
            <a:ext cx="1657688" cy="16097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noProof="1">
                <a:latin typeface="+mn-lt"/>
                <a:ea typeface="+mn-ea"/>
                <a:cs typeface="Angsana New" charset="0"/>
              </a:rPr>
              <a:t>TAPA</a:t>
            </a:r>
            <a:r>
              <a:rPr lang="en-US" sz="1400" noProof="1">
                <a:latin typeface="+mn-lt"/>
                <a:ea typeface="+mn-ea"/>
                <a:cs typeface="Angsana New" charset="0"/>
              </a:rPr>
              <a:t> certified in </a:t>
            </a:r>
            <a:r>
              <a:rPr lang="en-US" sz="1400" noProof="1" smtClean="0">
                <a:latin typeface="+mn-lt"/>
                <a:ea typeface="+mn-ea"/>
                <a:cs typeface="Angsana New" charset="0"/>
              </a:rPr>
              <a:t>19 facilities + Tanzania new warehouse &amp; airport facility live at TAPA ‘A’ standard</a:t>
            </a:r>
            <a:endParaRPr lang="en-US" sz="1400" dirty="0">
              <a:latin typeface="+mn-lt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3742721" y="1258360"/>
            <a:ext cx="1668521" cy="16097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1400" b="1" noProof="1">
                <a:latin typeface="+mn-lt"/>
                <a:ea typeface="ＭＳ Ｐゴシック" pitchFamily="34" charset="-128"/>
                <a:cs typeface="Times New Roman" pitchFamily="18" charset="0"/>
              </a:rPr>
              <a:t>Sub</a:t>
            </a:r>
            <a:r>
              <a:rPr lang="en-US" sz="1400" b="1" dirty="0">
                <a:latin typeface="+mn-lt"/>
                <a:ea typeface="ＭＳ Ｐゴシック" pitchFamily="34" charset="-128"/>
                <a:cs typeface="Times New Roman" pitchFamily="18" charset="0"/>
              </a:rPr>
              <a:t>-</a:t>
            </a:r>
            <a:r>
              <a:rPr lang="en-US" sz="1400" b="1" noProof="1">
                <a:latin typeface="+mn-lt"/>
                <a:ea typeface="ＭＳ Ｐゴシック" pitchFamily="34" charset="-128"/>
                <a:cs typeface="Times New Roman" pitchFamily="18" charset="0"/>
              </a:rPr>
              <a:t>Saharan Africa </a:t>
            </a:r>
            <a:r>
              <a:rPr lang="en-US" sz="1400" b="1" noProof="1" smtClean="0">
                <a:latin typeface="+mn-lt"/>
                <a:ea typeface="ＭＳ Ｐゴシック" pitchFamily="34" charset="-128"/>
                <a:cs typeface="Times New Roman" pitchFamily="18" charset="0"/>
              </a:rPr>
              <a:t>– </a:t>
            </a:r>
            <a:r>
              <a:rPr lang="en-US" sz="1400" noProof="1">
                <a:latin typeface="+mn-lt"/>
                <a:ea typeface="ＭＳ Ｐゴシック" pitchFamily="34" charset="-128"/>
                <a:cs typeface="Times New Roman" pitchFamily="18" charset="0"/>
              </a:rPr>
              <a:t>Improved customs clearance systems and management</a:t>
            </a:r>
            <a:endParaRPr lang="en-US" sz="1400" dirty="0"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414000" y="2868084"/>
            <a:ext cx="1657688" cy="1562363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noProof="1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rPr>
              <a:t>New sign on glass proof of delivery deployed to six SSA countries</a:t>
            </a:r>
            <a:endParaRPr lang="en-US" sz="1400" noProof="1">
              <a:solidFill>
                <a:schemeClr val="bg1"/>
              </a:solidFill>
              <a:latin typeface="+mn-lt"/>
              <a:ea typeface="ＭＳ Ｐゴシック" pitchFamily="34" charset="-128"/>
              <a:cs typeface="Times New Roman" pitchFamily="18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2078361" y="2868084"/>
            <a:ext cx="1657688" cy="15623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noProof="1">
                <a:latin typeface="+mn-lt"/>
                <a:ea typeface="+mn-ea"/>
                <a:cs typeface="Angsana New" charset="0"/>
              </a:rPr>
              <a:t>Mauritius</a:t>
            </a: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noProof="1">
                <a:latin typeface="+mn-lt"/>
                <a:ea typeface="+mn-ea"/>
                <a:cs typeface="Angsana New" charset="0"/>
              </a:rPr>
              <a:t>Express Logistics Centre clearance platform + TAPA </a:t>
            </a:r>
            <a:r>
              <a:rPr lang="en-US" sz="1400" noProof="1" smtClean="0">
                <a:latin typeface="+mn-lt"/>
                <a:ea typeface="+mn-ea"/>
                <a:cs typeface="Angsana New" charset="0"/>
              </a:rPr>
              <a:t>Accreditation</a:t>
            </a:r>
            <a:endParaRPr lang="en-US" sz="1400" noProof="1">
              <a:latin typeface="+mn-lt"/>
              <a:ea typeface="+mn-ea"/>
              <a:cs typeface="Angsana New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5407083" y="2868085"/>
            <a:ext cx="1657688" cy="1562363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noProof="1">
                <a:solidFill>
                  <a:schemeClr val="bg1"/>
                </a:solidFill>
                <a:latin typeface="+mn-lt"/>
                <a:ea typeface="ＭＳ Ｐゴシック" pitchFamily="34" charset="-128"/>
                <a:cs typeface="Angsana New" charset="0"/>
              </a:rPr>
              <a:t>Nigeria</a:t>
            </a: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noProof="1">
                <a:solidFill>
                  <a:schemeClr val="bg1"/>
                </a:solidFill>
                <a:latin typeface="+mn-lt"/>
                <a:ea typeface="ＭＳ Ｐゴシック" pitchFamily="34" charset="-128"/>
                <a:cs typeface="Angsana New" charset="0"/>
              </a:rPr>
              <a:t>B767 direct Brussels/Lagos</a:t>
            </a: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noProof="1">
                <a:solidFill>
                  <a:schemeClr val="bg1"/>
                </a:solidFill>
                <a:latin typeface="+mn-lt"/>
                <a:ea typeface="ＭＳ Ｐゴシック" pitchFamily="34" charset="-128"/>
                <a:cs typeface="Angsana New" charset="0"/>
              </a:rPr>
              <a:t>+ new Abuja flight + more space landside airside</a:t>
            </a:r>
            <a:endParaRPr lang="en-US" sz="1400" dirty="0">
              <a:solidFill>
                <a:schemeClr val="bg1"/>
              </a:solidFill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2078361" y="4430447"/>
            <a:ext cx="1657688" cy="156236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noProof="1" smtClean="0">
                <a:solidFill>
                  <a:schemeClr val="bg1"/>
                </a:solidFill>
                <a:latin typeface="+mn-lt"/>
                <a:ea typeface="+mn-ea"/>
                <a:cs typeface="Angsana New" charset="0"/>
              </a:rPr>
              <a:t>South Africa</a:t>
            </a: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noProof="1" smtClean="0">
                <a:solidFill>
                  <a:schemeClr val="bg1"/>
                </a:solidFill>
                <a:latin typeface="+mn-lt"/>
                <a:ea typeface="+mn-ea"/>
                <a:cs typeface="Angsana New" charset="0"/>
              </a:rPr>
              <a:t>New Cape Town gateway with drive-in service centre. New Durban drive-in service centre</a:t>
            </a:r>
          </a:p>
        </p:txBody>
      </p:sp>
      <p:sp>
        <p:nvSpPr>
          <p:cNvPr id="49" name="Rectangle 48"/>
          <p:cNvSpPr/>
          <p:nvPr/>
        </p:nvSpPr>
        <p:spPr bwMode="auto">
          <a:xfrm>
            <a:off x="3742722" y="4383087"/>
            <a:ext cx="1657688" cy="16097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hangingPunct="0"/>
            <a:r>
              <a:rPr lang="en-US" sz="1400" b="1" noProof="1" smtClean="0">
                <a:cs typeface="Angsana New" charset="0"/>
              </a:rPr>
              <a:t>Network</a:t>
            </a:r>
            <a:endParaRPr sz="1400" b="1" noProof="1">
              <a:cs typeface="Angsana New" charset="0"/>
            </a:endParaRPr>
          </a:p>
          <a:p>
            <a:pPr defTabSz="995363" eaLnBrk="0" hangingPunct="0"/>
            <a:r>
              <a:rPr lang="en-US" sz="1400" noProof="1" smtClean="0">
                <a:cs typeface="Angsana New" charset="0"/>
              </a:rPr>
              <a:t>Upgrade JNB HRE to ATR42 (4T) aircraft + West Africa with 2 new ATR72 (7T) aircraft</a:t>
            </a:r>
            <a:endParaRPr sz="1400" noProof="1">
              <a:cs typeface="Angsana New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5407083" y="4430448"/>
            <a:ext cx="1657688" cy="1562364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ustomer Service </a:t>
            </a:r>
            <a:r>
              <a:rPr lang="en-US" sz="1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ystems upgraded to have calls answered within 10 seconds</a:t>
            </a:r>
          </a:p>
        </p:txBody>
      </p:sp>
      <p:sp>
        <p:nvSpPr>
          <p:cNvPr id="44048" name="Rectangle 50"/>
          <p:cNvSpPr>
            <a:spLocks noChangeArrowheads="1"/>
          </p:cNvSpPr>
          <p:nvPr/>
        </p:nvSpPr>
        <p:spPr bwMode="auto">
          <a:xfrm>
            <a:off x="7071446" y="4383087"/>
            <a:ext cx="1657688" cy="1609725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144000" tIns="144000" rIns="144000" bIns="144000" anchor="ctr"/>
          <a:lstStyle/>
          <a:p>
            <a:pPr defTabSz="995363" eaLnBrk="0" hangingPunct="0"/>
            <a:r>
              <a:rPr sz="1400" b="1" noProof="1"/>
              <a:t>Mozambique</a:t>
            </a:r>
          </a:p>
          <a:p>
            <a:pPr defTabSz="995363" eaLnBrk="0" hangingPunct="0"/>
            <a:r>
              <a:rPr sz="1400" noProof="1"/>
              <a:t>New </a:t>
            </a:r>
            <a:r>
              <a:rPr lang="en-US" sz="1400" dirty="0"/>
              <a:t>operational</a:t>
            </a:r>
            <a:r>
              <a:rPr sz="1400" noProof="1"/>
              <a:t> facility in port city of Pemba now opened</a:t>
            </a:r>
            <a:endParaRPr lang="en-US" sz="1400" dirty="0"/>
          </a:p>
        </p:txBody>
      </p:sp>
      <p:sp>
        <p:nvSpPr>
          <p:cNvPr id="18" name="Rectangle 17"/>
          <p:cNvSpPr/>
          <p:nvPr/>
        </p:nvSpPr>
        <p:spPr bwMode="auto">
          <a:xfrm>
            <a:off x="2078361" y="1258360"/>
            <a:ext cx="1657688" cy="16097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noProof="1" smtClean="0">
                <a:solidFill>
                  <a:schemeClr val="bg1"/>
                </a:solidFill>
                <a:latin typeface="+mn-lt"/>
                <a:ea typeface="+mn-ea"/>
                <a:cs typeface="Angsana New" charset="0"/>
              </a:rPr>
              <a:t>Senegal</a:t>
            </a:r>
            <a:endParaRPr lang="en-US" sz="1400" noProof="1" smtClean="0">
              <a:solidFill>
                <a:schemeClr val="bg1"/>
              </a:solidFill>
              <a:latin typeface="+mn-lt"/>
              <a:ea typeface="+mn-ea"/>
              <a:cs typeface="Angsana New" charset="0"/>
            </a:endParaRP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noProof="1" smtClean="0">
                <a:solidFill>
                  <a:schemeClr val="bg1"/>
                </a:solidFill>
                <a:latin typeface="+mn-lt"/>
                <a:ea typeface="+mn-ea"/>
                <a:cs typeface="Angsana New" charset="0"/>
              </a:rPr>
              <a:t>New airside facility with new BRU-DKR 757 once a week flight</a:t>
            </a:r>
            <a:endParaRPr lang="en-US" sz="1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50"/>
          <p:cNvSpPr>
            <a:spLocks noChangeArrowheads="1"/>
          </p:cNvSpPr>
          <p:nvPr/>
        </p:nvSpPr>
        <p:spPr bwMode="auto">
          <a:xfrm>
            <a:off x="7071446" y="2868085"/>
            <a:ext cx="1657688" cy="1562363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lIns="144000" tIns="144000" rIns="144000" bIns="144000" anchor="ctr"/>
          <a:lstStyle/>
          <a:p>
            <a:pPr defTabSz="995363" eaLnBrk="0" hangingPunct="0"/>
            <a:r>
              <a:rPr lang="en-US" sz="1400" b="1" noProof="1" smtClean="0"/>
              <a:t>Burkino Faso</a:t>
            </a:r>
            <a:endParaRPr sz="1400" b="1" noProof="1"/>
          </a:p>
          <a:p>
            <a:pPr defTabSz="995363" eaLnBrk="0" hangingPunct="0"/>
            <a:r>
              <a:rPr lang="en-US" sz="1400" noProof="1" smtClean="0"/>
              <a:t>New country office and service centre in Ouagadougou</a:t>
            </a:r>
            <a:endParaRPr lang="en-US" sz="1400" dirty="0"/>
          </a:p>
        </p:txBody>
      </p:sp>
      <p:sp>
        <p:nvSpPr>
          <p:cNvPr id="20" name="Rectangle 19"/>
          <p:cNvSpPr/>
          <p:nvPr/>
        </p:nvSpPr>
        <p:spPr bwMode="auto">
          <a:xfrm>
            <a:off x="3742722" y="2868085"/>
            <a:ext cx="1657688" cy="1562363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noProof="1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Angsana New" charset="0"/>
              </a:rPr>
              <a:t>West Africa</a:t>
            </a:r>
            <a:endParaRPr lang="en-US" sz="1400" b="1" noProof="1">
              <a:solidFill>
                <a:schemeClr val="bg1"/>
              </a:solidFill>
              <a:latin typeface="+mn-lt"/>
              <a:ea typeface="ＭＳ Ｐゴシック" pitchFamily="34" charset="-128"/>
              <a:cs typeface="Angsana New" charset="0"/>
            </a:endParaRP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noProof="1" smtClean="0">
                <a:solidFill>
                  <a:schemeClr val="bg1"/>
                </a:solidFill>
                <a:latin typeface="+mn-lt"/>
                <a:ea typeface="ＭＳ Ｐゴシック" pitchFamily="34" charset="-128"/>
                <a:cs typeface="Angsana New" charset="0"/>
              </a:rPr>
              <a:t>B727 </a:t>
            </a:r>
            <a:r>
              <a:rPr lang="en-US" sz="1400" noProof="1">
                <a:solidFill>
                  <a:schemeClr val="bg1"/>
                </a:solidFill>
                <a:latin typeface="+mn-lt"/>
                <a:ea typeface="ＭＳ Ｐゴシック" pitchFamily="34" charset="-128"/>
                <a:cs typeface="Angsana New" charset="0"/>
              </a:rPr>
              <a:t>upgraded to branded B737</a:t>
            </a:r>
            <a:endParaRPr lang="en-US" sz="1400" dirty="0">
              <a:solidFill>
                <a:schemeClr val="bg1"/>
              </a:solidFill>
              <a:latin typeface="+mn-lt"/>
              <a:ea typeface="ＭＳ Ｐゴシック" pitchFamily="34" charset="-128"/>
              <a:cs typeface="+mn-cs"/>
            </a:endParaRPr>
          </a:p>
        </p:txBody>
      </p:sp>
      <p:pic>
        <p:nvPicPr>
          <p:cNvPr id="21" name="Picture 34" descr="Employee Warehouse NEW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751"/>
          <a:stretch/>
        </p:blipFill>
        <p:spPr bwMode="auto">
          <a:xfrm>
            <a:off x="414000" y="4430447"/>
            <a:ext cx="1657688" cy="1562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374650" y="1226610"/>
            <a:ext cx="8407400" cy="4804940"/>
            <a:chOff x="374650" y="1226610"/>
            <a:chExt cx="8407400" cy="4804940"/>
          </a:xfrm>
        </p:grpSpPr>
        <p:cxnSp>
          <p:nvCxnSpPr>
            <p:cNvPr id="6" name="Straight Connector 5"/>
            <p:cNvCxnSpPr/>
            <p:nvPr/>
          </p:nvCxnSpPr>
          <p:spPr bwMode="auto">
            <a:xfrm flipH="1">
              <a:off x="374650" y="4430448"/>
              <a:ext cx="8407400" cy="0"/>
            </a:xfrm>
            <a:prstGeom prst="line">
              <a:avLst/>
            </a:prstGeom>
            <a:solidFill>
              <a:schemeClr val="bg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22" name="Straight Connector 21"/>
            <p:cNvCxnSpPr/>
            <p:nvPr/>
          </p:nvCxnSpPr>
          <p:spPr bwMode="auto">
            <a:xfrm flipH="1">
              <a:off x="374650" y="2868085"/>
              <a:ext cx="8407400" cy="0"/>
            </a:xfrm>
            <a:prstGeom prst="line">
              <a:avLst/>
            </a:prstGeom>
            <a:solidFill>
              <a:schemeClr val="bg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23" name="Straight Connector 22"/>
            <p:cNvCxnSpPr/>
            <p:nvPr/>
          </p:nvCxnSpPr>
          <p:spPr bwMode="auto">
            <a:xfrm flipV="1">
              <a:off x="2078361" y="1226610"/>
              <a:ext cx="0" cy="4804939"/>
            </a:xfrm>
            <a:prstGeom prst="line">
              <a:avLst/>
            </a:prstGeom>
            <a:solidFill>
              <a:schemeClr val="bg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26" name="Straight Connector 25"/>
            <p:cNvCxnSpPr/>
            <p:nvPr/>
          </p:nvCxnSpPr>
          <p:spPr bwMode="auto">
            <a:xfrm flipV="1">
              <a:off x="3731610" y="1226610"/>
              <a:ext cx="0" cy="4804939"/>
            </a:xfrm>
            <a:prstGeom prst="line">
              <a:avLst/>
            </a:prstGeom>
            <a:solidFill>
              <a:schemeClr val="bg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27" name="Straight Connector 26"/>
            <p:cNvCxnSpPr/>
            <p:nvPr/>
          </p:nvCxnSpPr>
          <p:spPr bwMode="auto">
            <a:xfrm flipV="1">
              <a:off x="5411243" y="1226610"/>
              <a:ext cx="0" cy="4804939"/>
            </a:xfrm>
            <a:prstGeom prst="line">
              <a:avLst/>
            </a:prstGeom>
            <a:solidFill>
              <a:schemeClr val="bg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28" name="Straight Connector 27"/>
            <p:cNvCxnSpPr/>
            <p:nvPr/>
          </p:nvCxnSpPr>
          <p:spPr bwMode="auto">
            <a:xfrm flipV="1">
              <a:off x="7065096" y="2868085"/>
              <a:ext cx="0" cy="3163465"/>
            </a:xfrm>
            <a:prstGeom prst="line">
              <a:avLst/>
            </a:prstGeom>
            <a:solidFill>
              <a:schemeClr val="bg1"/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sp>
        <p:nvSpPr>
          <p:cNvPr id="11" name="Footer Placeholder 10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988629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Arial" charset="0"/>
                <a:ea typeface="ＭＳ Ｐゴシック" charset="0"/>
                <a:cs typeface="ＭＳ Ｐゴシック" charset="0"/>
              </a:rPr>
              <a:t>Certified International Specialists</a:t>
            </a: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gray">
          <a:xfrm>
            <a:off x="428245" y="4198938"/>
            <a:ext cx="8303430" cy="1806575"/>
          </a:xfrm>
          <a:prstGeom prst="rect">
            <a:avLst/>
          </a:prstGeom>
          <a:solidFill>
            <a:srgbClr val="FFF5CC"/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cs typeface="ＭＳ Ｐゴシック" charset="0"/>
              </a:rPr>
              <a:t>In DHL you will experience our Certified International Specialists with over 35 years of African knowledge, a cohesive team that is </a:t>
            </a:r>
            <a:r>
              <a:rPr lang="en-US" sz="1600" dirty="0" smtClean="0">
                <a:cs typeface="ＭＳ Ｐゴシック" charset="0"/>
              </a:rPr>
              <a:t>“Insanely </a:t>
            </a:r>
            <a:r>
              <a:rPr lang="en-US" sz="1600" dirty="0">
                <a:cs typeface="ＭＳ Ｐゴシック" charset="0"/>
              </a:rPr>
              <a:t>customer </a:t>
            </a:r>
            <a:r>
              <a:rPr lang="en-US" sz="1600" dirty="0" smtClean="0">
                <a:cs typeface="ＭＳ Ｐゴシック" charset="0"/>
              </a:rPr>
              <a:t>centric”, </a:t>
            </a:r>
            <a:r>
              <a:rPr lang="en-US" sz="1600" dirty="0">
                <a:cs typeface="ＭＳ Ｐゴシック" charset="0"/>
              </a:rPr>
              <a:t>acting locally and thinking globally, a company that is easy to do business with. </a:t>
            </a:r>
          </a:p>
          <a:p>
            <a:pPr eaLnBrk="1" hangingPunct="1">
              <a:buFont typeface="Arial" charset="0"/>
              <a:buChar char="•"/>
              <a:defRPr/>
            </a:pPr>
            <a:endParaRPr lang="en-US" sz="1600" dirty="0">
              <a:cs typeface="ＭＳ Ｐゴシック" charset="0"/>
            </a:endParaRPr>
          </a:p>
          <a:p>
            <a:pPr eaLnBrk="1" hangingPunct="1">
              <a:defRPr/>
            </a:pPr>
            <a:r>
              <a:rPr lang="en-US" sz="1600" dirty="0">
                <a:cs typeface="ＭＳ Ｐゴシック" charset="0"/>
              </a:rPr>
              <a:t>You focus on your business, your core competency and let us do the rest, providing you with the solution and absolute peace of mind.</a:t>
            </a:r>
          </a:p>
        </p:txBody>
      </p:sp>
      <p:sp>
        <p:nvSpPr>
          <p:cNvPr id="15" name="TextBox 7"/>
          <p:cNvSpPr txBox="1">
            <a:spLocks noChangeArrowheads="1"/>
          </p:cNvSpPr>
          <p:nvPr/>
        </p:nvSpPr>
        <p:spPr bwMode="gray">
          <a:xfrm>
            <a:off x="419778" y="1258468"/>
            <a:ext cx="4689886" cy="2769989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6600" b="1" dirty="0">
                <a:solidFill>
                  <a:schemeClr val="bg1"/>
                </a:solidFill>
              </a:rPr>
              <a:t>3,500</a:t>
            </a:r>
            <a:r>
              <a:rPr lang="en-US" altLang="en-US" sz="3600" dirty="0">
                <a:solidFill>
                  <a:schemeClr val="bg1"/>
                </a:solidFill>
              </a:rPr>
              <a:t> insanely customer centric Certified International Specialist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  <p:pic>
        <p:nvPicPr>
          <p:cNvPr id="8" name="Picture 2" descr="C:\_WL\_usefull\_logos\CIS_Logo_Variations\CIS_Logo_Small_cmyk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906" y="1246724"/>
            <a:ext cx="2869094" cy="2869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227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  <a:sym typeface="Arial" charset="0"/>
              </a:rPr>
              <a:t>The number 1 Express and logistics company in the world</a:t>
            </a:r>
            <a:endParaRPr lang="en-US" dirty="0">
              <a:latin typeface="Arial" charset="0"/>
              <a:ea typeface="ＭＳ Ｐゴシック" charset="0"/>
              <a:cs typeface="ＭＳ Ｐゴシック" charset="0"/>
              <a:sym typeface="Arial" charset="0"/>
            </a:endParaRPr>
          </a:p>
        </p:txBody>
      </p:sp>
      <p:sp>
        <p:nvSpPr>
          <p:cNvPr id="68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0308" y="1300687"/>
            <a:ext cx="8281368" cy="992819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kumimoji="1" lang="en-US" altLang="en-US">
              <a:solidFill>
                <a:srgbClr val="000000"/>
              </a:solidFill>
            </a:endParaRPr>
          </a:p>
        </p:txBody>
      </p:sp>
      <p:sp>
        <p:nvSpPr>
          <p:cNvPr id="69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17214" y="2394475"/>
            <a:ext cx="8305005" cy="442828"/>
          </a:xfrm>
          <a:prstGeom prst="rect">
            <a:avLst/>
          </a:prstGeom>
          <a:solidFill>
            <a:srgbClr val="E4E4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30000"/>
              </a:spcAft>
              <a:buClr>
                <a:srgbClr val="000000"/>
              </a:buClr>
              <a:buSzPct val="100000"/>
              <a:buFontTx/>
              <a:buChar char=" "/>
            </a:pPr>
            <a:endParaRPr kumimoji="1" lang="en-GB" altLang="en-US" sz="1200">
              <a:solidFill>
                <a:srgbClr val="808080"/>
              </a:solidFill>
            </a:endParaRPr>
          </a:p>
        </p:txBody>
      </p:sp>
      <p:sp>
        <p:nvSpPr>
          <p:cNvPr id="70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17214" y="3439050"/>
            <a:ext cx="4103650" cy="1930480"/>
          </a:xfrm>
          <a:prstGeom prst="rect">
            <a:avLst/>
          </a:prstGeom>
          <a:solidFill>
            <a:srgbClr val="E4E4E4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30000"/>
              </a:spcAft>
              <a:buClr>
                <a:srgbClr val="000000"/>
              </a:buClr>
              <a:buSzPct val="100000"/>
            </a:pPr>
            <a:r>
              <a:rPr kumimoji="1" lang="en-US" altLang="en-US" sz="1200">
                <a:solidFill>
                  <a:srgbClr val="000000"/>
                </a:solidFill>
              </a:rPr>
              <a:t>Mail</a:t>
            </a:r>
          </a:p>
        </p:txBody>
      </p:sp>
      <p:grpSp>
        <p:nvGrpSpPr>
          <p:cNvPr id="71" name="Gruppieren 17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4618570" y="3446988"/>
            <a:ext cx="4105225" cy="1922601"/>
            <a:chOff x="3937000" y="3557588"/>
            <a:chExt cx="3267075" cy="2251075"/>
          </a:xfrm>
        </p:grpSpPr>
        <p:sp>
          <p:nvSpPr>
            <p:cNvPr id="72" name="Rectangle 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937000" y="3557588"/>
              <a:ext cx="1038441" cy="2251075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Aft>
                  <a:spcPct val="30000"/>
                </a:spcAft>
                <a:buClr>
                  <a:srgbClr val="000000"/>
                </a:buClr>
                <a:buSzPct val="100000"/>
                <a:buFontTx/>
                <a:buChar char=" "/>
              </a:pPr>
              <a:r>
                <a:rPr kumimoji="1" lang="en-US" altLang="en-US" sz="1200">
                  <a:solidFill>
                    <a:srgbClr val="000000"/>
                  </a:solidFill>
                </a:rPr>
                <a:t>EXPRESS</a:t>
              </a:r>
            </a:p>
          </p:txBody>
        </p:sp>
        <p:sp>
          <p:nvSpPr>
            <p:cNvPr id="73" name="Rectangle 10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053199" y="3557588"/>
              <a:ext cx="1035933" cy="2251075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Aft>
                  <a:spcPct val="30000"/>
                </a:spcAft>
                <a:buClr>
                  <a:srgbClr val="000000"/>
                </a:buClr>
                <a:buSzPct val="100000"/>
              </a:pPr>
              <a:r>
                <a:rPr kumimoji="1" lang="en-US" altLang="en-US" sz="1200">
                  <a:solidFill>
                    <a:srgbClr val="000000"/>
                  </a:solidFill>
                </a:rPr>
                <a:t>GLOBAL</a:t>
              </a:r>
              <a:br>
                <a:rPr kumimoji="1" lang="en-US" altLang="en-US" sz="1200">
                  <a:solidFill>
                    <a:srgbClr val="000000"/>
                  </a:solidFill>
                </a:rPr>
              </a:br>
              <a:r>
                <a:rPr kumimoji="1" lang="en-US" altLang="en-US" sz="1200">
                  <a:solidFill>
                    <a:srgbClr val="000000"/>
                  </a:solidFill>
                </a:rPr>
                <a:t>FORWARDING, FREIGHT</a:t>
              </a:r>
            </a:p>
          </p:txBody>
        </p:sp>
        <p:sp>
          <p:nvSpPr>
            <p:cNvPr id="74" name="Rectangle 1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166889" y="3557588"/>
              <a:ext cx="1037186" cy="2251075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Aft>
                  <a:spcPct val="30000"/>
                </a:spcAft>
                <a:buClr>
                  <a:srgbClr val="000000"/>
                </a:buClr>
                <a:buSzPct val="100000"/>
              </a:pPr>
              <a:r>
                <a:rPr kumimoji="1" lang="en-US" altLang="en-US" sz="1200">
                  <a:solidFill>
                    <a:srgbClr val="000000"/>
                  </a:solidFill>
                </a:rPr>
                <a:t>SUPPLY CHAIN</a:t>
              </a:r>
            </a:p>
          </p:txBody>
        </p:sp>
      </p:grpSp>
      <p:sp>
        <p:nvSpPr>
          <p:cNvPr id="75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31397" y="5482162"/>
            <a:ext cx="8279792" cy="515321"/>
          </a:xfrm>
          <a:prstGeom prst="rect">
            <a:avLst/>
          </a:prstGeom>
          <a:solidFill>
            <a:srgbClr val="E4E4E4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30000"/>
              </a:spcAft>
              <a:buClr>
                <a:srgbClr val="000000"/>
              </a:buClr>
              <a:buSzPct val="100000"/>
              <a:buFontTx/>
              <a:buChar char=" "/>
            </a:pPr>
            <a:r>
              <a:rPr kumimoji="1" lang="en-US" altLang="en-US" sz="1200">
                <a:solidFill>
                  <a:srgbClr val="000000"/>
                </a:solidFill>
              </a:rPr>
              <a:t>GLOBAL BUSINESS SERVICES</a:t>
            </a:r>
          </a:p>
        </p:txBody>
      </p:sp>
      <p:sp>
        <p:nvSpPr>
          <p:cNvPr id="76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725911" y="2497662"/>
            <a:ext cx="3597785" cy="23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spcAft>
                <a:spcPct val="30000"/>
              </a:spcAft>
              <a:buClr>
                <a:srgbClr val="000000"/>
              </a:buClr>
              <a:buSzPct val="100000"/>
              <a:buFontTx/>
              <a:buChar char=" "/>
            </a:pPr>
            <a:r>
              <a:rPr kumimoji="1" lang="en-US" altLang="en-US">
                <a:solidFill>
                  <a:srgbClr val="000000"/>
                </a:solidFill>
              </a:rPr>
              <a:t>Corporate Center</a:t>
            </a:r>
            <a:endParaRPr kumimoji="1" lang="en-US" altLang="en-US" baseline="30000">
              <a:solidFill>
                <a:srgbClr val="000000"/>
              </a:solidFill>
            </a:endParaRPr>
          </a:p>
        </p:txBody>
      </p:sp>
      <p:sp>
        <p:nvSpPr>
          <p:cNvPr id="77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616994" y="4770963"/>
            <a:ext cx="4108378" cy="442829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spcAft>
                <a:spcPct val="30000"/>
              </a:spcAft>
              <a:buClr>
                <a:srgbClr val="000000"/>
              </a:buClr>
              <a:buSzPct val="100000"/>
              <a:buFontTx/>
              <a:buChar char=" "/>
              <a:defRPr/>
            </a:pPr>
            <a:r>
              <a:rPr kumimoji="1" lang="en-US" sz="1200" dirty="0">
                <a:solidFill>
                  <a:srgbClr val="000000"/>
                </a:solidFill>
                <a:ea typeface="ＭＳ Ｐゴシック" charset="0"/>
              </a:rPr>
              <a:t>DHL Customer Solutions &amp; Innovation</a:t>
            </a:r>
          </a:p>
        </p:txBody>
      </p:sp>
      <p:grpSp>
        <p:nvGrpSpPr>
          <p:cNvPr id="78" name="Group 70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623297" y="2910413"/>
            <a:ext cx="4103650" cy="472771"/>
            <a:chOff x="3018" y="1900"/>
            <a:chExt cx="2604" cy="300"/>
          </a:xfrm>
        </p:grpSpPr>
        <p:sp>
          <p:nvSpPr>
            <p:cNvPr id="79" name="Rectangl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018" y="1900"/>
              <a:ext cx="2604" cy="3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Aft>
                  <a:spcPct val="30000"/>
                </a:spcAft>
                <a:buClr>
                  <a:srgbClr val="000000"/>
                </a:buClr>
                <a:buSzPct val="100000"/>
              </a:pPr>
              <a:endParaRPr kumimoji="1" lang="en-GB" altLang="en-US" sz="1200">
                <a:solidFill>
                  <a:srgbClr val="000000"/>
                </a:solidFill>
              </a:endParaRPr>
            </a:p>
          </p:txBody>
        </p:sp>
        <p:grpSp>
          <p:nvGrpSpPr>
            <p:cNvPr id="80" name="Group 20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3749" y="1969"/>
              <a:ext cx="1142" cy="161"/>
              <a:chOff x="267" y="1297"/>
              <a:chExt cx="2345" cy="331"/>
            </a:xfrm>
          </p:grpSpPr>
          <p:sp>
            <p:nvSpPr>
              <p:cNvPr id="81" name="Freeform 21"/>
              <p:cNvSpPr>
                <a:spLocks/>
              </p:cNvSpPr>
              <p:nvPr/>
            </p:nvSpPr>
            <p:spPr bwMode="gray">
              <a:xfrm>
                <a:off x="606" y="1297"/>
                <a:ext cx="624" cy="195"/>
              </a:xfrm>
              <a:custGeom>
                <a:avLst/>
                <a:gdLst>
                  <a:gd name="T0" fmla="*/ 0 w 4480"/>
                  <a:gd name="T1" fmla="*/ 0 h 1398"/>
                  <a:gd name="T2" fmla="*/ 0 w 4480"/>
                  <a:gd name="T3" fmla="*/ 0 h 1398"/>
                  <a:gd name="T4" fmla="*/ 0 w 4480"/>
                  <a:gd name="T5" fmla="*/ 0 h 1398"/>
                  <a:gd name="T6" fmla="*/ 0 w 4480"/>
                  <a:gd name="T7" fmla="*/ 0 h 1398"/>
                  <a:gd name="T8" fmla="*/ 0 w 4480"/>
                  <a:gd name="T9" fmla="*/ 0 h 1398"/>
                  <a:gd name="T10" fmla="*/ 0 w 4480"/>
                  <a:gd name="T11" fmla="*/ 0 h 1398"/>
                  <a:gd name="T12" fmla="*/ 0 w 4480"/>
                  <a:gd name="T13" fmla="*/ 0 h 1398"/>
                  <a:gd name="T14" fmla="*/ 0 w 4480"/>
                  <a:gd name="T15" fmla="*/ 0 h 1398"/>
                  <a:gd name="T16" fmla="*/ 0 w 4480"/>
                  <a:gd name="T17" fmla="*/ 0 h 1398"/>
                  <a:gd name="T18" fmla="*/ 0 w 4480"/>
                  <a:gd name="T19" fmla="*/ 0 h 1398"/>
                  <a:gd name="T20" fmla="*/ 0 w 4480"/>
                  <a:gd name="T21" fmla="*/ 0 h 1398"/>
                  <a:gd name="T22" fmla="*/ 0 w 4480"/>
                  <a:gd name="T23" fmla="*/ 0 h 1398"/>
                  <a:gd name="T24" fmla="*/ 0 w 4480"/>
                  <a:gd name="T25" fmla="*/ 0 h 1398"/>
                  <a:gd name="T26" fmla="*/ 0 w 4480"/>
                  <a:gd name="T27" fmla="*/ 0 h 1398"/>
                  <a:gd name="T28" fmla="*/ 0 w 4480"/>
                  <a:gd name="T29" fmla="*/ 0 h 1398"/>
                  <a:gd name="T30" fmla="*/ 0 w 4480"/>
                  <a:gd name="T31" fmla="*/ 0 h 1398"/>
                  <a:gd name="T32" fmla="*/ 0 w 4480"/>
                  <a:gd name="T33" fmla="*/ 0 h 1398"/>
                  <a:gd name="T34" fmla="*/ 0 w 4480"/>
                  <a:gd name="T35" fmla="*/ 0 h 1398"/>
                  <a:gd name="T36" fmla="*/ 0 w 4480"/>
                  <a:gd name="T37" fmla="*/ 0 h 1398"/>
                  <a:gd name="T38" fmla="*/ 0 w 4480"/>
                  <a:gd name="T39" fmla="*/ 0 h 1398"/>
                  <a:gd name="T40" fmla="*/ 0 w 4480"/>
                  <a:gd name="T41" fmla="*/ 0 h 1398"/>
                  <a:gd name="T42" fmla="*/ 0 w 4480"/>
                  <a:gd name="T43" fmla="*/ 0 h 1398"/>
                  <a:gd name="T44" fmla="*/ 0 w 4480"/>
                  <a:gd name="T45" fmla="*/ 0 h 1398"/>
                  <a:gd name="T46" fmla="*/ 0 w 4480"/>
                  <a:gd name="T47" fmla="*/ 0 h 1398"/>
                  <a:gd name="T48" fmla="*/ 0 w 4480"/>
                  <a:gd name="T49" fmla="*/ 0 h 1398"/>
                  <a:gd name="T50" fmla="*/ 0 w 4480"/>
                  <a:gd name="T51" fmla="*/ 0 h 1398"/>
                  <a:gd name="T52" fmla="*/ 0 w 4480"/>
                  <a:gd name="T53" fmla="*/ 0 h 1398"/>
                  <a:gd name="T54" fmla="*/ 0 w 4480"/>
                  <a:gd name="T55" fmla="*/ 0 h 1398"/>
                  <a:gd name="T56" fmla="*/ 0 w 4480"/>
                  <a:gd name="T57" fmla="*/ 0 h 1398"/>
                  <a:gd name="T58" fmla="*/ 0 w 4480"/>
                  <a:gd name="T59" fmla="*/ 0 h 1398"/>
                  <a:gd name="T60" fmla="*/ 0 w 4480"/>
                  <a:gd name="T61" fmla="*/ 0 h 1398"/>
                  <a:gd name="T62" fmla="*/ 0 w 4480"/>
                  <a:gd name="T63" fmla="*/ 0 h 1398"/>
                  <a:gd name="T64" fmla="*/ 0 w 4480"/>
                  <a:gd name="T65" fmla="*/ 0 h 1398"/>
                  <a:gd name="T66" fmla="*/ 0 w 4480"/>
                  <a:gd name="T67" fmla="*/ 0 h 1398"/>
                  <a:gd name="T68" fmla="*/ 0 w 4480"/>
                  <a:gd name="T69" fmla="*/ 0 h 1398"/>
                  <a:gd name="T70" fmla="*/ 0 w 4480"/>
                  <a:gd name="T71" fmla="*/ 0 h 1398"/>
                  <a:gd name="T72" fmla="*/ 0 w 4480"/>
                  <a:gd name="T73" fmla="*/ 0 h 1398"/>
                  <a:gd name="T74" fmla="*/ 0 w 4480"/>
                  <a:gd name="T75" fmla="*/ 0 h 1398"/>
                  <a:gd name="T76" fmla="*/ 0 w 4480"/>
                  <a:gd name="T77" fmla="*/ 0 h 1398"/>
                  <a:gd name="T78" fmla="*/ 0 w 4480"/>
                  <a:gd name="T79" fmla="*/ 0 h 1398"/>
                  <a:gd name="T80" fmla="*/ 0 w 4480"/>
                  <a:gd name="T81" fmla="*/ 0 h 1398"/>
                  <a:gd name="T82" fmla="*/ 0 w 4480"/>
                  <a:gd name="T83" fmla="*/ 0 h 1398"/>
                  <a:gd name="T84" fmla="*/ 0 w 4480"/>
                  <a:gd name="T85" fmla="*/ 0 h 1398"/>
                  <a:gd name="T86" fmla="*/ 0 w 4480"/>
                  <a:gd name="T87" fmla="*/ 0 h 1398"/>
                  <a:gd name="T88" fmla="*/ 0 w 4480"/>
                  <a:gd name="T89" fmla="*/ 0 h 1398"/>
                  <a:gd name="T90" fmla="*/ 0 w 4480"/>
                  <a:gd name="T91" fmla="*/ 0 h 1398"/>
                  <a:gd name="T92" fmla="*/ 0 w 4480"/>
                  <a:gd name="T93" fmla="*/ 0 h 1398"/>
                  <a:gd name="T94" fmla="*/ 0 w 4480"/>
                  <a:gd name="T95" fmla="*/ 0 h 139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480"/>
                  <a:gd name="T145" fmla="*/ 0 h 1398"/>
                  <a:gd name="T146" fmla="*/ 4480 w 4480"/>
                  <a:gd name="T147" fmla="*/ 1398 h 139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480" h="1398">
                    <a:moveTo>
                      <a:pt x="537" y="0"/>
                    </a:moveTo>
                    <a:lnTo>
                      <a:pt x="0" y="728"/>
                    </a:lnTo>
                    <a:lnTo>
                      <a:pt x="31" y="728"/>
                    </a:lnTo>
                    <a:lnTo>
                      <a:pt x="120" y="728"/>
                    </a:lnTo>
                    <a:lnTo>
                      <a:pt x="257" y="728"/>
                    </a:lnTo>
                    <a:lnTo>
                      <a:pt x="437" y="728"/>
                    </a:lnTo>
                    <a:lnTo>
                      <a:pt x="649" y="728"/>
                    </a:lnTo>
                    <a:lnTo>
                      <a:pt x="887" y="728"/>
                    </a:lnTo>
                    <a:lnTo>
                      <a:pt x="1143" y="728"/>
                    </a:lnTo>
                    <a:lnTo>
                      <a:pt x="1409" y="728"/>
                    </a:lnTo>
                    <a:lnTo>
                      <a:pt x="1675" y="728"/>
                    </a:lnTo>
                    <a:lnTo>
                      <a:pt x="1935" y="728"/>
                    </a:lnTo>
                    <a:lnTo>
                      <a:pt x="2182" y="728"/>
                    </a:lnTo>
                    <a:lnTo>
                      <a:pt x="2406" y="728"/>
                    </a:lnTo>
                    <a:lnTo>
                      <a:pt x="2600" y="728"/>
                    </a:lnTo>
                    <a:lnTo>
                      <a:pt x="2757" y="728"/>
                    </a:lnTo>
                    <a:lnTo>
                      <a:pt x="2867" y="728"/>
                    </a:lnTo>
                    <a:lnTo>
                      <a:pt x="2924" y="728"/>
                    </a:lnTo>
                    <a:lnTo>
                      <a:pt x="2949" y="728"/>
                    </a:lnTo>
                    <a:lnTo>
                      <a:pt x="2972" y="730"/>
                    </a:lnTo>
                    <a:lnTo>
                      <a:pt x="2991" y="733"/>
                    </a:lnTo>
                    <a:lnTo>
                      <a:pt x="3008" y="737"/>
                    </a:lnTo>
                    <a:lnTo>
                      <a:pt x="3014" y="740"/>
                    </a:lnTo>
                    <a:lnTo>
                      <a:pt x="3020" y="744"/>
                    </a:lnTo>
                    <a:lnTo>
                      <a:pt x="3025" y="747"/>
                    </a:lnTo>
                    <a:lnTo>
                      <a:pt x="3031" y="750"/>
                    </a:lnTo>
                    <a:lnTo>
                      <a:pt x="3035" y="754"/>
                    </a:lnTo>
                    <a:lnTo>
                      <a:pt x="3038" y="758"/>
                    </a:lnTo>
                    <a:lnTo>
                      <a:pt x="3040" y="762"/>
                    </a:lnTo>
                    <a:lnTo>
                      <a:pt x="3042" y="768"/>
                    </a:lnTo>
                    <a:lnTo>
                      <a:pt x="3044" y="773"/>
                    </a:lnTo>
                    <a:lnTo>
                      <a:pt x="3044" y="778"/>
                    </a:lnTo>
                    <a:lnTo>
                      <a:pt x="3044" y="783"/>
                    </a:lnTo>
                    <a:lnTo>
                      <a:pt x="3044" y="790"/>
                    </a:lnTo>
                    <a:lnTo>
                      <a:pt x="3041" y="802"/>
                    </a:lnTo>
                    <a:lnTo>
                      <a:pt x="3037" y="816"/>
                    </a:lnTo>
                    <a:lnTo>
                      <a:pt x="3030" y="830"/>
                    </a:lnTo>
                    <a:lnTo>
                      <a:pt x="3020" y="846"/>
                    </a:lnTo>
                    <a:lnTo>
                      <a:pt x="3010" y="863"/>
                    </a:lnTo>
                    <a:lnTo>
                      <a:pt x="2997" y="881"/>
                    </a:lnTo>
                    <a:lnTo>
                      <a:pt x="2967" y="922"/>
                    </a:lnTo>
                    <a:lnTo>
                      <a:pt x="2934" y="967"/>
                    </a:lnTo>
                    <a:lnTo>
                      <a:pt x="2898" y="1016"/>
                    </a:lnTo>
                    <a:lnTo>
                      <a:pt x="2862" y="1067"/>
                    </a:lnTo>
                    <a:lnTo>
                      <a:pt x="2825" y="1117"/>
                    </a:lnTo>
                    <a:lnTo>
                      <a:pt x="2789" y="1167"/>
                    </a:lnTo>
                    <a:lnTo>
                      <a:pt x="2756" y="1213"/>
                    </a:lnTo>
                    <a:lnTo>
                      <a:pt x="2726" y="1254"/>
                    </a:lnTo>
                    <a:lnTo>
                      <a:pt x="2711" y="1275"/>
                    </a:lnTo>
                    <a:lnTo>
                      <a:pt x="2697" y="1298"/>
                    </a:lnTo>
                    <a:lnTo>
                      <a:pt x="2692" y="1309"/>
                    </a:lnTo>
                    <a:lnTo>
                      <a:pt x="2688" y="1322"/>
                    </a:lnTo>
                    <a:lnTo>
                      <a:pt x="2687" y="1327"/>
                    </a:lnTo>
                    <a:lnTo>
                      <a:pt x="2687" y="1333"/>
                    </a:lnTo>
                    <a:lnTo>
                      <a:pt x="2687" y="1339"/>
                    </a:lnTo>
                    <a:lnTo>
                      <a:pt x="2687" y="1345"/>
                    </a:lnTo>
                    <a:lnTo>
                      <a:pt x="2689" y="1350"/>
                    </a:lnTo>
                    <a:lnTo>
                      <a:pt x="2691" y="1355"/>
                    </a:lnTo>
                    <a:lnTo>
                      <a:pt x="2695" y="1360"/>
                    </a:lnTo>
                    <a:lnTo>
                      <a:pt x="2699" y="1366"/>
                    </a:lnTo>
                    <a:lnTo>
                      <a:pt x="2704" y="1370"/>
                    </a:lnTo>
                    <a:lnTo>
                      <a:pt x="2711" y="1374"/>
                    </a:lnTo>
                    <a:lnTo>
                      <a:pt x="2718" y="1378"/>
                    </a:lnTo>
                    <a:lnTo>
                      <a:pt x="2726" y="1382"/>
                    </a:lnTo>
                    <a:lnTo>
                      <a:pt x="2737" y="1386"/>
                    </a:lnTo>
                    <a:lnTo>
                      <a:pt x="2748" y="1389"/>
                    </a:lnTo>
                    <a:lnTo>
                      <a:pt x="2761" y="1392"/>
                    </a:lnTo>
                    <a:lnTo>
                      <a:pt x="2775" y="1394"/>
                    </a:lnTo>
                    <a:lnTo>
                      <a:pt x="2790" y="1395"/>
                    </a:lnTo>
                    <a:lnTo>
                      <a:pt x="2807" y="1397"/>
                    </a:lnTo>
                    <a:lnTo>
                      <a:pt x="2826" y="1397"/>
                    </a:lnTo>
                    <a:lnTo>
                      <a:pt x="2847" y="1398"/>
                    </a:lnTo>
                    <a:lnTo>
                      <a:pt x="2900" y="1398"/>
                    </a:lnTo>
                    <a:lnTo>
                      <a:pt x="2967" y="1398"/>
                    </a:lnTo>
                    <a:lnTo>
                      <a:pt x="3046" y="1398"/>
                    </a:lnTo>
                    <a:lnTo>
                      <a:pt x="3135" y="1398"/>
                    </a:lnTo>
                    <a:lnTo>
                      <a:pt x="3230" y="1398"/>
                    </a:lnTo>
                    <a:lnTo>
                      <a:pt x="3331" y="1398"/>
                    </a:lnTo>
                    <a:lnTo>
                      <a:pt x="3433" y="1398"/>
                    </a:lnTo>
                    <a:lnTo>
                      <a:pt x="3534" y="1398"/>
                    </a:lnTo>
                    <a:lnTo>
                      <a:pt x="3633" y="1398"/>
                    </a:lnTo>
                    <a:lnTo>
                      <a:pt x="3727" y="1398"/>
                    </a:lnTo>
                    <a:lnTo>
                      <a:pt x="3813" y="1398"/>
                    </a:lnTo>
                    <a:lnTo>
                      <a:pt x="3889" y="1398"/>
                    </a:lnTo>
                    <a:lnTo>
                      <a:pt x="3952" y="1398"/>
                    </a:lnTo>
                    <a:lnTo>
                      <a:pt x="4000" y="1398"/>
                    </a:lnTo>
                    <a:lnTo>
                      <a:pt x="4032" y="1398"/>
                    </a:lnTo>
                    <a:lnTo>
                      <a:pt x="4042" y="1398"/>
                    </a:lnTo>
                    <a:lnTo>
                      <a:pt x="4051" y="1386"/>
                    </a:lnTo>
                    <a:lnTo>
                      <a:pt x="4075" y="1353"/>
                    </a:lnTo>
                    <a:lnTo>
                      <a:pt x="4111" y="1303"/>
                    </a:lnTo>
                    <a:lnTo>
                      <a:pt x="4159" y="1239"/>
                    </a:lnTo>
                    <a:lnTo>
                      <a:pt x="4213" y="1166"/>
                    </a:lnTo>
                    <a:lnTo>
                      <a:pt x="4273" y="1084"/>
                    </a:lnTo>
                    <a:lnTo>
                      <a:pt x="4335" y="1000"/>
                    </a:lnTo>
                    <a:lnTo>
                      <a:pt x="4397" y="917"/>
                    </a:lnTo>
                    <a:lnTo>
                      <a:pt x="4416" y="888"/>
                    </a:lnTo>
                    <a:lnTo>
                      <a:pt x="4432" y="858"/>
                    </a:lnTo>
                    <a:lnTo>
                      <a:pt x="4447" y="825"/>
                    </a:lnTo>
                    <a:lnTo>
                      <a:pt x="4459" y="792"/>
                    </a:lnTo>
                    <a:lnTo>
                      <a:pt x="4468" y="757"/>
                    </a:lnTo>
                    <a:lnTo>
                      <a:pt x="4474" y="722"/>
                    </a:lnTo>
                    <a:lnTo>
                      <a:pt x="4479" y="685"/>
                    </a:lnTo>
                    <a:lnTo>
                      <a:pt x="4480" y="648"/>
                    </a:lnTo>
                    <a:lnTo>
                      <a:pt x="4479" y="611"/>
                    </a:lnTo>
                    <a:lnTo>
                      <a:pt x="4474" y="573"/>
                    </a:lnTo>
                    <a:lnTo>
                      <a:pt x="4467" y="534"/>
                    </a:lnTo>
                    <a:lnTo>
                      <a:pt x="4458" y="496"/>
                    </a:lnTo>
                    <a:lnTo>
                      <a:pt x="4445" y="458"/>
                    </a:lnTo>
                    <a:lnTo>
                      <a:pt x="4429" y="420"/>
                    </a:lnTo>
                    <a:lnTo>
                      <a:pt x="4411" y="383"/>
                    </a:lnTo>
                    <a:lnTo>
                      <a:pt x="4390" y="347"/>
                    </a:lnTo>
                    <a:lnTo>
                      <a:pt x="4366" y="311"/>
                    </a:lnTo>
                    <a:lnTo>
                      <a:pt x="4339" y="276"/>
                    </a:lnTo>
                    <a:lnTo>
                      <a:pt x="4309" y="244"/>
                    </a:lnTo>
                    <a:lnTo>
                      <a:pt x="4275" y="212"/>
                    </a:lnTo>
                    <a:lnTo>
                      <a:pt x="4239" y="181"/>
                    </a:lnTo>
                    <a:lnTo>
                      <a:pt x="4200" y="153"/>
                    </a:lnTo>
                    <a:lnTo>
                      <a:pt x="4158" y="126"/>
                    </a:lnTo>
                    <a:lnTo>
                      <a:pt x="4111" y="102"/>
                    </a:lnTo>
                    <a:lnTo>
                      <a:pt x="4063" y="79"/>
                    </a:lnTo>
                    <a:lnTo>
                      <a:pt x="4011" y="59"/>
                    </a:lnTo>
                    <a:lnTo>
                      <a:pt x="3956" y="42"/>
                    </a:lnTo>
                    <a:lnTo>
                      <a:pt x="3897" y="27"/>
                    </a:lnTo>
                    <a:lnTo>
                      <a:pt x="3835" y="16"/>
                    </a:lnTo>
                    <a:lnTo>
                      <a:pt x="3770" y="7"/>
                    </a:lnTo>
                    <a:lnTo>
                      <a:pt x="3702" y="2"/>
                    </a:lnTo>
                    <a:lnTo>
                      <a:pt x="3630" y="0"/>
                    </a:lnTo>
                    <a:lnTo>
                      <a:pt x="3479" y="0"/>
                    </a:lnTo>
                    <a:lnTo>
                      <a:pt x="3295" y="0"/>
                    </a:lnTo>
                    <a:lnTo>
                      <a:pt x="3083" y="0"/>
                    </a:lnTo>
                    <a:lnTo>
                      <a:pt x="2850" y="0"/>
                    </a:lnTo>
                    <a:lnTo>
                      <a:pt x="2600" y="0"/>
                    </a:lnTo>
                    <a:lnTo>
                      <a:pt x="2342" y="0"/>
                    </a:lnTo>
                    <a:lnTo>
                      <a:pt x="2080" y="0"/>
                    </a:lnTo>
                    <a:lnTo>
                      <a:pt x="1820" y="0"/>
                    </a:lnTo>
                    <a:lnTo>
                      <a:pt x="1567" y="0"/>
                    </a:lnTo>
                    <a:lnTo>
                      <a:pt x="1330" y="0"/>
                    </a:lnTo>
                    <a:lnTo>
                      <a:pt x="1113" y="0"/>
                    </a:lnTo>
                    <a:lnTo>
                      <a:pt x="921" y="0"/>
                    </a:lnTo>
                    <a:lnTo>
                      <a:pt x="761" y="0"/>
                    </a:lnTo>
                    <a:lnTo>
                      <a:pt x="640" y="0"/>
                    </a:lnTo>
                    <a:lnTo>
                      <a:pt x="563" y="0"/>
                    </a:lnTo>
                    <a:lnTo>
                      <a:pt x="537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Freeform 22"/>
              <p:cNvSpPr>
                <a:spLocks/>
              </p:cNvSpPr>
              <p:nvPr/>
            </p:nvSpPr>
            <p:spPr bwMode="gray">
              <a:xfrm>
                <a:off x="575" y="1424"/>
                <a:ext cx="575" cy="204"/>
              </a:xfrm>
              <a:custGeom>
                <a:avLst/>
                <a:gdLst>
                  <a:gd name="T0" fmla="*/ 0 w 4127"/>
                  <a:gd name="T1" fmla="*/ 0 h 1461"/>
                  <a:gd name="T2" fmla="*/ 0 w 4127"/>
                  <a:gd name="T3" fmla="*/ 0 h 1461"/>
                  <a:gd name="T4" fmla="*/ 0 w 4127"/>
                  <a:gd name="T5" fmla="*/ 0 h 1461"/>
                  <a:gd name="T6" fmla="*/ 0 w 4127"/>
                  <a:gd name="T7" fmla="*/ 0 h 1461"/>
                  <a:gd name="T8" fmla="*/ 0 w 4127"/>
                  <a:gd name="T9" fmla="*/ 0 h 1461"/>
                  <a:gd name="T10" fmla="*/ 0 w 4127"/>
                  <a:gd name="T11" fmla="*/ 0 h 1461"/>
                  <a:gd name="T12" fmla="*/ 0 w 4127"/>
                  <a:gd name="T13" fmla="*/ 0 h 1461"/>
                  <a:gd name="T14" fmla="*/ 0 w 4127"/>
                  <a:gd name="T15" fmla="*/ 0 h 1461"/>
                  <a:gd name="T16" fmla="*/ 0 w 4127"/>
                  <a:gd name="T17" fmla="*/ 0 h 1461"/>
                  <a:gd name="T18" fmla="*/ 0 w 4127"/>
                  <a:gd name="T19" fmla="*/ 0 h 1461"/>
                  <a:gd name="T20" fmla="*/ 0 w 4127"/>
                  <a:gd name="T21" fmla="*/ 0 h 1461"/>
                  <a:gd name="T22" fmla="*/ 0 w 4127"/>
                  <a:gd name="T23" fmla="*/ 0 h 1461"/>
                  <a:gd name="T24" fmla="*/ 0 w 4127"/>
                  <a:gd name="T25" fmla="*/ 0 h 1461"/>
                  <a:gd name="T26" fmla="*/ 0 w 4127"/>
                  <a:gd name="T27" fmla="*/ 0 h 1461"/>
                  <a:gd name="T28" fmla="*/ 0 w 4127"/>
                  <a:gd name="T29" fmla="*/ 0 h 1461"/>
                  <a:gd name="T30" fmla="*/ 0 w 4127"/>
                  <a:gd name="T31" fmla="*/ 0 h 1461"/>
                  <a:gd name="T32" fmla="*/ 0 w 4127"/>
                  <a:gd name="T33" fmla="*/ 0 h 1461"/>
                  <a:gd name="T34" fmla="*/ 0 w 4127"/>
                  <a:gd name="T35" fmla="*/ 0 h 1461"/>
                  <a:gd name="T36" fmla="*/ 0 w 4127"/>
                  <a:gd name="T37" fmla="*/ 0 h 1461"/>
                  <a:gd name="T38" fmla="*/ 0 w 4127"/>
                  <a:gd name="T39" fmla="*/ 0 h 1461"/>
                  <a:gd name="T40" fmla="*/ 0 w 4127"/>
                  <a:gd name="T41" fmla="*/ 0 h 1461"/>
                  <a:gd name="T42" fmla="*/ 0 w 4127"/>
                  <a:gd name="T43" fmla="*/ 0 h 1461"/>
                  <a:gd name="T44" fmla="*/ 0 w 4127"/>
                  <a:gd name="T45" fmla="*/ 0 h 1461"/>
                  <a:gd name="T46" fmla="*/ 0 w 4127"/>
                  <a:gd name="T47" fmla="*/ 0 h 1461"/>
                  <a:gd name="T48" fmla="*/ 0 w 4127"/>
                  <a:gd name="T49" fmla="*/ 0 h 1461"/>
                  <a:gd name="T50" fmla="*/ 0 w 4127"/>
                  <a:gd name="T51" fmla="*/ 0 h 1461"/>
                  <a:gd name="T52" fmla="*/ 0 w 4127"/>
                  <a:gd name="T53" fmla="*/ 0 h 1461"/>
                  <a:gd name="T54" fmla="*/ 0 w 4127"/>
                  <a:gd name="T55" fmla="*/ 0 h 1461"/>
                  <a:gd name="T56" fmla="*/ 0 w 4127"/>
                  <a:gd name="T57" fmla="*/ 0 h 1461"/>
                  <a:gd name="T58" fmla="*/ 0 w 4127"/>
                  <a:gd name="T59" fmla="*/ 0 h 1461"/>
                  <a:gd name="T60" fmla="*/ 0 w 4127"/>
                  <a:gd name="T61" fmla="*/ 0 h 1461"/>
                  <a:gd name="T62" fmla="*/ 0 w 4127"/>
                  <a:gd name="T63" fmla="*/ 0 h 1461"/>
                  <a:gd name="T64" fmla="*/ 0 w 4127"/>
                  <a:gd name="T65" fmla="*/ 0 h 1461"/>
                  <a:gd name="T66" fmla="*/ 0 w 4127"/>
                  <a:gd name="T67" fmla="*/ 0 h 1461"/>
                  <a:gd name="T68" fmla="*/ 0 w 4127"/>
                  <a:gd name="T69" fmla="*/ 0 h 1461"/>
                  <a:gd name="T70" fmla="*/ 0 w 4127"/>
                  <a:gd name="T71" fmla="*/ 0 h 1461"/>
                  <a:gd name="T72" fmla="*/ 0 w 4127"/>
                  <a:gd name="T73" fmla="*/ 0 h 1461"/>
                  <a:gd name="T74" fmla="*/ 0 w 4127"/>
                  <a:gd name="T75" fmla="*/ 0 h 1461"/>
                  <a:gd name="T76" fmla="*/ 0 w 4127"/>
                  <a:gd name="T77" fmla="*/ 0 h 1461"/>
                  <a:gd name="T78" fmla="*/ 0 w 4127"/>
                  <a:gd name="T79" fmla="*/ 0 h 1461"/>
                  <a:gd name="T80" fmla="*/ 0 w 4127"/>
                  <a:gd name="T81" fmla="*/ 0 h 1461"/>
                  <a:gd name="T82" fmla="*/ 0 w 4127"/>
                  <a:gd name="T83" fmla="*/ 0 h 1461"/>
                  <a:gd name="T84" fmla="*/ 0 w 4127"/>
                  <a:gd name="T85" fmla="*/ 0 h 1461"/>
                  <a:gd name="T86" fmla="*/ 0 w 4127"/>
                  <a:gd name="T87" fmla="*/ 0 h 146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127"/>
                  <a:gd name="T133" fmla="*/ 0 h 1461"/>
                  <a:gd name="T134" fmla="*/ 4127 w 4127"/>
                  <a:gd name="T135" fmla="*/ 1461 h 1461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127" h="1461">
                    <a:moveTo>
                      <a:pt x="0" y="1461"/>
                    </a:moveTo>
                    <a:lnTo>
                      <a:pt x="1077" y="0"/>
                    </a:lnTo>
                    <a:lnTo>
                      <a:pt x="1090" y="0"/>
                    </a:lnTo>
                    <a:lnTo>
                      <a:pt x="1129" y="0"/>
                    </a:lnTo>
                    <a:lnTo>
                      <a:pt x="1188" y="0"/>
                    </a:lnTo>
                    <a:lnTo>
                      <a:pt x="1266" y="0"/>
                    </a:lnTo>
                    <a:lnTo>
                      <a:pt x="1359" y="0"/>
                    </a:lnTo>
                    <a:lnTo>
                      <a:pt x="1463" y="0"/>
                    </a:lnTo>
                    <a:lnTo>
                      <a:pt x="1575" y="0"/>
                    </a:lnTo>
                    <a:lnTo>
                      <a:pt x="1693" y="0"/>
                    </a:lnTo>
                    <a:lnTo>
                      <a:pt x="1811" y="0"/>
                    </a:lnTo>
                    <a:lnTo>
                      <a:pt x="1929" y="0"/>
                    </a:lnTo>
                    <a:lnTo>
                      <a:pt x="2041" y="0"/>
                    </a:lnTo>
                    <a:lnTo>
                      <a:pt x="2145" y="0"/>
                    </a:lnTo>
                    <a:lnTo>
                      <a:pt x="2238" y="0"/>
                    </a:lnTo>
                    <a:lnTo>
                      <a:pt x="2316" y="0"/>
                    </a:lnTo>
                    <a:lnTo>
                      <a:pt x="2376" y="0"/>
                    </a:lnTo>
                    <a:lnTo>
                      <a:pt x="2415" y="0"/>
                    </a:lnTo>
                    <a:lnTo>
                      <a:pt x="2440" y="0"/>
                    </a:lnTo>
                    <a:lnTo>
                      <a:pt x="2463" y="2"/>
                    </a:lnTo>
                    <a:lnTo>
                      <a:pt x="2482" y="5"/>
                    </a:lnTo>
                    <a:lnTo>
                      <a:pt x="2498" y="9"/>
                    </a:lnTo>
                    <a:lnTo>
                      <a:pt x="2505" y="13"/>
                    </a:lnTo>
                    <a:lnTo>
                      <a:pt x="2511" y="16"/>
                    </a:lnTo>
                    <a:lnTo>
                      <a:pt x="2516" y="19"/>
                    </a:lnTo>
                    <a:lnTo>
                      <a:pt x="2522" y="22"/>
                    </a:lnTo>
                    <a:lnTo>
                      <a:pt x="2526" y="26"/>
                    </a:lnTo>
                    <a:lnTo>
                      <a:pt x="2529" y="30"/>
                    </a:lnTo>
                    <a:lnTo>
                      <a:pt x="2531" y="35"/>
                    </a:lnTo>
                    <a:lnTo>
                      <a:pt x="2533" y="40"/>
                    </a:lnTo>
                    <a:lnTo>
                      <a:pt x="2535" y="45"/>
                    </a:lnTo>
                    <a:lnTo>
                      <a:pt x="2535" y="50"/>
                    </a:lnTo>
                    <a:lnTo>
                      <a:pt x="2535" y="56"/>
                    </a:lnTo>
                    <a:lnTo>
                      <a:pt x="2535" y="62"/>
                    </a:lnTo>
                    <a:lnTo>
                      <a:pt x="2532" y="74"/>
                    </a:lnTo>
                    <a:lnTo>
                      <a:pt x="2528" y="88"/>
                    </a:lnTo>
                    <a:lnTo>
                      <a:pt x="2521" y="103"/>
                    </a:lnTo>
                    <a:lnTo>
                      <a:pt x="2511" y="118"/>
                    </a:lnTo>
                    <a:lnTo>
                      <a:pt x="2501" y="135"/>
                    </a:lnTo>
                    <a:lnTo>
                      <a:pt x="2488" y="153"/>
                    </a:lnTo>
                    <a:lnTo>
                      <a:pt x="2458" y="194"/>
                    </a:lnTo>
                    <a:lnTo>
                      <a:pt x="2425" y="239"/>
                    </a:lnTo>
                    <a:lnTo>
                      <a:pt x="2389" y="288"/>
                    </a:lnTo>
                    <a:lnTo>
                      <a:pt x="2352" y="338"/>
                    </a:lnTo>
                    <a:lnTo>
                      <a:pt x="2315" y="389"/>
                    </a:lnTo>
                    <a:lnTo>
                      <a:pt x="2279" y="438"/>
                    </a:lnTo>
                    <a:lnTo>
                      <a:pt x="2246" y="483"/>
                    </a:lnTo>
                    <a:lnTo>
                      <a:pt x="2215" y="524"/>
                    </a:lnTo>
                    <a:lnTo>
                      <a:pt x="2199" y="545"/>
                    </a:lnTo>
                    <a:lnTo>
                      <a:pt x="2186" y="568"/>
                    </a:lnTo>
                    <a:lnTo>
                      <a:pt x="2181" y="580"/>
                    </a:lnTo>
                    <a:lnTo>
                      <a:pt x="2176" y="592"/>
                    </a:lnTo>
                    <a:lnTo>
                      <a:pt x="2175" y="598"/>
                    </a:lnTo>
                    <a:lnTo>
                      <a:pt x="2175" y="603"/>
                    </a:lnTo>
                    <a:lnTo>
                      <a:pt x="2175" y="610"/>
                    </a:lnTo>
                    <a:lnTo>
                      <a:pt x="2176" y="615"/>
                    </a:lnTo>
                    <a:lnTo>
                      <a:pt x="2177" y="621"/>
                    </a:lnTo>
                    <a:lnTo>
                      <a:pt x="2180" y="626"/>
                    </a:lnTo>
                    <a:lnTo>
                      <a:pt x="2184" y="632"/>
                    </a:lnTo>
                    <a:lnTo>
                      <a:pt x="2188" y="636"/>
                    </a:lnTo>
                    <a:lnTo>
                      <a:pt x="2193" y="641"/>
                    </a:lnTo>
                    <a:lnTo>
                      <a:pt x="2199" y="645"/>
                    </a:lnTo>
                    <a:lnTo>
                      <a:pt x="2207" y="649"/>
                    </a:lnTo>
                    <a:lnTo>
                      <a:pt x="2215" y="652"/>
                    </a:lnTo>
                    <a:lnTo>
                      <a:pt x="2226" y="657"/>
                    </a:lnTo>
                    <a:lnTo>
                      <a:pt x="2237" y="659"/>
                    </a:lnTo>
                    <a:lnTo>
                      <a:pt x="2250" y="662"/>
                    </a:lnTo>
                    <a:lnTo>
                      <a:pt x="2263" y="664"/>
                    </a:lnTo>
                    <a:lnTo>
                      <a:pt x="2279" y="666"/>
                    </a:lnTo>
                    <a:lnTo>
                      <a:pt x="2296" y="667"/>
                    </a:lnTo>
                    <a:lnTo>
                      <a:pt x="2315" y="668"/>
                    </a:lnTo>
                    <a:lnTo>
                      <a:pt x="2336" y="668"/>
                    </a:lnTo>
                    <a:lnTo>
                      <a:pt x="2396" y="668"/>
                    </a:lnTo>
                    <a:lnTo>
                      <a:pt x="2482" y="668"/>
                    </a:lnTo>
                    <a:lnTo>
                      <a:pt x="2590" y="668"/>
                    </a:lnTo>
                    <a:lnTo>
                      <a:pt x="2717" y="668"/>
                    </a:lnTo>
                    <a:lnTo>
                      <a:pt x="2857" y="668"/>
                    </a:lnTo>
                    <a:lnTo>
                      <a:pt x="3007" y="668"/>
                    </a:lnTo>
                    <a:lnTo>
                      <a:pt x="3164" y="668"/>
                    </a:lnTo>
                    <a:lnTo>
                      <a:pt x="3321" y="668"/>
                    </a:lnTo>
                    <a:lnTo>
                      <a:pt x="3475" y="668"/>
                    </a:lnTo>
                    <a:lnTo>
                      <a:pt x="3623" y="668"/>
                    </a:lnTo>
                    <a:lnTo>
                      <a:pt x="3760" y="668"/>
                    </a:lnTo>
                    <a:lnTo>
                      <a:pt x="3880" y="668"/>
                    </a:lnTo>
                    <a:lnTo>
                      <a:pt x="3982" y="668"/>
                    </a:lnTo>
                    <a:lnTo>
                      <a:pt x="4060" y="668"/>
                    </a:lnTo>
                    <a:lnTo>
                      <a:pt x="4109" y="668"/>
                    </a:lnTo>
                    <a:lnTo>
                      <a:pt x="4127" y="668"/>
                    </a:lnTo>
                    <a:lnTo>
                      <a:pt x="4094" y="710"/>
                    </a:lnTo>
                    <a:lnTo>
                      <a:pt x="4055" y="760"/>
                    </a:lnTo>
                    <a:lnTo>
                      <a:pt x="4032" y="789"/>
                    </a:lnTo>
                    <a:lnTo>
                      <a:pt x="4007" y="817"/>
                    </a:lnTo>
                    <a:lnTo>
                      <a:pt x="3980" y="847"/>
                    </a:lnTo>
                    <a:lnTo>
                      <a:pt x="3952" y="878"/>
                    </a:lnTo>
                    <a:lnTo>
                      <a:pt x="3920" y="910"/>
                    </a:lnTo>
                    <a:lnTo>
                      <a:pt x="3888" y="943"/>
                    </a:lnTo>
                    <a:lnTo>
                      <a:pt x="3852" y="975"/>
                    </a:lnTo>
                    <a:lnTo>
                      <a:pt x="3815" y="1009"/>
                    </a:lnTo>
                    <a:lnTo>
                      <a:pt x="3776" y="1042"/>
                    </a:lnTo>
                    <a:lnTo>
                      <a:pt x="3736" y="1076"/>
                    </a:lnTo>
                    <a:lnTo>
                      <a:pt x="3691" y="1108"/>
                    </a:lnTo>
                    <a:lnTo>
                      <a:pt x="3646" y="1141"/>
                    </a:lnTo>
                    <a:lnTo>
                      <a:pt x="3599" y="1173"/>
                    </a:lnTo>
                    <a:lnTo>
                      <a:pt x="3549" y="1204"/>
                    </a:lnTo>
                    <a:lnTo>
                      <a:pt x="3497" y="1235"/>
                    </a:lnTo>
                    <a:lnTo>
                      <a:pt x="3444" y="1264"/>
                    </a:lnTo>
                    <a:lnTo>
                      <a:pt x="3387" y="1291"/>
                    </a:lnTo>
                    <a:lnTo>
                      <a:pt x="3329" y="1318"/>
                    </a:lnTo>
                    <a:lnTo>
                      <a:pt x="3269" y="1343"/>
                    </a:lnTo>
                    <a:lnTo>
                      <a:pt x="3207" y="1366"/>
                    </a:lnTo>
                    <a:lnTo>
                      <a:pt x="3142" y="1387"/>
                    </a:lnTo>
                    <a:lnTo>
                      <a:pt x="3075" y="1405"/>
                    </a:lnTo>
                    <a:lnTo>
                      <a:pt x="3005" y="1421"/>
                    </a:lnTo>
                    <a:lnTo>
                      <a:pt x="2934" y="1435"/>
                    </a:lnTo>
                    <a:lnTo>
                      <a:pt x="2860" y="1446"/>
                    </a:lnTo>
                    <a:lnTo>
                      <a:pt x="2785" y="1454"/>
                    </a:lnTo>
                    <a:lnTo>
                      <a:pt x="2707" y="1459"/>
                    </a:lnTo>
                    <a:lnTo>
                      <a:pt x="2627" y="1461"/>
                    </a:lnTo>
                    <a:lnTo>
                      <a:pt x="2482" y="1461"/>
                    </a:lnTo>
                    <a:lnTo>
                      <a:pt x="2312" y="1461"/>
                    </a:lnTo>
                    <a:lnTo>
                      <a:pt x="2124" y="1461"/>
                    </a:lnTo>
                    <a:lnTo>
                      <a:pt x="1920" y="1461"/>
                    </a:lnTo>
                    <a:lnTo>
                      <a:pt x="1706" y="1461"/>
                    </a:lnTo>
                    <a:lnTo>
                      <a:pt x="1487" y="1461"/>
                    </a:lnTo>
                    <a:lnTo>
                      <a:pt x="1267" y="1461"/>
                    </a:lnTo>
                    <a:lnTo>
                      <a:pt x="1049" y="1461"/>
                    </a:lnTo>
                    <a:lnTo>
                      <a:pt x="842" y="1461"/>
                    </a:lnTo>
                    <a:lnTo>
                      <a:pt x="646" y="1461"/>
                    </a:lnTo>
                    <a:lnTo>
                      <a:pt x="467" y="1461"/>
                    </a:lnTo>
                    <a:lnTo>
                      <a:pt x="312" y="1461"/>
                    </a:lnTo>
                    <a:lnTo>
                      <a:pt x="182" y="1461"/>
                    </a:lnTo>
                    <a:lnTo>
                      <a:pt x="84" y="1461"/>
                    </a:lnTo>
                    <a:lnTo>
                      <a:pt x="21" y="1461"/>
                    </a:lnTo>
                    <a:lnTo>
                      <a:pt x="0" y="1461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Freeform 23"/>
              <p:cNvSpPr>
                <a:spLocks/>
              </p:cNvSpPr>
              <p:nvPr/>
            </p:nvSpPr>
            <p:spPr bwMode="gray">
              <a:xfrm>
                <a:off x="1140" y="1517"/>
                <a:ext cx="296" cy="111"/>
              </a:xfrm>
              <a:custGeom>
                <a:avLst/>
                <a:gdLst>
                  <a:gd name="T0" fmla="*/ 0 w 2126"/>
                  <a:gd name="T1" fmla="*/ 0 h 793"/>
                  <a:gd name="T2" fmla="*/ 0 w 2126"/>
                  <a:gd name="T3" fmla="*/ 0 h 793"/>
                  <a:gd name="T4" fmla="*/ 0 w 2126"/>
                  <a:gd name="T5" fmla="*/ 0 h 793"/>
                  <a:gd name="T6" fmla="*/ 0 w 2126"/>
                  <a:gd name="T7" fmla="*/ 0 h 793"/>
                  <a:gd name="T8" fmla="*/ 0 w 2126"/>
                  <a:gd name="T9" fmla="*/ 0 h 793"/>
                  <a:gd name="T10" fmla="*/ 0 w 2126"/>
                  <a:gd name="T11" fmla="*/ 0 h 793"/>
                  <a:gd name="T12" fmla="*/ 0 w 2126"/>
                  <a:gd name="T13" fmla="*/ 0 h 793"/>
                  <a:gd name="T14" fmla="*/ 0 w 2126"/>
                  <a:gd name="T15" fmla="*/ 0 h 793"/>
                  <a:gd name="T16" fmla="*/ 0 w 2126"/>
                  <a:gd name="T17" fmla="*/ 0 h 793"/>
                  <a:gd name="T18" fmla="*/ 0 w 2126"/>
                  <a:gd name="T19" fmla="*/ 0 h 793"/>
                  <a:gd name="T20" fmla="*/ 0 w 2126"/>
                  <a:gd name="T21" fmla="*/ 0 h 793"/>
                  <a:gd name="T22" fmla="*/ 0 w 2126"/>
                  <a:gd name="T23" fmla="*/ 0 h 793"/>
                  <a:gd name="T24" fmla="*/ 0 w 2126"/>
                  <a:gd name="T25" fmla="*/ 0 h 793"/>
                  <a:gd name="T26" fmla="*/ 0 w 2126"/>
                  <a:gd name="T27" fmla="*/ 0 h 793"/>
                  <a:gd name="T28" fmla="*/ 0 w 2126"/>
                  <a:gd name="T29" fmla="*/ 0 h 793"/>
                  <a:gd name="T30" fmla="*/ 0 w 2126"/>
                  <a:gd name="T31" fmla="*/ 0 h 793"/>
                  <a:gd name="T32" fmla="*/ 0 w 2126"/>
                  <a:gd name="T33" fmla="*/ 0 h 793"/>
                  <a:gd name="T34" fmla="*/ 0 w 2126"/>
                  <a:gd name="T35" fmla="*/ 0 h 793"/>
                  <a:gd name="T36" fmla="*/ 0 w 2126"/>
                  <a:gd name="T37" fmla="*/ 0 h 793"/>
                  <a:gd name="T38" fmla="*/ 0 w 2126"/>
                  <a:gd name="T39" fmla="*/ 0 h 79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126"/>
                  <a:gd name="T61" fmla="*/ 0 h 793"/>
                  <a:gd name="T62" fmla="*/ 2126 w 2126"/>
                  <a:gd name="T63" fmla="*/ 793 h 79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126" h="793">
                    <a:moveTo>
                      <a:pt x="2126" y="0"/>
                    </a:moveTo>
                    <a:lnTo>
                      <a:pt x="1541" y="793"/>
                    </a:lnTo>
                    <a:lnTo>
                      <a:pt x="0" y="793"/>
                    </a:lnTo>
                    <a:lnTo>
                      <a:pt x="7" y="784"/>
                    </a:lnTo>
                    <a:lnTo>
                      <a:pt x="25" y="758"/>
                    </a:lnTo>
                    <a:lnTo>
                      <a:pt x="55" y="720"/>
                    </a:lnTo>
                    <a:lnTo>
                      <a:pt x="91" y="669"/>
                    </a:lnTo>
                    <a:lnTo>
                      <a:pt x="136" y="609"/>
                    </a:lnTo>
                    <a:lnTo>
                      <a:pt x="186" y="542"/>
                    </a:lnTo>
                    <a:lnTo>
                      <a:pt x="238" y="470"/>
                    </a:lnTo>
                    <a:lnTo>
                      <a:pt x="293" y="396"/>
                    </a:lnTo>
                    <a:lnTo>
                      <a:pt x="347" y="323"/>
                    </a:lnTo>
                    <a:lnTo>
                      <a:pt x="400" y="251"/>
                    </a:lnTo>
                    <a:lnTo>
                      <a:pt x="449" y="183"/>
                    </a:lnTo>
                    <a:lnTo>
                      <a:pt x="493" y="124"/>
                    </a:lnTo>
                    <a:lnTo>
                      <a:pt x="531" y="74"/>
                    </a:lnTo>
                    <a:lnTo>
                      <a:pt x="559" y="34"/>
                    </a:lnTo>
                    <a:lnTo>
                      <a:pt x="578" y="9"/>
                    </a:lnTo>
                    <a:lnTo>
                      <a:pt x="584" y="0"/>
                    </a:lnTo>
                    <a:lnTo>
                      <a:pt x="212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4" name="Freeform 24"/>
              <p:cNvSpPr>
                <a:spLocks/>
              </p:cNvSpPr>
              <p:nvPr/>
            </p:nvSpPr>
            <p:spPr bwMode="gray">
              <a:xfrm>
                <a:off x="1238" y="1297"/>
                <a:ext cx="671" cy="195"/>
              </a:xfrm>
              <a:custGeom>
                <a:avLst/>
                <a:gdLst>
                  <a:gd name="T0" fmla="*/ 0 w 4799"/>
                  <a:gd name="T1" fmla="*/ 0 h 1398"/>
                  <a:gd name="T2" fmla="*/ 0 w 4799"/>
                  <a:gd name="T3" fmla="*/ 0 h 1398"/>
                  <a:gd name="T4" fmla="*/ 0 w 4799"/>
                  <a:gd name="T5" fmla="*/ 0 h 1398"/>
                  <a:gd name="T6" fmla="*/ 0 w 4799"/>
                  <a:gd name="T7" fmla="*/ 0 h 1398"/>
                  <a:gd name="T8" fmla="*/ 0 w 4799"/>
                  <a:gd name="T9" fmla="*/ 0 h 1398"/>
                  <a:gd name="T10" fmla="*/ 0 w 4799"/>
                  <a:gd name="T11" fmla="*/ 0 h 1398"/>
                  <a:gd name="T12" fmla="*/ 0 w 4799"/>
                  <a:gd name="T13" fmla="*/ 0 h 1398"/>
                  <a:gd name="T14" fmla="*/ 0 w 4799"/>
                  <a:gd name="T15" fmla="*/ 0 h 1398"/>
                  <a:gd name="T16" fmla="*/ 0 w 4799"/>
                  <a:gd name="T17" fmla="*/ 0 h 139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799"/>
                  <a:gd name="T28" fmla="*/ 0 h 1398"/>
                  <a:gd name="T29" fmla="*/ 4799 w 4799"/>
                  <a:gd name="T30" fmla="*/ 1398 h 139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799" h="1398">
                    <a:moveTo>
                      <a:pt x="3769" y="1398"/>
                    </a:moveTo>
                    <a:lnTo>
                      <a:pt x="0" y="1398"/>
                    </a:lnTo>
                    <a:lnTo>
                      <a:pt x="1030" y="0"/>
                    </a:lnTo>
                    <a:lnTo>
                      <a:pt x="2570" y="0"/>
                    </a:lnTo>
                    <a:lnTo>
                      <a:pt x="1980" y="801"/>
                    </a:lnTo>
                    <a:lnTo>
                      <a:pt x="2668" y="801"/>
                    </a:lnTo>
                    <a:lnTo>
                      <a:pt x="3259" y="0"/>
                    </a:lnTo>
                    <a:lnTo>
                      <a:pt x="4799" y="0"/>
                    </a:lnTo>
                    <a:lnTo>
                      <a:pt x="3769" y="1398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Freeform 25"/>
              <p:cNvSpPr>
                <a:spLocks/>
              </p:cNvSpPr>
              <p:nvPr/>
            </p:nvSpPr>
            <p:spPr bwMode="gray">
              <a:xfrm>
                <a:off x="1450" y="1517"/>
                <a:ext cx="298" cy="111"/>
              </a:xfrm>
              <a:custGeom>
                <a:avLst/>
                <a:gdLst>
                  <a:gd name="T0" fmla="*/ 0 w 2124"/>
                  <a:gd name="T1" fmla="*/ 0 h 793"/>
                  <a:gd name="T2" fmla="*/ 0 w 2124"/>
                  <a:gd name="T3" fmla="*/ 0 h 793"/>
                  <a:gd name="T4" fmla="*/ 0 w 2124"/>
                  <a:gd name="T5" fmla="*/ 0 h 793"/>
                  <a:gd name="T6" fmla="*/ 0 w 2124"/>
                  <a:gd name="T7" fmla="*/ 0 h 793"/>
                  <a:gd name="T8" fmla="*/ 0 w 2124"/>
                  <a:gd name="T9" fmla="*/ 0 h 793"/>
                  <a:gd name="T10" fmla="*/ 0 w 2124"/>
                  <a:gd name="T11" fmla="*/ 0 h 793"/>
                  <a:gd name="T12" fmla="*/ 0 w 2124"/>
                  <a:gd name="T13" fmla="*/ 0 h 793"/>
                  <a:gd name="T14" fmla="*/ 0 w 2124"/>
                  <a:gd name="T15" fmla="*/ 0 h 793"/>
                  <a:gd name="T16" fmla="*/ 0 w 2124"/>
                  <a:gd name="T17" fmla="*/ 0 h 793"/>
                  <a:gd name="T18" fmla="*/ 0 w 2124"/>
                  <a:gd name="T19" fmla="*/ 0 h 793"/>
                  <a:gd name="T20" fmla="*/ 0 w 2124"/>
                  <a:gd name="T21" fmla="*/ 0 h 793"/>
                  <a:gd name="T22" fmla="*/ 0 w 2124"/>
                  <a:gd name="T23" fmla="*/ 0 h 793"/>
                  <a:gd name="T24" fmla="*/ 0 w 2124"/>
                  <a:gd name="T25" fmla="*/ 0 h 793"/>
                  <a:gd name="T26" fmla="*/ 0 w 2124"/>
                  <a:gd name="T27" fmla="*/ 0 h 793"/>
                  <a:gd name="T28" fmla="*/ 0 w 2124"/>
                  <a:gd name="T29" fmla="*/ 0 h 793"/>
                  <a:gd name="T30" fmla="*/ 0 w 2124"/>
                  <a:gd name="T31" fmla="*/ 0 h 793"/>
                  <a:gd name="T32" fmla="*/ 0 w 2124"/>
                  <a:gd name="T33" fmla="*/ 0 h 793"/>
                  <a:gd name="T34" fmla="*/ 0 w 2124"/>
                  <a:gd name="T35" fmla="*/ 0 h 793"/>
                  <a:gd name="T36" fmla="*/ 0 w 2124"/>
                  <a:gd name="T37" fmla="*/ 0 h 793"/>
                  <a:gd name="T38" fmla="*/ 0 w 2124"/>
                  <a:gd name="T39" fmla="*/ 0 h 79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124"/>
                  <a:gd name="T61" fmla="*/ 0 h 793"/>
                  <a:gd name="T62" fmla="*/ 2124 w 2124"/>
                  <a:gd name="T63" fmla="*/ 793 h 79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124" h="793">
                    <a:moveTo>
                      <a:pt x="2124" y="0"/>
                    </a:moveTo>
                    <a:lnTo>
                      <a:pt x="1540" y="793"/>
                    </a:lnTo>
                    <a:lnTo>
                      <a:pt x="0" y="793"/>
                    </a:lnTo>
                    <a:lnTo>
                      <a:pt x="6" y="784"/>
                    </a:lnTo>
                    <a:lnTo>
                      <a:pt x="25" y="758"/>
                    </a:lnTo>
                    <a:lnTo>
                      <a:pt x="53" y="720"/>
                    </a:lnTo>
                    <a:lnTo>
                      <a:pt x="91" y="669"/>
                    </a:lnTo>
                    <a:lnTo>
                      <a:pt x="135" y="609"/>
                    </a:lnTo>
                    <a:lnTo>
                      <a:pt x="184" y="542"/>
                    </a:lnTo>
                    <a:lnTo>
                      <a:pt x="237" y="470"/>
                    </a:lnTo>
                    <a:lnTo>
                      <a:pt x="291" y="396"/>
                    </a:lnTo>
                    <a:lnTo>
                      <a:pt x="346" y="323"/>
                    </a:lnTo>
                    <a:lnTo>
                      <a:pt x="398" y="251"/>
                    </a:lnTo>
                    <a:lnTo>
                      <a:pt x="448" y="183"/>
                    </a:lnTo>
                    <a:lnTo>
                      <a:pt x="492" y="124"/>
                    </a:lnTo>
                    <a:lnTo>
                      <a:pt x="530" y="74"/>
                    </a:lnTo>
                    <a:lnTo>
                      <a:pt x="559" y="34"/>
                    </a:lnTo>
                    <a:lnTo>
                      <a:pt x="577" y="9"/>
                    </a:lnTo>
                    <a:lnTo>
                      <a:pt x="584" y="0"/>
                    </a:lnTo>
                    <a:lnTo>
                      <a:pt x="2124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Freeform 26"/>
              <p:cNvSpPr>
                <a:spLocks/>
              </p:cNvSpPr>
              <p:nvPr/>
            </p:nvSpPr>
            <p:spPr bwMode="gray">
              <a:xfrm>
                <a:off x="267" y="1560"/>
                <a:ext cx="316" cy="25"/>
              </a:xfrm>
              <a:custGeom>
                <a:avLst/>
                <a:gdLst>
                  <a:gd name="T0" fmla="*/ 0 w 2271"/>
                  <a:gd name="T1" fmla="*/ 0 h 169"/>
                  <a:gd name="T2" fmla="*/ 0 w 2271"/>
                  <a:gd name="T3" fmla="*/ 0 h 169"/>
                  <a:gd name="T4" fmla="*/ 0 w 2271"/>
                  <a:gd name="T5" fmla="*/ 0 h 169"/>
                  <a:gd name="T6" fmla="*/ 0 w 2271"/>
                  <a:gd name="T7" fmla="*/ 0 h 169"/>
                  <a:gd name="T8" fmla="*/ 0 w 2271"/>
                  <a:gd name="T9" fmla="*/ 0 h 1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71"/>
                  <a:gd name="T16" fmla="*/ 0 h 169"/>
                  <a:gd name="T17" fmla="*/ 2271 w 2271"/>
                  <a:gd name="T18" fmla="*/ 169 h 1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71" h="169">
                    <a:moveTo>
                      <a:pt x="0" y="0"/>
                    </a:moveTo>
                    <a:lnTo>
                      <a:pt x="2271" y="0"/>
                    </a:lnTo>
                    <a:lnTo>
                      <a:pt x="2147" y="169"/>
                    </a:lnTo>
                    <a:lnTo>
                      <a:pt x="0" y="1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27"/>
              <p:cNvSpPr>
                <a:spLocks/>
              </p:cNvSpPr>
              <p:nvPr/>
            </p:nvSpPr>
            <p:spPr bwMode="gray">
              <a:xfrm>
                <a:off x="267" y="1517"/>
                <a:ext cx="349" cy="25"/>
              </a:xfrm>
              <a:custGeom>
                <a:avLst/>
                <a:gdLst>
                  <a:gd name="T0" fmla="*/ 0 w 2501"/>
                  <a:gd name="T1" fmla="*/ 0 h 169"/>
                  <a:gd name="T2" fmla="*/ 0 w 2501"/>
                  <a:gd name="T3" fmla="*/ 0 h 169"/>
                  <a:gd name="T4" fmla="*/ 0 w 2501"/>
                  <a:gd name="T5" fmla="*/ 0 h 169"/>
                  <a:gd name="T6" fmla="*/ 0 w 2501"/>
                  <a:gd name="T7" fmla="*/ 0 h 169"/>
                  <a:gd name="T8" fmla="*/ 0 w 2501"/>
                  <a:gd name="T9" fmla="*/ 0 h 1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01"/>
                  <a:gd name="T16" fmla="*/ 0 h 169"/>
                  <a:gd name="T17" fmla="*/ 2501 w 2501"/>
                  <a:gd name="T18" fmla="*/ 169 h 1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01" h="169">
                    <a:moveTo>
                      <a:pt x="0" y="0"/>
                    </a:moveTo>
                    <a:lnTo>
                      <a:pt x="2501" y="0"/>
                    </a:lnTo>
                    <a:lnTo>
                      <a:pt x="2377" y="169"/>
                    </a:lnTo>
                    <a:lnTo>
                      <a:pt x="0" y="1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Freeform 28"/>
              <p:cNvSpPr>
                <a:spLocks/>
              </p:cNvSpPr>
              <p:nvPr/>
            </p:nvSpPr>
            <p:spPr bwMode="gray">
              <a:xfrm>
                <a:off x="267" y="1605"/>
                <a:ext cx="285" cy="23"/>
              </a:xfrm>
              <a:custGeom>
                <a:avLst/>
                <a:gdLst>
                  <a:gd name="T0" fmla="*/ 0 w 2040"/>
                  <a:gd name="T1" fmla="*/ 0 h 168"/>
                  <a:gd name="T2" fmla="*/ 0 w 2040"/>
                  <a:gd name="T3" fmla="*/ 0 h 168"/>
                  <a:gd name="T4" fmla="*/ 0 w 2040"/>
                  <a:gd name="T5" fmla="*/ 0 h 168"/>
                  <a:gd name="T6" fmla="*/ 0 w 2040"/>
                  <a:gd name="T7" fmla="*/ 0 h 168"/>
                  <a:gd name="T8" fmla="*/ 0 w 2040"/>
                  <a:gd name="T9" fmla="*/ 0 h 1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40"/>
                  <a:gd name="T16" fmla="*/ 0 h 168"/>
                  <a:gd name="T17" fmla="*/ 2040 w 2040"/>
                  <a:gd name="T18" fmla="*/ 168 h 1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40" h="168">
                    <a:moveTo>
                      <a:pt x="0" y="0"/>
                    </a:moveTo>
                    <a:lnTo>
                      <a:pt x="2040" y="0"/>
                    </a:lnTo>
                    <a:lnTo>
                      <a:pt x="1916" y="168"/>
                    </a:lnTo>
                    <a:lnTo>
                      <a:pt x="0" y="16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Freeform 29"/>
              <p:cNvSpPr>
                <a:spLocks/>
              </p:cNvSpPr>
              <p:nvPr/>
            </p:nvSpPr>
            <p:spPr bwMode="gray">
              <a:xfrm>
                <a:off x="2296" y="1560"/>
                <a:ext cx="316" cy="25"/>
              </a:xfrm>
              <a:custGeom>
                <a:avLst/>
                <a:gdLst>
                  <a:gd name="T0" fmla="*/ 0 w 2261"/>
                  <a:gd name="T1" fmla="*/ 0 h 169"/>
                  <a:gd name="T2" fmla="*/ 0 w 2261"/>
                  <a:gd name="T3" fmla="*/ 0 h 169"/>
                  <a:gd name="T4" fmla="*/ 0 w 2261"/>
                  <a:gd name="T5" fmla="*/ 0 h 169"/>
                  <a:gd name="T6" fmla="*/ 0 w 2261"/>
                  <a:gd name="T7" fmla="*/ 0 h 169"/>
                  <a:gd name="T8" fmla="*/ 0 w 2261"/>
                  <a:gd name="T9" fmla="*/ 0 h 1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61"/>
                  <a:gd name="T16" fmla="*/ 0 h 169"/>
                  <a:gd name="T17" fmla="*/ 2261 w 2261"/>
                  <a:gd name="T18" fmla="*/ 169 h 1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61" h="169">
                    <a:moveTo>
                      <a:pt x="2261" y="169"/>
                    </a:moveTo>
                    <a:lnTo>
                      <a:pt x="0" y="169"/>
                    </a:lnTo>
                    <a:lnTo>
                      <a:pt x="124" y="0"/>
                    </a:lnTo>
                    <a:lnTo>
                      <a:pt x="2261" y="0"/>
                    </a:lnTo>
                    <a:lnTo>
                      <a:pt x="2261" y="169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0" name="Freeform 30"/>
              <p:cNvSpPr>
                <a:spLocks/>
              </p:cNvSpPr>
              <p:nvPr/>
            </p:nvSpPr>
            <p:spPr bwMode="gray">
              <a:xfrm>
                <a:off x="2265" y="1605"/>
                <a:ext cx="347" cy="23"/>
              </a:xfrm>
              <a:custGeom>
                <a:avLst/>
                <a:gdLst>
                  <a:gd name="T0" fmla="*/ 0 w 2492"/>
                  <a:gd name="T1" fmla="*/ 0 h 168"/>
                  <a:gd name="T2" fmla="*/ 0 w 2492"/>
                  <a:gd name="T3" fmla="*/ 0 h 168"/>
                  <a:gd name="T4" fmla="*/ 0 w 2492"/>
                  <a:gd name="T5" fmla="*/ 0 h 168"/>
                  <a:gd name="T6" fmla="*/ 0 w 2492"/>
                  <a:gd name="T7" fmla="*/ 0 h 168"/>
                  <a:gd name="T8" fmla="*/ 0 w 2492"/>
                  <a:gd name="T9" fmla="*/ 0 h 1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92"/>
                  <a:gd name="T16" fmla="*/ 0 h 168"/>
                  <a:gd name="T17" fmla="*/ 2492 w 2492"/>
                  <a:gd name="T18" fmla="*/ 168 h 1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92" h="168">
                    <a:moveTo>
                      <a:pt x="2492" y="168"/>
                    </a:moveTo>
                    <a:lnTo>
                      <a:pt x="0" y="168"/>
                    </a:lnTo>
                    <a:lnTo>
                      <a:pt x="124" y="0"/>
                    </a:lnTo>
                    <a:lnTo>
                      <a:pt x="2492" y="0"/>
                    </a:lnTo>
                    <a:lnTo>
                      <a:pt x="2492" y="168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Freeform 31"/>
              <p:cNvSpPr>
                <a:spLocks/>
              </p:cNvSpPr>
              <p:nvPr/>
            </p:nvSpPr>
            <p:spPr bwMode="gray">
              <a:xfrm>
                <a:off x="2329" y="1517"/>
                <a:ext cx="283" cy="25"/>
              </a:xfrm>
              <a:custGeom>
                <a:avLst/>
                <a:gdLst>
                  <a:gd name="T0" fmla="*/ 0 w 2031"/>
                  <a:gd name="T1" fmla="*/ 0 h 169"/>
                  <a:gd name="T2" fmla="*/ 0 w 2031"/>
                  <a:gd name="T3" fmla="*/ 0 h 169"/>
                  <a:gd name="T4" fmla="*/ 0 w 2031"/>
                  <a:gd name="T5" fmla="*/ 0 h 169"/>
                  <a:gd name="T6" fmla="*/ 0 w 2031"/>
                  <a:gd name="T7" fmla="*/ 0 h 169"/>
                  <a:gd name="T8" fmla="*/ 0 w 2031"/>
                  <a:gd name="T9" fmla="*/ 0 h 1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31"/>
                  <a:gd name="T16" fmla="*/ 0 h 169"/>
                  <a:gd name="T17" fmla="*/ 2031 w 2031"/>
                  <a:gd name="T18" fmla="*/ 169 h 1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31" h="169">
                    <a:moveTo>
                      <a:pt x="123" y="0"/>
                    </a:moveTo>
                    <a:lnTo>
                      <a:pt x="2031" y="0"/>
                    </a:lnTo>
                    <a:lnTo>
                      <a:pt x="2031" y="169"/>
                    </a:lnTo>
                    <a:lnTo>
                      <a:pt x="0" y="169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" name="Freeform 32"/>
              <p:cNvSpPr>
                <a:spLocks/>
              </p:cNvSpPr>
              <p:nvPr/>
            </p:nvSpPr>
            <p:spPr bwMode="gray">
              <a:xfrm>
                <a:off x="1836" y="1297"/>
                <a:ext cx="372" cy="195"/>
              </a:xfrm>
              <a:custGeom>
                <a:avLst/>
                <a:gdLst>
                  <a:gd name="T0" fmla="*/ 0 w 2664"/>
                  <a:gd name="T1" fmla="*/ 0 h 1398"/>
                  <a:gd name="T2" fmla="*/ 0 w 2664"/>
                  <a:gd name="T3" fmla="*/ 0 h 1398"/>
                  <a:gd name="T4" fmla="*/ 0 w 2664"/>
                  <a:gd name="T5" fmla="*/ 0 h 1398"/>
                  <a:gd name="T6" fmla="*/ 0 w 2664"/>
                  <a:gd name="T7" fmla="*/ 0 h 1398"/>
                  <a:gd name="T8" fmla="*/ 0 w 2664"/>
                  <a:gd name="T9" fmla="*/ 0 h 1398"/>
                  <a:gd name="T10" fmla="*/ 0 w 2664"/>
                  <a:gd name="T11" fmla="*/ 0 h 1398"/>
                  <a:gd name="T12" fmla="*/ 0 w 2664"/>
                  <a:gd name="T13" fmla="*/ 0 h 1398"/>
                  <a:gd name="T14" fmla="*/ 0 w 2664"/>
                  <a:gd name="T15" fmla="*/ 0 h 1398"/>
                  <a:gd name="T16" fmla="*/ 0 w 2664"/>
                  <a:gd name="T17" fmla="*/ 0 h 1398"/>
                  <a:gd name="T18" fmla="*/ 0 w 2664"/>
                  <a:gd name="T19" fmla="*/ 0 h 1398"/>
                  <a:gd name="T20" fmla="*/ 0 w 2664"/>
                  <a:gd name="T21" fmla="*/ 0 h 1398"/>
                  <a:gd name="T22" fmla="*/ 0 w 2664"/>
                  <a:gd name="T23" fmla="*/ 0 h 1398"/>
                  <a:gd name="T24" fmla="*/ 0 w 2664"/>
                  <a:gd name="T25" fmla="*/ 0 h 1398"/>
                  <a:gd name="T26" fmla="*/ 0 w 2664"/>
                  <a:gd name="T27" fmla="*/ 0 h 1398"/>
                  <a:gd name="T28" fmla="*/ 0 w 2664"/>
                  <a:gd name="T29" fmla="*/ 0 h 1398"/>
                  <a:gd name="T30" fmla="*/ 0 w 2664"/>
                  <a:gd name="T31" fmla="*/ 0 h 1398"/>
                  <a:gd name="T32" fmla="*/ 0 w 2664"/>
                  <a:gd name="T33" fmla="*/ 0 h 1398"/>
                  <a:gd name="T34" fmla="*/ 0 w 2664"/>
                  <a:gd name="T35" fmla="*/ 0 h 1398"/>
                  <a:gd name="T36" fmla="*/ 0 w 2664"/>
                  <a:gd name="T37" fmla="*/ 0 h 1398"/>
                  <a:gd name="T38" fmla="*/ 0 w 2664"/>
                  <a:gd name="T39" fmla="*/ 0 h 139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64"/>
                  <a:gd name="T61" fmla="*/ 0 h 1398"/>
                  <a:gd name="T62" fmla="*/ 2664 w 2664"/>
                  <a:gd name="T63" fmla="*/ 1398 h 139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64" h="1398">
                    <a:moveTo>
                      <a:pt x="2664" y="0"/>
                    </a:moveTo>
                    <a:lnTo>
                      <a:pt x="1633" y="1398"/>
                    </a:lnTo>
                    <a:lnTo>
                      <a:pt x="0" y="1398"/>
                    </a:lnTo>
                    <a:lnTo>
                      <a:pt x="13" y="1382"/>
                    </a:lnTo>
                    <a:lnTo>
                      <a:pt x="45" y="1337"/>
                    </a:lnTo>
                    <a:lnTo>
                      <a:pt x="96" y="1268"/>
                    </a:lnTo>
                    <a:lnTo>
                      <a:pt x="162" y="1179"/>
                    </a:lnTo>
                    <a:lnTo>
                      <a:pt x="239" y="1073"/>
                    </a:lnTo>
                    <a:lnTo>
                      <a:pt x="326" y="955"/>
                    </a:lnTo>
                    <a:lnTo>
                      <a:pt x="420" y="829"/>
                    </a:lnTo>
                    <a:lnTo>
                      <a:pt x="516" y="699"/>
                    </a:lnTo>
                    <a:lnTo>
                      <a:pt x="612" y="569"/>
                    </a:lnTo>
                    <a:lnTo>
                      <a:pt x="705" y="442"/>
                    </a:lnTo>
                    <a:lnTo>
                      <a:pt x="792" y="325"/>
                    </a:lnTo>
                    <a:lnTo>
                      <a:pt x="871" y="219"/>
                    </a:lnTo>
                    <a:lnTo>
                      <a:pt x="937" y="129"/>
                    </a:lnTo>
                    <a:lnTo>
                      <a:pt x="987" y="60"/>
                    </a:lnTo>
                    <a:lnTo>
                      <a:pt x="1020" y="16"/>
                    </a:lnTo>
                    <a:lnTo>
                      <a:pt x="1032" y="0"/>
                    </a:lnTo>
                    <a:lnTo>
                      <a:pt x="2664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" name="Freeform 33"/>
              <p:cNvSpPr>
                <a:spLocks/>
              </p:cNvSpPr>
              <p:nvPr/>
            </p:nvSpPr>
            <p:spPr bwMode="gray">
              <a:xfrm>
                <a:off x="1782" y="1517"/>
                <a:ext cx="524" cy="111"/>
              </a:xfrm>
              <a:custGeom>
                <a:avLst/>
                <a:gdLst>
                  <a:gd name="T0" fmla="*/ 0 w 3743"/>
                  <a:gd name="T1" fmla="*/ 0 h 793"/>
                  <a:gd name="T2" fmla="*/ 0 w 3743"/>
                  <a:gd name="T3" fmla="*/ 0 h 793"/>
                  <a:gd name="T4" fmla="*/ 0 w 3743"/>
                  <a:gd name="T5" fmla="*/ 0 h 793"/>
                  <a:gd name="T6" fmla="*/ 0 w 3743"/>
                  <a:gd name="T7" fmla="*/ 0 h 793"/>
                  <a:gd name="T8" fmla="*/ 0 w 3743"/>
                  <a:gd name="T9" fmla="*/ 0 h 793"/>
                  <a:gd name="T10" fmla="*/ 0 w 3743"/>
                  <a:gd name="T11" fmla="*/ 0 h 793"/>
                  <a:gd name="T12" fmla="*/ 0 w 3743"/>
                  <a:gd name="T13" fmla="*/ 0 h 793"/>
                  <a:gd name="T14" fmla="*/ 0 w 3743"/>
                  <a:gd name="T15" fmla="*/ 0 h 793"/>
                  <a:gd name="T16" fmla="*/ 0 w 3743"/>
                  <a:gd name="T17" fmla="*/ 0 h 793"/>
                  <a:gd name="T18" fmla="*/ 0 w 3743"/>
                  <a:gd name="T19" fmla="*/ 0 h 793"/>
                  <a:gd name="T20" fmla="*/ 0 w 3743"/>
                  <a:gd name="T21" fmla="*/ 0 h 793"/>
                  <a:gd name="T22" fmla="*/ 0 w 3743"/>
                  <a:gd name="T23" fmla="*/ 0 h 793"/>
                  <a:gd name="T24" fmla="*/ 0 w 3743"/>
                  <a:gd name="T25" fmla="*/ 0 h 793"/>
                  <a:gd name="T26" fmla="*/ 0 w 3743"/>
                  <a:gd name="T27" fmla="*/ 0 h 793"/>
                  <a:gd name="T28" fmla="*/ 0 w 3743"/>
                  <a:gd name="T29" fmla="*/ 0 h 793"/>
                  <a:gd name="T30" fmla="*/ 0 w 3743"/>
                  <a:gd name="T31" fmla="*/ 0 h 793"/>
                  <a:gd name="T32" fmla="*/ 0 w 3743"/>
                  <a:gd name="T33" fmla="*/ 0 h 793"/>
                  <a:gd name="T34" fmla="*/ 0 w 3743"/>
                  <a:gd name="T35" fmla="*/ 0 h 793"/>
                  <a:gd name="T36" fmla="*/ 0 w 3743"/>
                  <a:gd name="T37" fmla="*/ 0 h 793"/>
                  <a:gd name="T38" fmla="*/ 0 w 3743"/>
                  <a:gd name="T39" fmla="*/ 0 h 793"/>
                  <a:gd name="T40" fmla="*/ 0 w 3743"/>
                  <a:gd name="T41" fmla="*/ 0 h 793"/>
                  <a:gd name="T42" fmla="*/ 0 w 3743"/>
                  <a:gd name="T43" fmla="*/ 0 h 793"/>
                  <a:gd name="T44" fmla="*/ 0 w 3743"/>
                  <a:gd name="T45" fmla="*/ 0 h 793"/>
                  <a:gd name="T46" fmla="*/ 0 w 3743"/>
                  <a:gd name="T47" fmla="*/ 0 h 793"/>
                  <a:gd name="T48" fmla="*/ 0 w 3743"/>
                  <a:gd name="T49" fmla="*/ 0 h 793"/>
                  <a:gd name="T50" fmla="*/ 0 w 3743"/>
                  <a:gd name="T51" fmla="*/ 0 h 793"/>
                  <a:gd name="T52" fmla="*/ 0 w 3743"/>
                  <a:gd name="T53" fmla="*/ 0 h 793"/>
                  <a:gd name="T54" fmla="*/ 0 w 3743"/>
                  <a:gd name="T55" fmla="*/ 0 h 793"/>
                  <a:gd name="T56" fmla="*/ 0 w 3743"/>
                  <a:gd name="T57" fmla="*/ 0 h 793"/>
                  <a:gd name="T58" fmla="*/ 0 w 3743"/>
                  <a:gd name="T59" fmla="*/ 0 h 793"/>
                  <a:gd name="T60" fmla="*/ 0 w 3743"/>
                  <a:gd name="T61" fmla="*/ 0 h 793"/>
                  <a:gd name="T62" fmla="*/ 0 w 3743"/>
                  <a:gd name="T63" fmla="*/ 0 h 793"/>
                  <a:gd name="T64" fmla="*/ 0 w 3743"/>
                  <a:gd name="T65" fmla="*/ 0 h 793"/>
                  <a:gd name="T66" fmla="*/ 0 w 3743"/>
                  <a:gd name="T67" fmla="*/ 0 h 793"/>
                  <a:gd name="T68" fmla="*/ 0 w 3743"/>
                  <a:gd name="T69" fmla="*/ 0 h 793"/>
                  <a:gd name="T70" fmla="*/ 0 w 3743"/>
                  <a:gd name="T71" fmla="*/ 0 h 793"/>
                  <a:gd name="T72" fmla="*/ 0 w 3743"/>
                  <a:gd name="T73" fmla="*/ 0 h 793"/>
                  <a:gd name="T74" fmla="*/ 0 w 3743"/>
                  <a:gd name="T75" fmla="*/ 0 h 793"/>
                  <a:gd name="T76" fmla="*/ 0 w 3743"/>
                  <a:gd name="T77" fmla="*/ 0 h 793"/>
                  <a:gd name="T78" fmla="*/ 0 w 3743"/>
                  <a:gd name="T79" fmla="*/ 0 h 793"/>
                  <a:gd name="T80" fmla="*/ 0 w 3743"/>
                  <a:gd name="T81" fmla="*/ 0 h 793"/>
                  <a:gd name="T82" fmla="*/ 0 w 3743"/>
                  <a:gd name="T83" fmla="*/ 0 h 793"/>
                  <a:gd name="T84" fmla="*/ 0 w 3743"/>
                  <a:gd name="T85" fmla="*/ 0 h 793"/>
                  <a:gd name="T86" fmla="*/ 0 w 3743"/>
                  <a:gd name="T87" fmla="*/ 0 h 793"/>
                  <a:gd name="T88" fmla="*/ 0 w 3743"/>
                  <a:gd name="T89" fmla="*/ 0 h 793"/>
                  <a:gd name="T90" fmla="*/ 0 w 3743"/>
                  <a:gd name="T91" fmla="*/ 0 h 793"/>
                  <a:gd name="T92" fmla="*/ 0 w 3743"/>
                  <a:gd name="T93" fmla="*/ 0 h 793"/>
                  <a:gd name="T94" fmla="*/ 0 w 3743"/>
                  <a:gd name="T95" fmla="*/ 0 h 793"/>
                  <a:gd name="T96" fmla="*/ 0 w 3743"/>
                  <a:gd name="T97" fmla="*/ 0 h 793"/>
                  <a:gd name="T98" fmla="*/ 0 w 3743"/>
                  <a:gd name="T99" fmla="*/ 0 h 793"/>
                  <a:gd name="T100" fmla="*/ 0 w 3743"/>
                  <a:gd name="T101" fmla="*/ 0 h 793"/>
                  <a:gd name="T102" fmla="*/ 0 w 3743"/>
                  <a:gd name="T103" fmla="*/ 0 h 793"/>
                  <a:gd name="T104" fmla="*/ 0 w 3743"/>
                  <a:gd name="T105" fmla="*/ 0 h 793"/>
                  <a:gd name="T106" fmla="*/ 0 w 3743"/>
                  <a:gd name="T107" fmla="*/ 0 h 793"/>
                  <a:gd name="T108" fmla="*/ 0 w 3743"/>
                  <a:gd name="T109" fmla="*/ 0 h 793"/>
                  <a:gd name="T110" fmla="*/ 0 w 3743"/>
                  <a:gd name="T111" fmla="*/ 0 h 793"/>
                  <a:gd name="T112" fmla="*/ 0 w 3743"/>
                  <a:gd name="T113" fmla="*/ 0 h 793"/>
                  <a:gd name="T114" fmla="*/ 0 w 3743"/>
                  <a:gd name="T115" fmla="*/ 0 h 793"/>
                  <a:gd name="T116" fmla="*/ 0 w 3743"/>
                  <a:gd name="T117" fmla="*/ 0 h 79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743"/>
                  <a:gd name="T178" fmla="*/ 0 h 793"/>
                  <a:gd name="T179" fmla="*/ 3743 w 3743"/>
                  <a:gd name="T180" fmla="*/ 793 h 793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743" h="793">
                    <a:moveTo>
                      <a:pt x="243" y="0"/>
                    </a:moveTo>
                    <a:lnTo>
                      <a:pt x="238" y="6"/>
                    </a:lnTo>
                    <a:lnTo>
                      <a:pt x="224" y="25"/>
                    </a:lnTo>
                    <a:lnTo>
                      <a:pt x="204" y="53"/>
                    </a:lnTo>
                    <a:lnTo>
                      <a:pt x="179" y="86"/>
                    </a:lnTo>
                    <a:lnTo>
                      <a:pt x="152" y="123"/>
                    </a:lnTo>
                    <a:lnTo>
                      <a:pt x="124" y="160"/>
                    </a:lnTo>
                    <a:lnTo>
                      <a:pt x="98" y="197"/>
                    </a:lnTo>
                    <a:lnTo>
                      <a:pt x="75" y="227"/>
                    </a:lnTo>
                    <a:lnTo>
                      <a:pt x="58" y="253"/>
                    </a:lnTo>
                    <a:lnTo>
                      <a:pt x="44" y="277"/>
                    </a:lnTo>
                    <a:lnTo>
                      <a:pt x="30" y="302"/>
                    </a:lnTo>
                    <a:lnTo>
                      <a:pt x="19" y="327"/>
                    </a:lnTo>
                    <a:lnTo>
                      <a:pt x="11" y="352"/>
                    </a:lnTo>
                    <a:lnTo>
                      <a:pt x="6" y="377"/>
                    </a:lnTo>
                    <a:lnTo>
                      <a:pt x="2" y="401"/>
                    </a:lnTo>
                    <a:lnTo>
                      <a:pt x="0" y="426"/>
                    </a:lnTo>
                    <a:lnTo>
                      <a:pt x="1" y="451"/>
                    </a:lnTo>
                    <a:lnTo>
                      <a:pt x="4" y="475"/>
                    </a:lnTo>
                    <a:lnTo>
                      <a:pt x="9" y="498"/>
                    </a:lnTo>
                    <a:lnTo>
                      <a:pt x="16" y="521"/>
                    </a:lnTo>
                    <a:lnTo>
                      <a:pt x="26" y="544"/>
                    </a:lnTo>
                    <a:lnTo>
                      <a:pt x="38" y="566"/>
                    </a:lnTo>
                    <a:lnTo>
                      <a:pt x="53" y="588"/>
                    </a:lnTo>
                    <a:lnTo>
                      <a:pt x="70" y="608"/>
                    </a:lnTo>
                    <a:lnTo>
                      <a:pt x="90" y="629"/>
                    </a:lnTo>
                    <a:lnTo>
                      <a:pt x="112" y="647"/>
                    </a:lnTo>
                    <a:lnTo>
                      <a:pt x="136" y="665"/>
                    </a:lnTo>
                    <a:lnTo>
                      <a:pt x="163" y="683"/>
                    </a:lnTo>
                    <a:lnTo>
                      <a:pt x="193" y="699"/>
                    </a:lnTo>
                    <a:lnTo>
                      <a:pt x="224" y="714"/>
                    </a:lnTo>
                    <a:lnTo>
                      <a:pt x="259" y="728"/>
                    </a:lnTo>
                    <a:lnTo>
                      <a:pt x="295" y="742"/>
                    </a:lnTo>
                    <a:lnTo>
                      <a:pt x="335" y="753"/>
                    </a:lnTo>
                    <a:lnTo>
                      <a:pt x="377" y="763"/>
                    </a:lnTo>
                    <a:lnTo>
                      <a:pt x="421" y="772"/>
                    </a:lnTo>
                    <a:lnTo>
                      <a:pt x="469" y="779"/>
                    </a:lnTo>
                    <a:lnTo>
                      <a:pt x="519" y="785"/>
                    </a:lnTo>
                    <a:lnTo>
                      <a:pt x="571" y="790"/>
                    </a:lnTo>
                    <a:lnTo>
                      <a:pt x="626" y="792"/>
                    </a:lnTo>
                    <a:lnTo>
                      <a:pt x="685" y="793"/>
                    </a:lnTo>
                    <a:lnTo>
                      <a:pt x="833" y="793"/>
                    </a:lnTo>
                    <a:lnTo>
                      <a:pt x="999" y="793"/>
                    </a:lnTo>
                    <a:lnTo>
                      <a:pt x="1183" y="793"/>
                    </a:lnTo>
                    <a:lnTo>
                      <a:pt x="1378" y="793"/>
                    </a:lnTo>
                    <a:lnTo>
                      <a:pt x="1581" y="793"/>
                    </a:lnTo>
                    <a:lnTo>
                      <a:pt x="1787" y="793"/>
                    </a:lnTo>
                    <a:lnTo>
                      <a:pt x="1993" y="793"/>
                    </a:lnTo>
                    <a:lnTo>
                      <a:pt x="2195" y="793"/>
                    </a:lnTo>
                    <a:lnTo>
                      <a:pt x="2388" y="793"/>
                    </a:lnTo>
                    <a:lnTo>
                      <a:pt x="2568" y="793"/>
                    </a:lnTo>
                    <a:lnTo>
                      <a:pt x="2732" y="793"/>
                    </a:lnTo>
                    <a:lnTo>
                      <a:pt x="2874" y="793"/>
                    </a:lnTo>
                    <a:lnTo>
                      <a:pt x="2993" y="793"/>
                    </a:lnTo>
                    <a:lnTo>
                      <a:pt x="3082" y="793"/>
                    </a:lnTo>
                    <a:lnTo>
                      <a:pt x="3139" y="793"/>
                    </a:lnTo>
                    <a:lnTo>
                      <a:pt x="3159" y="793"/>
                    </a:lnTo>
                    <a:lnTo>
                      <a:pt x="3743" y="0"/>
                    </a:lnTo>
                    <a:lnTo>
                      <a:pt x="243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</p:grpSp>
      <p:grpSp>
        <p:nvGrpSpPr>
          <p:cNvPr id="94" name="Group 7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417214" y="2910413"/>
            <a:ext cx="4103650" cy="472771"/>
            <a:chOff x="349" y="1908"/>
            <a:chExt cx="2604" cy="300"/>
          </a:xfrm>
        </p:grpSpPr>
        <p:sp>
          <p:nvSpPr>
            <p:cNvPr id="95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49" y="1908"/>
              <a:ext cx="2604" cy="3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Aft>
                  <a:spcPct val="30000"/>
                </a:spcAft>
                <a:buClr>
                  <a:srgbClr val="000000"/>
                </a:buClr>
                <a:buSzPct val="100000"/>
              </a:pPr>
              <a:endParaRPr kumimoji="1" lang="en-GB" altLang="en-US" sz="1200">
                <a:solidFill>
                  <a:srgbClr val="000000"/>
                </a:solidFill>
              </a:endParaRPr>
            </a:p>
          </p:txBody>
        </p:sp>
        <p:grpSp>
          <p:nvGrpSpPr>
            <p:cNvPr id="96" name="Group 34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1108" y="1967"/>
              <a:ext cx="1085" cy="181"/>
              <a:chOff x="1020" y="898"/>
              <a:chExt cx="3876" cy="648"/>
            </a:xfrm>
          </p:grpSpPr>
          <p:sp>
            <p:nvSpPr>
              <p:cNvPr id="97" name="Freeform 35"/>
              <p:cNvSpPr>
                <a:spLocks/>
              </p:cNvSpPr>
              <p:nvPr/>
            </p:nvSpPr>
            <p:spPr bwMode="gray">
              <a:xfrm>
                <a:off x="4239" y="1435"/>
                <a:ext cx="218" cy="111"/>
              </a:xfrm>
              <a:custGeom>
                <a:avLst/>
                <a:gdLst>
                  <a:gd name="T0" fmla="*/ 0 w 1090"/>
                  <a:gd name="T1" fmla="*/ 0 h 556"/>
                  <a:gd name="T2" fmla="*/ 0 w 1090"/>
                  <a:gd name="T3" fmla="*/ 0 h 556"/>
                  <a:gd name="T4" fmla="*/ 0 w 1090"/>
                  <a:gd name="T5" fmla="*/ 0 h 556"/>
                  <a:gd name="T6" fmla="*/ 0 w 1090"/>
                  <a:gd name="T7" fmla="*/ 0 h 556"/>
                  <a:gd name="T8" fmla="*/ 0 w 1090"/>
                  <a:gd name="T9" fmla="*/ 0 h 5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0"/>
                  <a:gd name="T16" fmla="*/ 0 h 556"/>
                  <a:gd name="T17" fmla="*/ 1090 w 1090"/>
                  <a:gd name="T18" fmla="*/ 556 h 5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0" h="556">
                    <a:moveTo>
                      <a:pt x="547" y="0"/>
                    </a:moveTo>
                    <a:lnTo>
                      <a:pt x="1090" y="0"/>
                    </a:lnTo>
                    <a:lnTo>
                      <a:pt x="542" y="556"/>
                    </a:lnTo>
                    <a:lnTo>
                      <a:pt x="0" y="556"/>
                    </a:lnTo>
                    <a:lnTo>
                      <a:pt x="547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" name="Freeform 36"/>
              <p:cNvSpPr>
                <a:spLocks/>
              </p:cNvSpPr>
              <p:nvPr/>
            </p:nvSpPr>
            <p:spPr bwMode="gray">
              <a:xfrm>
                <a:off x="4092" y="1435"/>
                <a:ext cx="218" cy="111"/>
              </a:xfrm>
              <a:custGeom>
                <a:avLst/>
                <a:gdLst>
                  <a:gd name="T0" fmla="*/ 0 w 1090"/>
                  <a:gd name="T1" fmla="*/ 0 h 556"/>
                  <a:gd name="T2" fmla="*/ 0 w 1090"/>
                  <a:gd name="T3" fmla="*/ 0 h 556"/>
                  <a:gd name="T4" fmla="*/ 0 w 1090"/>
                  <a:gd name="T5" fmla="*/ 0 h 556"/>
                  <a:gd name="T6" fmla="*/ 0 w 1090"/>
                  <a:gd name="T7" fmla="*/ 0 h 556"/>
                  <a:gd name="T8" fmla="*/ 0 w 1090"/>
                  <a:gd name="T9" fmla="*/ 0 h 5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0"/>
                  <a:gd name="T16" fmla="*/ 0 h 556"/>
                  <a:gd name="T17" fmla="*/ 1090 w 1090"/>
                  <a:gd name="T18" fmla="*/ 556 h 5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0" h="556">
                    <a:moveTo>
                      <a:pt x="548" y="0"/>
                    </a:moveTo>
                    <a:lnTo>
                      <a:pt x="1090" y="0"/>
                    </a:lnTo>
                    <a:lnTo>
                      <a:pt x="543" y="556"/>
                    </a:lnTo>
                    <a:lnTo>
                      <a:pt x="0" y="556"/>
                    </a:lnTo>
                    <a:lnTo>
                      <a:pt x="548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" name="Freeform 37"/>
              <p:cNvSpPr>
                <a:spLocks/>
              </p:cNvSpPr>
              <p:nvPr/>
            </p:nvSpPr>
            <p:spPr bwMode="gray">
              <a:xfrm>
                <a:off x="4482" y="1435"/>
                <a:ext cx="218" cy="111"/>
              </a:xfrm>
              <a:custGeom>
                <a:avLst/>
                <a:gdLst>
                  <a:gd name="T0" fmla="*/ 0 w 1090"/>
                  <a:gd name="T1" fmla="*/ 0 h 556"/>
                  <a:gd name="T2" fmla="*/ 0 w 1090"/>
                  <a:gd name="T3" fmla="*/ 0 h 556"/>
                  <a:gd name="T4" fmla="*/ 0 w 1090"/>
                  <a:gd name="T5" fmla="*/ 0 h 556"/>
                  <a:gd name="T6" fmla="*/ 0 w 1090"/>
                  <a:gd name="T7" fmla="*/ 0 h 556"/>
                  <a:gd name="T8" fmla="*/ 0 w 1090"/>
                  <a:gd name="T9" fmla="*/ 0 h 5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0"/>
                  <a:gd name="T16" fmla="*/ 0 h 556"/>
                  <a:gd name="T17" fmla="*/ 1090 w 1090"/>
                  <a:gd name="T18" fmla="*/ 556 h 5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0" h="556">
                    <a:moveTo>
                      <a:pt x="541" y="0"/>
                    </a:moveTo>
                    <a:lnTo>
                      <a:pt x="0" y="0"/>
                    </a:lnTo>
                    <a:lnTo>
                      <a:pt x="547" y="556"/>
                    </a:lnTo>
                    <a:lnTo>
                      <a:pt x="1090" y="556"/>
                    </a:lnTo>
                    <a:lnTo>
                      <a:pt x="541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" name="Freeform 38"/>
              <p:cNvSpPr>
                <a:spLocks/>
              </p:cNvSpPr>
              <p:nvPr/>
            </p:nvSpPr>
            <p:spPr bwMode="gray">
              <a:xfrm>
                <a:off x="4628" y="1435"/>
                <a:ext cx="218" cy="111"/>
              </a:xfrm>
              <a:custGeom>
                <a:avLst/>
                <a:gdLst>
                  <a:gd name="T0" fmla="*/ 0 w 1090"/>
                  <a:gd name="T1" fmla="*/ 0 h 556"/>
                  <a:gd name="T2" fmla="*/ 0 w 1090"/>
                  <a:gd name="T3" fmla="*/ 0 h 556"/>
                  <a:gd name="T4" fmla="*/ 0 w 1090"/>
                  <a:gd name="T5" fmla="*/ 0 h 556"/>
                  <a:gd name="T6" fmla="*/ 0 w 1090"/>
                  <a:gd name="T7" fmla="*/ 0 h 556"/>
                  <a:gd name="T8" fmla="*/ 0 w 1090"/>
                  <a:gd name="T9" fmla="*/ 0 h 5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90"/>
                  <a:gd name="T16" fmla="*/ 0 h 556"/>
                  <a:gd name="T17" fmla="*/ 1090 w 1090"/>
                  <a:gd name="T18" fmla="*/ 556 h 5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90" h="556">
                    <a:moveTo>
                      <a:pt x="541" y="0"/>
                    </a:moveTo>
                    <a:lnTo>
                      <a:pt x="0" y="0"/>
                    </a:lnTo>
                    <a:lnTo>
                      <a:pt x="547" y="556"/>
                    </a:lnTo>
                    <a:lnTo>
                      <a:pt x="1090" y="556"/>
                    </a:lnTo>
                    <a:lnTo>
                      <a:pt x="541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Freeform 39"/>
              <p:cNvSpPr>
                <a:spLocks noEditPoints="1"/>
              </p:cNvSpPr>
              <p:nvPr/>
            </p:nvSpPr>
            <p:spPr bwMode="gray">
              <a:xfrm>
                <a:off x="4078" y="898"/>
                <a:ext cx="818" cy="516"/>
              </a:xfrm>
              <a:custGeom>
                <a:avLst/>
                <a:gdLst>
                  <a:gd name="T0" fmla="*/ 0 w 4084"/>
                  <a:gd name="T1" fmla="*/ 0 h 2584"/>
                  <a:gd name="T2" fmla="*/ 0 w 4084"/>
                  <a:gd name="T3" fmla="*/ 0 h 2584"/>
                  <a:gd name="T4" fmla="*/ 0 w 4084"/>
                  <a:gd name="T5" fmla="*/ 0 h 2584"/>
                  <a:gd name="T6" fmla="*/ 0 w 4084"/>
                  <a:gd name="T7" fmla="*/ 0 h 2584"/>
                  <a:gd name="T8" fmla="*/ 0 w 4084"/>
                  <a:gd name="T9" fmla="*/ 0 h 2584"/>
                  <a:gd name="T10" fmla="*/ 0 w 4084"/>
                  <a:gd name="T11" fmla="*/ 0 h 2584"/>
                  <a:gd name="T12" fmla="*/ 0 w 4084"/>
                  <a:gd name="T13" fmla="*/ 0 h 2584"/>
                  <a:gd name="T14" fmla="*/ 0 w 4084"/>
                  <a:gd name="T15" fmla="*/ 0 h 2584"/>
                  <a:gd name="T16" fmla="*/ 0 w 4084"/>
                  <a:gd name="T17" fmla="*/ 0 h 2584"/>
                  <a:gd name="T18" fmla="*/ 0 w 4084"/>
                  <a:gd name="T19" fmla="*/ 0 h 2584"/>
                  <a:gd name="T20" fmla="*/ 0 w 4084"/>
                  <a:gd name="T21" fmla="*/ 0 h 2584"/>
                  <a:gd name="T22" fmla="*/ 0 w 4084"/>
                  <a:gd name="T23" fmla="*/ 0 h 2584"/>
                  <a:gd name="T24" fmla="*/ 0 w 4084"/>
                  <a:gd name="T25" fmla="*/ 0 h 2584"/>
                  <a:gd name="T26" fmla="*/ 0 w 4084"/>
                  <a:gd name="T27" fmla="*/ 0 h 2584"/>
                  <a:gd name="T28" fmla="*/ 0 w 4084"/>
                  <a:gd name="T29" fmla="*/ 0 h 2584"/>
                  <a:gd name="T30" fmla="*/ 0 w 4084"/>
                  <a:gd name="T31" fmla="*/ 0 h 2584"/>
                  <a:gd name="T32" fmla="*/ 0 w 4084"/>
                  <a:gd name="T33" fmla="*/ 0 h 2584"/>
                  <a:gd name="T34" fmla="*/ 0 w 4084"/>
                  <a:gd name="T35" fmla="*/ 0 h 2584"/>
                  <a:gd name="T36" fmla="*/ 0 w 4084"/>
                  <a:gd name="T37" fmla="*/ 0 h 2584"/>
                  <a:gd name="T38" fmla="*/ 0 w 4084"/>
                  <a:gd name="T39" fmla="*/ 0 h 2584"/>
                  <a:gd name="T40" fmla="*/ 0 w 4084"/>
                  <a:gd name="T41" fmla="*/ 0 h 2584"/>
                  <a:gd name="T42" fmla="*/ 0 w 4084"/>
                  <a:gd name="T43" fmla="*/ 0 h 2584"/>
                  <a:gd name="T44" fmla="*/ 0 w 4084"/>
                  <a:gd name="T45" fmla="*/ 0 h 2584"/>
                  <a:gd name="T46" fmla="*/ 0 w 4084"/>
                  <a:gd name="T47" fmla="*/ 0 h 2584"/>
                  <a:gd name="T48" fmla="*/ 0 w 4084"/>
                  <a:gd name="T49" fmla="*/ 0 h 2584"/>
                  <a:gd name="T50" fmla="*/ 0 w 4084"/>
                  <a:gd name="T51" fmla="*/ 0 h 2584"/>
                  <a:gd name="T52" fmla="*/ 0 w 4084"/>
                  <a:gd name="T53" fmla="*/ 0 h 2584"/>
                  <a:gd name="T54" fmla="*/ 0 w 4084"/>
                  <a:gd name="T55" fmla="*/ 0 h 2584"/>
                  <a:gd name="T56" fmla="*/ 0 w 4084"/>
                  <a:gd name="T57" fmla="*/ 0 h 2584"/>
                  <a:gd name="T58" fmla="*/ 0 w 4084"/>
                  <a:gd name="T59" fmla="*/ 0 h 2584"/>
                  <a:gd name="T60" fmla="*/ 0 w 4084"/>
                  <a:gd name="T61" fmla="*/ 0 h 2584"/>
                  <a:gd name="T62" fmla="*/ 0 w 4084"/>
                  <a:gd name="T63" fmla="*/ 0 h 2584"/>
                  <a:gd name="T64" fmla="*/ 0 w 4084"/>
                  <a:gd name="T65" fmla="*/ 0 h 2584"/>
                  <a:gd name="T66" fmla="*/ 0 w 4084"/>
                  <a:gd name="T67" fmla="*/ 0 h 2584"/>
                  <a:gd name="T68" fmla="*/ 0 w 4084"/>
                  <a:gd name="T69" fmla="*/ 0 h 2584"/>
                  <a:gd name="T70" fmla="*/ 0 w 4084"/>
                  <a:gd name="T71" fmla="*/ 0 h 2584"/>
                  <a:gd name="T72" fmla="*/ 0 w 4084"/>
                  <a:gd name="T73" fmla="*/ 0 h 2584"/>
                  <a:gd name="T74" fmla="*/ 0 w 4084"/>
                  <a:gd name="T75" fmla="*/ 0 h 2584"/>
                  <a:gd name="T76" fmla="*/ 0 w 4084"/>
                  <a:gd name="T77" fmla="*/ 0 h 2584"/>
                  <a:gd name="T78" fmla="*/ 0 w 4084"/>
                  <a:gd name="T79" fmla="*/ 0 h 2584"/>
                  <a:gd name="T80" fmla="*/ 0 w 4084"/>
                  <a:gd name="T81" fmla="*/ 0 h 2584"/>
                  <a:gd name="T82" fmla="*/ 0 w 4084"/>
                  <a:gd name="T83" fmla="*/ 0 h 2584"/>
                  <a:gd name="T84" fmla="*/ 0 w 4084"/>
                  <a:gd name="T85" fmla="*/ 0 h 2584"/>
                  <a:gd name="T86" fmla="*/ 0 w 4084"/>
                  <a:gd name="T87" fmla="*/ 0 h 2584"/>
                  <a:gd name="T88" fmla="*/ 0 w 4084"/>
                  <a:gd name="T89" fmla="*/ 0 h 2584"/>
                  <a:gd name="T90" fmla="*/ 0 w 4084"/>
                  <a:gd name="T91" fmla="*/ 0 h 2584"/>
                  <a:gd name="T92" fmla="*/ 0 w 4084"/>
                  <a:gd name="T93" fmla="*/ 0 h 2584"/>
                  <a:gd name="T94" fmla="*/ 0 w 4084"/>
                  <a:gd name="T95" fmla="*/ 0 h 2584"/>
                  <a:gd name="T96" fmla="*/ 0 w 4084"/>
                  <a:gd name="T97" fmla="*/ 0 h 2584"/>
                  <a:gd name="T98" fmla="*/ 0 w 4084"/>
                  <a:gd name="T99" fmla="*/ 0 h 2584"/>
                  <a:gd name="T100" fmla="*/ 0 w 4084"/>
                  <a:gd name="T101" fmla="*/ 0 h 2584"/>
                  <a:gd name="T102" fmla="*/ 0 w 4084"/>
                  <a:gd name="T103" fmla="*/ 0 h 2584"/>
                  <a:gd name="T104" fmla="*/ 0 w 4084"/>
                  <a:gd name="T105" fmla="*/ 0 h 2584"/>
                  <a:gd name="T106" fmla="*/ 0 w 4084"/>
                  <a:gd name="T107" fmla="*/ 0 h 2584"/>
                  <a:gd name="T108" fmla="*/ 0 w 4084"/>
                  <a:gd name="T109" fmla="*/ 0 h 2584"/>
                  <a:gd name="T110" fmla="*/ 0 w 4084"/>
                  <a:gd name="T111" fmla="*/ 0 h 2584"/>
                  <a:gd name="T112" fmla="*/ 0 w 4084"/>
                  <a:gd name="T113" fmla="*/ 0 h 2584"/>
                  <a:gd name="T114" fmla="*/ 0 w 4084"/>
                  <a:gd name="T115" fmla="*/ 0 h 2584"/>
                  <a:gd name="T116" fmla="*/ 0 w 4084"/>
                  <a:gd name="T117" fmla="*/ 0 h 2584"/>
                  <a:gd name="T118" fmla="*/ 0 w 4084"/>
                  <a:gd name="T119" fmla="*/ 0 h 258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084"/>
                  <a:gd name="T181" fmla="*/ 0 h 2584"/>
                  <a:gd name="T182" fmla="*/ 4084 w 4084"/>
                  <a:gd name="T183" fmla="*/ 2584 h 258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084" h="2584">
                    <a:moveTo>
                      <a:pt x="2949" y="1142"/>
                    </a:moveTo>
                    <a:lnTo>
                      <a:pt x="2966" y="1092"/>
                    </a:lnTo>
                    <a:lnTo>
                      <a:pt x="2983" y="1040"/>
                    </a:lnTo>
                    <a:lnTo>
                      <a:pt x="2999" y="985"/>
                    </a:lnTo>
                    <a:lnTo>
                      <a:pt x="3013" y="928"/>
                    </a:lnTo>
                    <a:lnTo>
                      <a:pt x="3028" y="870"/>
                    </a:lnTo>
                    <a:lnTo>
                      <a:pt x="3041" y="810"/>
                    </a:lnTo>
                    <a:lnTo>
                      <a:pt x="3054" y="749"/>
                    </a:lnTo>
                    <a:lnTo>
                      <a:pt x="3065" y="687"/>
                    </a:lnTo>
                    <a:lnTo>
                      <a:pt x="3076" y="625"/>
                    </a:lnTo>
                    <a:lnTo>
                      <a:pt x="3086" y="565"/>
                    </a:lnTo>
                    <a:lnTo>
                      <a:pt x="3094" y="504"/>
                    </a:lnTo>
                    <a:lnTo>
                      <a:pt x="3103" y="443"/>
                    </a:lnTo>
                    <a:lnTo>
                      <a:pt x="3109" y="385"/>
                    </a:lnTo>
                    <a:lnTo>
                      <a:pt x="3115" y="328"/>
                    </a:lnTo>
                    <a:lnTo>
                      <a:pt x="3119" y="273"/>
                    </a:lnTo>
                    <a:lnTo>
                      <a:pt x="3122" y="220"/>
                    </a:lnTo>
                    <a:lnTo>
                      <a:pt x="4084" y="460"/>
                    </a:lnTo>
                    <a:lnTo>
                      <a:pt x="4074" y="566"/>
                    </a:lnTo>
                    <a:lnTo>
                      <a:pt x="4061" y="670"/>
                    </a:lnTo>
                    <a:lnTo>
                      <a:pt x="4043" y="775"/>
                    </a:lnTo>
                    <a:lnTo>
                      <a:pt x="4020" y="877"/>
                    </a:lnTo>
                    <a:lnTo>
                      <a:pt x="3993" y="978"/>
                    </a:lnTo>
                    <a:lnTo>
                      <a:pt x="3962" y="1077"/>
                    </a:lnTo>
                    <a:lnTo>
                      <a:pt x="3927" y="1174"/>
                    </a:lnTo>
                    <a:lnTo>
                      <a:pt x="3888" y="1270"/>
                    </a:lnTo>
                    <a:lnTo>
                      <a:pt x="3844" y="1364"/>
                    </a:lnTo>
                    <a:lnTo>
                      <a:pt x="3797" y="1455"/>
                    </a:lnTo>
                    <a:lnTo>
                      <a:pt x="3746" y="1543"/>
                    </a:lnTo>
                    <a:lnTo>
                      <a:pt x="3692" y="1630"/>
                    </a:lnTo>
                    <a:lnTo>
                      <a:pt x="3633" y="1714"/>
                    </a:lnTo>
                    <a:lnTo>
                      <a:pt x="3570" y="1795"/>
                    </a:lnTo>
                    <a:lnTo>
                      <a:pt x="3505" y="1873"/>
                    </a:lnTo>
                    <a:lnTo>
                      <a:pt x="3436" y="1947"/>
                    </a:lnTo>
                    <a:lnTo>
                      <a:pt x="3363" y="2018"/>
                    </a:lnTo>
                    <a:lnTo>
                      <a:pt x="3287" y="2086"/>
                    </a:lnTo>
                    <a:lnTo>
                      <a:pt x="3208" y="2151"/>
                    </a:lnTo>
                    <a:lnTo>
                      <a:pt x="3126" y="2211"/>
                    </a:lnTo>
                    <a:lnTo>
                      <a:pt x="3040" y="2267"/>
                    </a:lnTo>
                    <a:lnTo>
                      <a:pt x="2950" y="2319"/>
                    </a:lnTo>
                    <a:lnTo>
                      <a:pt x="2858" y="2368"/>
                    </a:lnTo>
                    <a:lnTo>
                      <a:pt x="2764" y="2412"/>
                    </a:lnTo>
                    <a:lnTo>
                      <a:pt x="2666" y="2451"/>
                    </a:lnTo>
                    <a:lnTo>
                      <a:pt x="2565" y="2486"/>
                    </a:lnTo>
                    <a:lnTo>
                      <a:pt x="2461" y="2515"/>
                    </a:lnTo>
                    <a:lnTo>
                      <a:pt x="2354" y="2539"/>
                    </a:lnTo>
                    <a:lnTo>
                      <a:pt x="2245" y="2559"/>
                    </a:lnTo>
                    <a:lnTo>
                      <a:pt x="2134" y="2573"/>
                    </a:lnTo>
                    <a:lnTo>
                      <a:pt x="2020" y="2582"/>
                    </a:lnTo>
                    <a:lnTo>
                      <a:pt x="1904" y="2584"/>
                    </a:lnTo>
                    <a:lnTo>
                      <a:pt x="1773" y="2581"/>
                    </a:lnTo>
                    <a:lnTo>
                      <a:pt x="1647" y="2570"/>
                    </a:lnTo>
                    <a:lnTo>
                      <a:pt x="1527" y="2553"/>
                    </a:lnTo>
                    <a:lnTo>
                      <a:pt x="1411" y="2528"/>
                    </a:lnTo>
                    <a:lnTo>
                      <a:pt x="1301" y="2499"/>
                    </a:lnTo>
                    <a:lnTo>
                      <a:pt x="1194" y="2463"/>
                    </a:lnTo>
                    <a:lnTo>
                      <a:pt x="1093" y="2423"/>
                    </a:lnTo>
                    <a:lnTo>
                      <a:pt x="997" y="2375"/>
                    </a:lnTo>
                    <a:lnTo>
                      <a:pt x="906" y="2324"/>
                    </a:lnTo>
                    <a:lnTo>
                      <a:pt x="818" y="2267"/>
                    </a:lnTo>
                    <a:lnTo>
                      <a:pt x="736" y="2207"/>
                    </a:lnTo>
                    <a:lnTo>
                      <a:pt x="659" y="2142"/>
                    </a:lnTo>
                    <a:lnTo>
                      <a:pt x="586" y="2073"/>
                    </a:lnTo>
                    <a:lnTo>
                      <a:pt x="518" y="2001"/>
                    </a:lnTo>
                    <a:lnTo>
                      <a:pt x="454" y="1925"/>
                    </a:lnTo>
                    <a:lnTo>
                      <a:pt x="395" y="1847"/>
                    </a:lnTo>
                    <a:lnTo>
                      <a:pt x="339" y="1766"/>
                    </a:lnTo>
                    <a:lnTo>
                      <a:pt x="288" y="1682"/>
                    </a:lnTo>
                    <a:lnTo>
                      <a:pt x="242" y="1596"/>
                    </a:lnTo>
                    <a:lnTo>
                      <a:pt x="200" y="1507"/>
                    </a:lnTo>
                    <a:lnTo>
                      <a:pt x="161" y="1417"/>
                    </a:lnTo>
                    <a:lnTo>
                      <a:pt x="127" y="1326"/>
                    </a:lnTo>
                    <a:lnTo>
                      <a:pt x="98" y="1235"/>
                    </a:lnTo>
                    <a:lnTo>
                      <a:pt x="71" y="1142"/>
                    </a:lnTo>
                    <a:lnTo>
                      <a:pt x="51" y="1048"/>
                    </a:lnTo>
                    <a:lnTo>
                      <a:pt x="32" y="955"/>
                    </a:lnTo>
                    <a:lnTo>
                      <a:pt x="18" y="861"/>
                    </a:lnTo>
                    <a:lnTo>
                      <a:pt x="8" y="769"/>
                    </a:lnTo>
                    <a:lnTo>
                      <a:pt x="2" y="676"/>
                    </a:lnTo>
                    <a:lnTo>
                      <a:pt x="0" y="584"/>
                    </a:lnTo>
                    <a:lnTo>
                      <a:pt x="1" y="494"/>
                    </a:lnTo>
                    <a:lnTo>
                      <a:pt x="7" y="406"/>
                    </a:lnTo>
                    <a:lnTo>
                      <a:pt x="424" y="272"/>
                    </a:lnTo>
                    <a:lnTo>
                      <a:pt x="419" y="322"/>
                    </a:lnTo>
                    <a:lnTo>
                      <a:pt x="414" y="370"/>
                    </a:lnTo>
                    <a:lnTo>
                      <a:pt x="410" y="418"/>
                    </a:lnTo>
                    <a:lnTo>
                      <a:pt x="409" y="465"/>
                    </a:lnTo>
                    <a:lnTo>
                      <a:pt x="408" y="511"/>
                    </a:lnTo>
                    <a:lnTo>
                      <a:pt x="408" y="556"/>
                    </a:lnTo>
                    <a:lnTo>
                      <a:pt x="410" y="601"/>
                    </a:lnTo>
                    <a:lnTo>
                      <a:pt x="413" y="644"/>
                    </a:lnTo>
                    <a:lnTo>
                      <a:pt x="415" y="686"/>
                    </a:lnTo>
                    <a:lnTo>
                      <a:pt x="420" y="727"/>
                    </a:lnTo>
                    <a:lnTo>
                      <a:pt x="425" y="767"/>
                    </a:lnTo>
                    <a:lnTo>
                      <a:pt x="431" y="808"/>
                    </a:lnTo>
                    <a:lnTo>
                      <a:pt x="437" y="845"/>
                    </a:lnTo>
                    <a:lnTo>
                      <a:pt x="444" y="883"/>
                    </a:lnTo>
                    <a:lnTo>
                      <a:pt x="453" y="919"/>
                    </a:lnTo>
                    <a:lnTo>
                      <a:pt x="461" y="955"/>
                    </a:lnTo>
                    <a:lnTo>
                      <a:pt x="471" y="989"/>
                    </a:lnTo>
                    <a:lnTo>
                      <a:pt x="479" y="1021"/>
                    </a:lnTo>
                    <a:lnTo>
                      <a:pt x="490" y="1054"/>
                    </a:lnTo>
                    <a:lnTo>
                      <a:pt x="500" y="1084"/>
                    </a:lnTo>
                    <a:lnTo>
                      <a:pt x="522" y="1144"/>
                    </a:lnTo>
                    <a:lnTo>
                      <a:pt x="545" y="1197"/>
                    </a:lnTo>
                    <a:lnTo>
                      <a:pt x="568" y="1247"/>
                    </a:lnTo>
                    <a:lnTo>
                      <a:pt x="591" y="1292"/>
                    </a:lnTo>
                    <a:lnTo>
                      <a:pt x="613" y="1333"/>
                    </a:lnTo>
                    <a:lnTo>
                      <a:pt x="634" y="1369"/>
                    </a:lnTo>
                    <a:lnTo>
                      <a:pt x="625" y="1298"/>
                    </a:lnTo>
                    <a:lnTo>
                      <a:pt x="617" y="1229"/>
                    </a:lnTo>
                    <a:lnTo>
                      <a:pt x="615" y="1160"/>
                    </a:lnTo>
                    <a:lnTo>
                      <a:pt x="616" y="1093"/>
                    </a:lnTo>
                    <a:lnTo>
                      <a:pt x="621" y="1026"/>
                    </a:lnTo>
                    <a:lnTo>
                      <a:pt x="630" y="962"/>
                    </a:lnTo>
                    <a:lnTo>
                      <a:pt x="642" y="897"/>
                    </a:lnTo>
                    <a:lnTo>
                      <a:pt x="656" y="836"/>
                    </a:lnTo>
                    <a:lnTo>
                      <a:pt x="676" y="775"/>
                    </a:lnTo>
                    <a:lnTo>
                      <a:pt x="697" y="716"/>
                    </a:lnTo>
                    <a:lnTo>
                      <a:pt x="722" y="659"/>
                    </a:lnTo>
                    <a:lnTo>
                      <a:pt x="749" y="604"/>
                    </a:lnTo>
                    <a:lnTo>
                      <a:pt x="781" y="550"/>
                    </a:lnTo>
                    <a:lnTo>
                      <a:pt x="815" y="498"/>
                    </a:lnTo>
                    <a:lnTo>
                      <a:pt x="851" y="448"/>
                    </a:lnTo>
                    <a:lnTo>
                      <a:pt x="890" y="401"/>
                    </a:lnTo>
                    <a:lnTo>
                      <a:pt x="931" y="356"/>
                    </a:lnTo>
                    <a:lnTo>
                      <a:pt x="975" y="312"/>
                    </a:lnTo>
                    <a:lnTo>
                      <a:pt x="1021" y="272"/>
                    </a:lnTo>
                    <a:lnTo>
                      <a:pt x="1069" y="234"/>
                    </a:lnTo>
                    <a:lnTo>
                      <a:pt x="1120" y="198"/>
                    </a:lnTo>
                    <a:lnTo>
                      <a:pt x="1172" y="165"/>
                    </a:lnTo>
                    <a:lnTo>
                      <a:pt x="1227" y="135"/>
                    </a:lnTo>
                    <a:lnTo>
                      <a:pt x="1282" y="108"/>
                    </a:lnTo>
                    <a:lnTo>
                      <a:pt x="1339" y="84"/>
                    </a:lnTo>
                    <a:lnTo>
                      <a:pt x="1399" y="62"/>
                    </a:lnTo>
                    <a:lnTo>
                      <a:pt x="1459" y="44"/>
                    </a:lnTo>
                    <a:lnTo>
                      <a:pt x="1521" y="28"/>
                    </a:lnTo>
                    <a:lnTo>
                      <a:pt x="1585" y="16"/>
                    </a:lnTo>
                    <a:lnTo>
                      <a:pt x="1649" y="7"/>
                    </a:lnTo>
                    <a:lnTo>
                      <a:pt x="1715" y="2"/>
                    </a:lnTo>
                    <a:lnTo>
                      <a:pt x="1780" y="0"/>
                    </a:lnTo>
                    <a:lnTo>
                      <a:pt x="1841" y="1"/>
                    </a:lnTo>
                    <a:lnTo>
                      <a:pt x="1899" y="5"/>
                    </a:lnTo>
                    <a:lnTo>
                      <a:pt x="1958" y="12"/>
                    </a:lnTo>
                    <a:lnTo>
                      <a:pt x="2015" y="22"/>
                    </a:lnTo>
                    <a:lnTo>
                      <a:pt x="2071" y="33"/>
                    </a:lnTo>
                    <a:lnTo>
                      <a:pt x="2127" y="47"/>
                    </a:lnTo>
                    <a:lnTo>
                      <a:pt x="2181" y="64"/>
                    </a:lnTo>
                    <a:lnTo>
                      <a:pt x="2234" y="84"/>
                    </a:lnTo>
                    <a:lnTo>
                      <a:pt x="2285" y="106"/>
                    </a:lnTo>
                    <a:lnTo>
                      <a:pt x="2336" y="129"/>
                    </a:lnTo>
                    <a:lnTo>
                      <a:pt x="2385" y="155"/>
                    </a:lnTo>
                    <a:lnTo>
                      <a:pt x="2433" y="183"/>
                    </a:lnTo>
                    <a:lnTo>
                      <a:pt x="2479" y="214"/>
                    </a:lnTo>
                    <a:lnTo>
                      <a:pt x="2523" y="247"/>
                    </a:lnTo>
                    <a:lnTo>
                      <a:pt x="2565" y="282"/>
                    </a:lnTo>
                    <a:lnTo>
                      <a:pt x="2606" y="318"/>
                    </a:lnTo>
                    <a:lnTo>
                      <a:pt x="2645" y="357"/>
                    </a:lnTo>
                    <a:lnTo>
                      <a:pt x="2681" y="398"/>
                    </a:lnTo>
                    <a:lnTo>
                      <a:pt x="2716" y="441"/>
                    </a:lnTo>
                    <a:lnTo>
                      <a:pt x="2749" y="485"/>
                    </a:lnTo>
                    <a:lnTo>
                      <a:pt x="2779" y="531"/>
                    </a:lnTo>
                    <a:lnTo>
                      <a:pt x="2809" y="579"/>
                    </a:lnTo>
                    <a:lnTo>
                      <a:pt x="2834" y="628"/>
                    </a:lnTo>
                    <a:lnTo>
                      <a:pt x="2857" y="680"/>
                    </a:lnTo>
                    <a:lnTo>
                      <a:pt x="2879" y="732"/>
                    </a:lnTo>
                    <a:lnTo>
                      <a:pt x="2897" y="787"/>
                    </a:lnTo>
                    <a:lnTo>
                      <a:pt x="2913" y="843"/>
                    </a:lnTo>
                    <a:lnTo>
                      <a:pt x="2926" y="900"/>
                    </a:lnTo>
                    <a:lnTo>
                      <a:pt x="2936" y="958"/>
                    </a:lnTo>
                    <a:lnTo>
                      <a:pt x="2943" y="1018"/>
                    </a:lnTo>
                    <a:lnTo>
                      <a:pt x="2948" y="1080"/>
                    </a:lnTo>
                    <a:lnTo>
                      <a:pt x="2949" y="1142"/>
                    </a:lnTo>
                    <a:close/>
                    <a:moveTo>
                      <a:pt x="1012" y="1166"/>
                    </a:moveTo>
                    <a:lnTo>
                      <a:pt x="1013" y="1126"/>
                    </a:lnTo>
                    <a:lnTo>
                      <a:pt x="1017" y="1087"/>
                    </a:lnTo>
                    <a:lnTo>
                      <a:pt x="1022" y="1048"/>
                    </a:lnTo>
                    <a:lnTo>
                      <a:pt x="1028" y="1010"/>
                    </a:lnTo>
                    <a:lnTo>
                      <a:pt x="1036" y="973"/>
                    </a:lnTo>
                    <a:lnTo>
                      <a:pt x="1047" y="936"/>
                    </a:lnTo>
                    <a:lnTo>
                      <a:pt x="1060" y="900"/>
                    </a:lnTo>
                    <a:lnTo>
                      <a:pt x="1073" y="865"/>
                    </a:lnTo>
                    <a:lnTo>
                      <a:pt x="1089" y="831"/>
                    </a:lnTo>
                    <a:lnTo>
                      <a:pt x="1106" y="798"/>
                    </a:lnTo>
                    <a:lnTo>
                      <a:pt x="1124" y="765"/>
                    </a:lnTo>
                    <a:lnTo>
                      <a:pt x="1144" y="733"/>
                    </a:lnTo>
                    <a:lnTo>
                      <a:pt x="1166" y="704"/>
                    </a:lnTo>
                    <a:lnTo>
                      <a:pt x="1189" y="674"/>
                    </a:lnTo>
                    <a:lnTo>
                      <a:pt x="1213" y="646"/>
                    </a:lnTo>
                    <a:lnTo>
                      <a:pt x="1239" y="619"/>
                    </a:lnTo>
                    <a:lnTo>
                      <a:pt x="1265" y="594"/>
                    </a:lnTo>
                    <a:lnTo>
                      <a:pt x="1293" y="570"/>
                    </a:lnTo>
                    <a:lnTo>
                      <a:pt x="1322" y="546"/>
                    </a:lnTo>
                    <a:lnTo>
                      <a:pt x="1353" y="526"/>
                    </a:lnTo>
                    <a:lnTo>
                      <a:pt x="1383" y="505"/>
                    </a:lnTo>
                    <a:lnTo>
                      <a:pt x="1416" y="487"/>
                    </a:lnTo>
                    <a:lnTo>
                      <a:pt x="1448" y="470"/>
                    </a:lnTo>
                    <a:lnTo>
                      <a:pt x="1483" y="454"/>
                    </a:lnTo>
                    <a:lnTo>
                      <a:pt x="1519" y="441"/>
                    </a:lnTo>
                    <a:lnTo>
                      <a:pt x="1554" y="429"/>
                    </a:lnTo>
                    <a:lnTo>
                      <a:pt x="1590" y="418"/>
                    </a:lnTo>
                    <a:lnTo>
                      <a:pt x="1628" y="409"/>
                    </a:lnTo>
                    <a:lnTo>
                      <a:pt x="1665" y="402"/>
                    </a:lnTo>
                    <a:lnTo>
                      <a:pt x="1704" y="397"/>
                    </a:lnTo>
                    <a:lnTo>
                      <a:pt x="1743" y="395"/>
                    </a:lnTo>
                    <a:lnTo>
                      <a:pt x="1783" y="393"/>
                    </a:lnTo>
                    <a:lnTo>
                      <a:pt x="1823" y="395"/>
                    </a:lnTo>
                    <a:lnTo>
                      <a:pt x="1861" y="397"/>
                    </a:lnTo>
                    <a:lnTo>
                      <a:pt x="1900" y="402"/>
                    </a:lnTo>
                    <a:lnTo>
                      <a:pt x="1938" y="409"/>
                    </a:lnTo>
                    <a:lnTo>
                      <a:pt x="1975" y="418"/>
                    </a:lnTo>
                    <a:lnTo>
                      <a:pt x="2012" y="429"/>
                    </a:lnTo>
                    <a:lnTo>
                      <a:pt x="2048" y="441"/>
                    </a:lnTo>
                    <a:lnTo>
                      <a:pt x="2083" y="454"/>
                    </a:lnTo>
                    <a:lnTo>
                      <a:pt x="2117" y="470"/>
                    </a:lnTo>
                    <a:lnTo>
                      <a:pt x="2150" y="487"/>
                    </a:lnTo>
                    <a:lnTo>
                      <a:pt x="2182" y="505"/>
                    </a:lnTo>
                    <a:lnTo>
                      <a:pt x="2214" y="526"/>
                    </a:lnTo>
                    <a:lnTo>
                      <a:pt x="2243" y="546"/>
                    </a:lnTo>
                    <a:lnTo>
                      <a:pt x="2272" y="570"/>
                    </a:lnTo>
                    <a:lnTo>
                      <a:pt x="2301" y="594"/>
                    </a:lnTo>
                    <a:lnTo>
                      <a:pt x="2328" y="619"/>
                    </a:lnTo>
                    <a:lnTo>
                      <a:pt x="2353" y="646"/>
                    </a:lnTo>
                    <a:lnTo>
                      <a:pt x="2377" y="674"/>
                    </a:lnTo>
                    <a:lnTo>
                      <a:pt x="2400" y="704"/>
                    </a:lnTo>
                    <a:lnTo>
                      <a:pt x="2421" y="733"/>
                    </a:lnTo>
                    <a:lnTo>
                      <a:pt x="2442" y="765"/>
                    </a:lnTo>
                    <a:lnTo>
                      <a:pt x="2460" y="798"/>
                    </a:lnTo>
                    <a:lnTo>
                      <a:pt x="2477" y="831"/>
                    </a:lnTo>
                    <a:lnTo>
                      <a:pt x="2492" y="865"/>
                    </a:lnTo>
                    <a:lnTo>
                      <a:pt x="2506" y="900"/>
                    </a:lnTo>
                    <a:lnTo>
                      <a:pt x="2518" y="936"/>
                    </a:lnTo>
                    <a:lnTo>
                      <a:pt x="2529" y="973"/>
                    </a:lnTo>
                    <a:lnTo>
                      <a:pt x="2537" y="1010"/>
                    </a:lnTo>
                    <a:lnTo>
                      <a:pt x="2545" y="1048"/>
                    </a:lnTo>
                    <a:lnTo>
                      <a:pt x="2549" y="1087"/>
                    </a:lnTo>
                    <a:lnTo>
                      <a:pt x="2552" y="1126"/>
                    </a:lnTo>
                    <a:lnTo>
                      <a:pt x="2553" y="1166"/>
                    </a:lnTo>
                    <a:lnTo>
                      <a:pt x="2552" y="1206"/>
                    </a:lnTo>
                    <a:lnTo>
                      <a:pt x="2549" y="1245"/>
                    </a:lnTo>
                    <a:lnTo>
                      <a:pt x="2545" y="1284"/>
                    </a:lnTo>
                    <a:lnTo>
                      <a:pt x="2537" y="1321"/>
                    </a:lnTo>
                    <a:lnTo>
                      <a:pt x="2529" y="1359"/>
                    </a:lnTo>
                    <a:lnTo>
                      <a:pt x="2518" y="1395"/>
                    </a:lnTo>
                    <a:lnTo>
                      <a:pt x="2506" y="1432"/>
                    </a:lnTo>
                    <a:lnTo>
                      <a:pt x="2492" y="1466"/>
                    </a:lnTo>
                    <a:lnTo>
                      <a:pt x="2477" y="1501"/>
                    </a:lnTo>
                    <a:lnTo>
                      <a:pt x="2460" y="1534"/>
                    </a:lnTo>
                    <a:lnTo>
                      <a:pt x="2442" y="1567"/>
                    </a:lnTo>
                    <a:lnTo>
                      <a:pt x="2421" y="1597"/>
                    </a:lnTo>
                    <a:lnTo>
                      <a:pt x="2400" y="1627"/>
                    </a:lnTo>
                    <a:lnTo>
                      <a:pt x="2377" y="1656"/>
                    </a:lnTo>
                    <a:lnTo>
                      <a:pt x="2353" y="1686"/>
                    </a:lnTo>
                    <a:lnTo>
                      <a:pt x="2328" y="1712"/>
                    </a:lnTo>
                    <a:lnTo>
                      <a:pt x="2301" y="1738"/>
                    </a:lnTo>
                    <a:lnTo>
                      <a:pt x="2272" y="1762"/>
                    </a:lnTo>
                    <a:lnTo>
                      <a:pt x="2243" y="1784"/>
                    </a:lnTo>
                    <a:lnTo>
                      <a:pt x="2214" y="1806"/>
                    </a:lnTo>
                    <a:lnTo>
                      <a:pt x="2182" y="1826"/>
                    </a:lnTo>
                    <a:lnTo>
                      <a:pt x="2150" y="1845"/>
                    </a:lnTo>
                    <a:lnTo>
                      <a:pt x="2117" y="1862"/>
                    </a:lnTo>
                    <a:lnTo>
                      <a:pt x="2083" y="1877"/>
                    </a:lnTo>
                    <a:lnTo>
                      <a:pt x="2048" y="1891"/>
                    </a:lnTo>
                    <a:lnTo>
                      <a:pt x="2012" y="1903"/>
                    </a:lnTo>
                    <a:lnTo>
                      <a:pt x="1975" y="1914"/>
                    </a:lnTo>
                    <a:lnTo>
                      <a:pt x="1938" y="1922"/>
                    </a:lnTo>
                    <a:lnTo>
                      <a:pt x="1900" y="1928"/>
                    </a:lnTo>
                    <a:lnTo>
                      <a:pt x="1861" y="1935"/>
                    </a:lnTo>
                    <a:lnTo>
                      <a:pt x="1823" y="1937"/>
                    </a:lnTo>
                    <a:lnTo>
                      <a:pt x="1783" y="1938"/>
                    </a:lnTo>
                    <a:lnTo>
                      <a:pt x="1743" y="1937"/>
                    </a:lnTo>
                    <a:lnTo>
                      <a:pt x="1704" y="1935"/>
                    </a:lnTo>
                    <a:lnTo>
                      <a:pt x="1665" y="1928"/>
                    </a:lnTo>
                    <a:lnTo>
                      <a:pt x="1628" y="1922"/>
                    </a:lnTo>
                    <a:lnTo>
                      <a:pt x="1590" y="1914"/>
                    </a:lnTo>
                    <a:lnTo>
                      <a:pt x="1554" y="1903"/>
                    </a:lnTo>
                    <a:lnTo>
                      <a:pt x="1519" y="1891"/>
                    </a:lnTo>
                    <a:lnTo>
                      <a:pt x="1483" y="1877"/>
                    </a:lnTo>
                    <a:lnTo>
                      <a:pt x="1448" y="1862"/>
                    </a:lnTo>
                    <a:lnTo>
                      <a:pt x="1416" y="1845"/>
                    </a:lnTo>
                    <a:lnTo>
                      <a:pt x="1383" y="1826"/>
                    </a:lnTo>
                    <a:lnTo>
                      <a:pt x="1353" y="1806"/>
                    </a:lnTo>
                    <a:lnTo>
                      <a:pt x="1322" y="1784"/>
                    </a:lnTo>
                    <a:lnTo>
                      <a:pt x="1293" y="1762"/>
                    </a:lnTo>
                    <a:lnTo>
                      <a:pt x="1265" y="1738"/>
                    </a:lnTo>
                    <a:lnTo>
                      <a:pt x="1239" y="1712"/>
                    </a:lnTo>
                    <a:lnTo>
                      <a:pt x="1213" y="1686"/>
                    </a:lnTo>
                    <a:lnTo>
                      <a:pt x="1189" y="1656"/>
                    </a:lnTo>
                    <a:lnTo>
                      <a:pt x="1166" y="1627"/>
                    </a:lnTo>
                    <a:lnTo>
                      <a:pt x="1144" y="1597"/>
                    </a:lnTo>
                    <a:lnTo>
                      <a:pt x="1124" y="1567"/>
                    </a:lnTo>
                    <a:lnTo>
                      <a:pt x="1106" y="1534"/>
                    </a:lnTo>
                    <a:lnTo>
                      <a:pt x="1089" y="1501"/>
                    </a:lnTo>
                    <a:lnTo>
                      <a:pt x="1073" y="1466"/>
                    </a:lnTo>
                    <a:lnTo>
                      <a:pt x="1060" y="1432"/>
                    </a:lnTo>
                    <a:lnTo>
                      <a:pt x="1047" y="1395"/>
                    </a:lnTo>
                    <a:lnTo>
                      <a:pt x="1036" y="1359"/>
                    </a:lnTo>
                    <a:lnTo>
                      <a:pt x="1028" y="1321"/>
                    </a:lnTo>
                    <a:lnTo>
                      <a:pt x="1022" y="1284"/>
                    </a:lnTo>
                    <a:lnTo>
                      <a:pt x="1017" y="1245"/>
                    </a:lnTo>
                    <a:lnTo>
                      <a:pt x="1013" y="1206"/>
                    </a:lnTo>
                    <a:lnTo>
                      <a:pt x="1012" y="1166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" name="Freeform 40"/>
              <p:cNvSpPr>
                <a:spLocks noEditPoints="1"/>
              </p:cNvSpPr>
              <p:nvPr/>
            </p:nvSpPr>
            <p:spPr bwMode="gray">
              <a:xfrm>
                <a:off x="1020" y="1106"/>
                <a:ext cx="279" cy="326"/>
              </a:xfrm>
              <a:custGeom>
                <a:avLst/>
                <a:gdLst>
                  <a:gd name="T0" fmla="*/ 0 w 1386"/>
                  <a:gd name="T1" fmla="*/ 0 h 1632"/>
                  <a:gd name="T2" fmla="*/ 0 w 1386"/>
                  <a:gd name="T3" fmla="*/ 0 h 1632"/>
                  <a:gd name="T4" fmla="*/ 0 w 1386"/>
                  <a:gd name="T5" fmla="*/ 0 h 1632"/>
                  <a:gd name="T6" fmla="*/ 0 w 1386"/>
                  <a:gd name="T7" fmla="*/ 0 h 1632"/>
                  <a:gd name="T8" fmla="*/ 0 w 1386"/>
                  <a:gd name="T9" fmla="*/ 0 h 1632"/>
                  <a:gd name="T10" fmla="*/ 0 w 1386"/>
                  <a:gd name="T11" fmla="*/ 0 h 1632"/>
                  <a:gd name="T12" fmla="*/ 0 w 1386"/>
                  <a:gd name="T13" fmla="*/ 0 h 1632"/>
                  <a:gd name="T14" fmla="*/ 0 w 1386"/>
                  <a:gd name="T15" fmla="*/ 0 h 1632"/>
                  <a:gd name="T16" fmla="*/ 0 w 1386"/>
                  <a:gd name="T17" fmla="*/ 0 h 1632"/>
                  <a:gd name="T18" fmla="*/ 0 w 1386"/>
                  <a:gd name="T19" fmla="*/ 0 h 1632"/>
                  <a:gd name="T20" fmla="*/ 0 w 1386"/>
                  <a:gd name="T21" fmla="*/ 0 h 1632"/>
                  <a:gd name="T22" fmla="*/ 0 w 1386"/>
                  <a:gd name="T23" fmla="*/ 0 h 1632"/>
                  <a:gd name="T24" fmla="*/ 0 w 1386"/>
                  <a:gd name="T25" fmla="*/ 0 h 1632"/>
                  <a:gd name="T26" fmla="*/ 0 w 1386"/>
                  <a:gd name="T27" fmla="*/ 0 h 1632"/>
                  <a:gd name="T28" fmla="*/ 0 w 1386"/>
                  <a:gd name="T29" fmla="*/ 0 h 1632"/>
                  <a:gd name="T30" fmla="*/ 0 w 1386"/>
                  <a:gd name="T31" fmla="*/ 0 h 1632"/>
                  <a:gd name="T32" fmla="*/ 0 w 1386"/>
                  <a:gd name="T33" fmla="*/ 0 h 1632"/>
                  <a:gd name="T34" fmla="*/ 0 w 1386"/>
                  <a:gd name="T35" fmla="*/ 0 h 1632"/>
                  <a:gd name="T36" fmla="*/ 0 w 1386"/>
                  <a:gd name="T37" fmla="*/ 0 h 1632"/>
                  <a:gd name="T38" fmla="*/ 0 w 1386"/>
                  <a:gd name="T39" fmla="*/ 0 h 1632"/>
                  <a:gd name="T40" fmla="*/ 0 w 1386"/>
                  <a:gd name="T41" fmla="*/ 0 h 1632"/>
                  <a:gd name="T42" fmla="*/ 0 w 1386"/>
                  <a:gd name="T43" fmla="*/ 0 h 1632"/>
                  <a:gd name="T44" fmla="*/ 0 w 1386"/>
                  <a:gd name="T45" fmla="*/ 0 h 1632"/>
                  <a:gd name="T46" fmla="*/ 0 w 1386"/>
                  <a:gd name="T47" fmla="*/ 0 h 1632"/>
                  <a:gd name="T48" fmla="*/ 0 w 1386"/>
                  <a:gd name="T49" fmla="*/ 0 h 1632"/>
                  <a:gd name="T50" fmla="*/ 0 w 1386"/>
                  <a:gd name="T51" fmla="*/ 0 h 1632"/>
                  <a:gd name="T52" fmla="*/ 0 w 1386"/>
                  <a:gd name="T53" fmla="*/ 0 h 1632"/>
                  <a:gd name="T54" fmla="*/ 0 w 1386"/>
                  <a:gd name="T55" fmla="*/ 0 h 1632"/>
                  <a:gd name="T56" fmla="*/ 0 w 1386"/>
                  <a:gd name="T57" fmla="*/ 0 h 1632"/>
                  <a:gd name="T58" fmla="*/ 0 w 1386"/>
                  <a:gd name="T59" fmla="*/ 0 h 1632"/>
                  <a:gd name="T60" fmla="*/ 0 w 1386"/>
                  <a:gd name="T61" fmla="*/ 0 h 1632"/>
                  <a:gd name="T62" fmla="*/ 0 w 1386"/>
                  <a:gd name="T63" fmla="*/ 0 h 1632"/>
                  <a:gd name="T64" fmla="*/ 0 w 1386"/>
                  <a:gd name="T65" fmla="*/ 0 h 1632"/>
                  <a:gd name="T66" fmla="*/ 0 w 1386"/>
                  <a:gd name="T67" fmla="*/ 0 h 1632"/>
                  <a:gd name="T68" fmla="*/ 0 w 1386"/>
                  <a:gd name="T69" fmla="*/ 0 h 1632"/>
                  <a:gd name="T70" fmla="*/ 0 w 1386"/>
                  <a:gd name="T71" fmla="*/ 0 h 1632"/>
                  <a:gd name="T72" fmla="*/ 0 w 1386"/>
                  <a:gd name="T73" fmla="*/ 0 h 1632"/>
                  <a:gd name="T74" fmla="*/ 0 w 1386"/>
                  <a:gd name="T75" fmla="*/ 0 h 1632"/>
                  <a:gd name="T76" fmla="*/ 0 w 1386"/>
                  <a:gd name="T77" fmla="*/ 0 h 1632"/>
                  <a:gd name="T78" fmla="*/ 0 w 1386"/>
                  <a:gd name="T79" fmla="*/ 0 h 1632"/>
                  <a:gd name="T80" fmla="*/ 0 w 1386"/>
                  <a:gd name="T81" fmla="*/ 0 h 1632"/>
                  <a:gd name="T82" fmla="*/ 0 w 1386"/>
                  <a:gd name="T83" fmla="*/ 0 h 1632"/>
                  <a:gd name="T84" fmla="*/ 0 w 1386"/>
                  <a:gd name="T85" fmla="*/ 0 h 1632"/>
                  <a:gd name="T86" fmla="*/ 0 w 1386"/>
                  <a:gd name="T87" fmla="*/ 0 h 1632"/>
                  <a:gd name="T88" fmla="*/ 0 w 1386"/>
                  <a:gd name="T89" fmla="*/ 0 h 163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386"/>
                  <a:gd name="T136" fmla="*/ 0 h 1632"/>
                  <a:gd name="T137" fmla="*/ 1386 w 1386"/>
                  <a:gd name="T138" fmla="*/ 1632 h 163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386" h="1632">
                    <a:moveTo>
                      <a:pt x="0" y="1632"/>
                    </a:moveTo>
                    <a:lnTo>
                      <a:pt x="446" y="1632"/>
                    </a:lnTo>
                    <a:lnTo>
                      <a:pt x="492" y="1632"/>
                    </a:lnTo>
                    <a:lnTo>
                      <a:pt x="538" y="1630"/>
                    </a:lnTo>
                    <a:lnTo>
                      <a:pt x="584" y="1627"/>
                    </a:lnTo>
                    <a:lnTo>
                      <a:pt x="629" y="1624"/>
                    </a:lnTo>
                    <a:lnTo>
                      <a:pt x="673" y="1619"/>
                    </a:lnTo>
                    <a:lnTo>
                      <a:pt x="717" y="1613"/>
                    </a:lnTo>
                    <a:lnTo>
                      <a:pt x="761" y="1605"/>
                    </a:lnTo>
                    <a:lnTo>
                      <a:pt x="803" y="1596"/>
                    </a:lnTo>
                    <a:lnTo>
                      <a:pt x="844" y="1585"/>
                    </a:lnTo>
                    <a:lnTo>
                      <a:pt x="884" y="1574"/>
                    </a:lnTo>
                    <a:lnTo>
                      <a:pt x="924" y="1560"/>
                    </a:lnTo>
                    <a:lnTo>
                      <a:pt x="962" y="1545"/>
                    </a:lnTo>
                    <a:lnTo>
                      <a:pt x="999" y="1528"/>
                    </a:lnTo>
                    <a:lnTo>
                      <a:pt x="1036" y="1509"/>
                    </a:lnTo>
                    <a:lnTo>
                      <a:pt x="1070" y="1489"/>
                    </a:lnTo>
                    <a:lnTo>
                      <a:pt x="1102" y="1467"/>
                    </a:lnTo>
                    <a:lnTo>
                      <a:pt x="1134" y="1443"/>
                    </a:lnTo>
                    <a:lnTo>
                      <a:pt x="1164" y="1417"/>
                    </a:lnTo>
                    <a:lnTo>
                      <a:pt x="1193" y="1389"/>
                    </a:lnTo>
                    <a:lnTo>
                      <a:pt x="1220" y="1359"/>
                    </a:lnTo>
                    <a:lnTo>
                      <a:pt x="1245" y="1327"/>
                    </a:lnTo>
                    <a:lnTo>
                      <a:pt x="1268" y="1292"/>
                    </a:lnTo>
                    <a:lnTo>
                      <a:pt x="1289" y="1256"/>
                    </a:lnTo>
                    <a:lnTo>
                      <a:pt x="1309" y="1217"/>
                    </a:lnTo>
                    <a:lnTo>
                      <a:pt x="1326" y="1175"/>
                    </a:lnTo>
                    <a:lnTo>
                      <a:pt x="1342" y="1132"/>
                    </a:lnTo>
                    <a:lnTo>
                      <a:pt x="1354" y="1086"/>
                    </a:lnTo>
                    <a:lnTo>
                      <a:pt x="1365" y="1037"/>
                    </a:lnTo>
                    <a:lnTo>
                      <a:pt x="1374" y="986"/>
                    </a:lnTo>
                    <a:lnTo>
                      <a:pt x="1381" y="931"/>
                    </a:lnTo>
                    <a:lnTo>
                      <a:pt x="1384" y="876"/>
                    </a:lnTo>
                    <a:lnTo>
                      <a:pt x="1386" y="816"/>
                    </a:lnTo>
                    <a:lnTo>
                      <a:pt x="1384" y="757"/>
                    </a:lnTo>
                    <a:lnTo>
                      <a:pt x="1381" y="701"/>
                    </a:lnTo>
                    <a:lnTo>
                      <a:pt x="1374" y="646"/>
                    </a:lnTo>
                    <a:lnTo>
                      <a:pt x="1365" y="595"/>
                    </a:lnTo>
                    <a:lnTo>
                      <a:pt x="1354" y="546"/>
                    </a:lnTo>
                    <a:lnTo>
                      <a:pt x="1342" y="500"/>
                    </a:lnTo>
                    <a:lnTo>
                      <a:pt x="1326" y="457"/>
                    </a:lnTo>
                    <a:lnTo>
                      <a:pt x="1309" y="415"/>
                    </a:lnTo>
                    <a:lnTo>
                      <a:pt x="1289" y="376"/>
                    </a:lnTo>
                    <a:lnTo>
                      <a:pt x="1268" y="340"/>
                    </a:lnTo>
                    <a:lnTo>
                      <a:pt x="1245" y="305"/>
                    </a:lnTo>
                    <a:lnTo>
                      <a:pt x="1220" y="273"/>
                    </a:lnTo>
                    <a:lnTo>
                      <a:pt x="1193" y="243"/>
                    </a:lnTo>
                    <a:lnTo>
                      <a:pt x="1164" y="215"/>
                    </a:lnTo>
                    <a:lnTo>
                      <a:pt x="1134" y="189"/>
                    </a:lnTo>
                    <a:lnTo>
                      <a:pt x="1102" y="165"/>
                    </a:lnTo>
                    <a:lnTo>
                      <a:pt x="1070" y="143"/>
                    </a:lnTo>
                    <a:lnTo>
                      <a:pt x="1036" y="123"/>
                    </a:lnTo>
                    <a:lnTo>
                      <a:pt x="999" y="104"/>
                    </a:lnTo>
                    <a:lnTo>
                      <a:pt x="962" y="87"/>
                    </a:lnTo>
                    <a:lnTo>
                      <a:pt x="924" y="72"/>
                    </a:lnTo>
                    <a:lnTo>
                      <a:pt x="884" y="58"/>
                    </a:lnTo>
                    <a:lnTo>
                      <a:pt x="844" y="47"/>
                    </a:lnTo>
                    <a:lnTo>
                      <a:pt x="803" y="36"/>
                    </a:lnTo>
                    <a:lnTo>
                      <a:pt x="761" y="27"/>
                    </a:lnTo>
                    <a:lnTo>
                      <a:pt x="717" y="19"/>
                    </a:lnTo>
                    <a:lnTo>
                      <a:pt x="673" y="13"/>
                    </a:lnTo>
                    <a:lnTo>
                      <a:pt x="629" y="8"/>
                    </a:lnTo>
                    <a:lnTo>
                      <a:pt x="584" y="5"/>
                    </a:lnTo>
                    <a:lnTo>
                      <a:pt x="538" y="2"/>
                    </a:lnTo>
                    <a:lnTo>
                      <a:pt x="492" y="0"/>
                    </a:lnTo>
                    <a:lnTo>
                      <a:pt x="446" y="0"/>
                    </a:lnTo>
                    <a:lnTo>
                      <a:pt x="0" y="0"/>
                    </a:lnTo>
                    <a:lnTo>
                      <a:pt x="0" y="1632"/>
                    </a:lnTo>
                    <a:close/>
                    <a:moveTo>
                      <a:pt x="327" y="257"/>
                    </a:moveTo>
                    <a:lnTo>
                      <a:pt x="509" y="257"/>
                    </a:lnTo>
                    <a:lnTo>
                      <a:pt x="534" y="257"/>
                    </a:lnTo>
                    <a:lnTo>
                      <a:pt x="560" y="260"/>
                    </a:lnTo>
                    <a:lnTo>
                      <a:pt x="585" y="262"/>
                    </a:lnTo>
                    <a:lnTo>
                      <a:pt x="609" y="267"/>
                    </a:lnTo>
                    <a:lnTo>
                      <a:pt x="635" y="272"/>
                    </a:lnTo>
                    <a:lnTo>
                      <a:pt x="659" y="278"/>
                    </a:lnTo>
                    <a:lnTo>
                      <a:pt x="683" y="285"/>
                    </a:lnTo>
                    <a:lnTo>
                      <a:pt x="707" y="294"/>
                    </a:lnTo>
                    <a:lnTo>
                      <a:pt x="730" y="305"/>
                    </a:lnTo>
                    <a:lnTo>
                      <a:pt x="753" y="316"/>
                    </a:lnTo>
                    <a:lnTo>
                      <a:pt x="776" y="327"/>
                    </a:lnTo>
                    <a:lnTo>
                      <a:pt x="798" y="340"/>
                    </a:lnTo>
                    <a:lnTo>
                      <a:pt x="819" y="355"/>
                    </a:lnTo>
                    <a:lnTo>
                      <a:pt x="839" y="369"/>
                    </a:lnTo>
                    <a:lnTo>
                      <a:pt x="860" y="386"/>
                    </a:lnTo>
                    <a:lnTo>
                      <a:pt x="879" y="403"/>
                    </a:lnTo>
                    <a:lnTo>
                      <a:pt x="898" y="421"/>
                    </a:lnTo>
                    <a:lnTo>
                      <a:pt x="914" y="441"/>
                    </a:lnTo>
                    <a:lnTo>
                      <a:pt x="931" y="461"/>
                    </a:lnTo>
                    <a:lnTo>
                      <a:pt x="947" y="483"/>
                    </a:lnTo>
                    <a:lnTo>
                      <a:pt x="962" y="505"/>
                    </a:lnTo>
                    <a:lnTo>
                      <a:pt x="975" y="529"/>
                    </a:lnTo>
                    <a:lnTo>
                      <a:pt x="988" y="554"/>
                    </a:lnTo>
                    <a:lnTo>
                      <a:pt x="999" y="579"/>
                    </a:lnTo>
                    <a:lnTo>
                      <a:pt x="1010" y="605"/>
                    </a:lnTo>
                    <a:lnTo>
                      <a:pt x="1019" y="633"/>
                    </a:lnTo>
                    <a:lnTo>
                      <a:pt x="1027" y="661"/>
                    </a:lnTo>
                    <a:lnTo>
                      <a:pt x="1033" y="690"/>
                    </a:lnTo>
                    <a:lnTo>
                      <a:pt x="1038" y="720"/>
                    </a:lnTo>
                    <a:lnTo>
                      <a:pt x="1042" y="752"/>
                    </a:lnTo>
                    <a:lnTo>
                      <a:pt x="1044" y="783"/>
                    </a:lnTo>
                    <a:lnTo>
                      <a:pt x="1045" y="816"/>
                    </a:lnTo>
                    <a:lnTo>
                      <a:pt x="1044" y="849"/>
                    </a:lnTo>
                    <a:lnTo>
                      <a:pt x="1042" y="880"/>
                    </a:lnTo>
                    <a:lnTo>
                      <a:pt x="1038" y="912"/>
                    </a:lnTo>
                    <a:lnTo>
                      <a:pt x="1033" y="942"/>
                    </a:lnTo>
                    <a:lnTo>
                      <a:pt x="1027" y="971"/>
                    </a:lnTo>
                    <a:lnTo>
                      <a:pt x="1019" y="999"/>
                    </a:lnTo>
                    <a:lnTo>
                      <a:pt x="1010" y="1027"/>
                    </a:lnTo>
                    <a:lnTo>
                      <a:pt x="999" y="1053"/>
                    </a:lnTo>
                    <a:lnTo>
                      <a:pt x="988" y="1078"/>
                    </a:lnTo>
                    <a:lnTo>
                      <a:pt x="975" y="1103"/>
                    </a:lnTo>
                    <a:lnTo>
                      <a:pt x="962" y="1127"/>
                    </a:lnTo>
                    <a:lnTo>
                      <a:pt x="947" y="1149"/>
                    </a:lnTo>
                    <a:lnTo>
                      <a:pt x="931" y="1171"/>
                    </a:lnTo>
                    <a:lnTo>
                      <a:pt x="914" y="1191"/>
                    </a:lnTo>
                    <a:lnTo>
                      <a:pt x="898" y="1211"/>
                    </a:lnTo>
                    <a:lnTo>
                      <a:pt x="879" y="1229"/>
                    </a:lnTo>
                    <a:lnTo>
                      <a:pt x="860" y="1246"/>
                    </a:lnTo>
                    <a:lnTo>
                      <a:pt x="839" y="1263"/>
                    </a:lnTo>
                    <a:lnTo>
                      <a:pt x="819" y="1277"/>
                    </a:lnTo>
                    <a:lnTo>
                      <a:pt x="798" y="1292"/>
                    </a:lnTo>
                    <a:lnTo>
                      <a:pt x="776" y="1305"/>
                    </a:lnTo>
                    <a:lnTo>
                      <a:pt x="753" y="1316"/>
                    </a:lnTo>
                    <a:lnTo>
                      <a:pt x="730" y="1327"/>
                    </a:lnTo>
                    <a:lnTo>
                      <a:pt x="707" y="1338"/>
                    </a:lnTo>
                    <a:lnTo>
                      <a:pt x="683" y="1347"/>
                    </a:lnTo>
                    <a:lnTo>
                      <a:pt x="659" y="1354"/>
                    </a:lnTo>
                    <a:lnTo>
                      <a:pt x="635" y="1360"/>
                    </a:lnTo>
                    <a:lnTo>
                      <a:pt x="609" y="1365"/>
                    </a:lnTo>
                    <a:lnTo>
                      <a:pt x="585" y="1370"/>
                    </a:lnTo>
                    <a:lnTo>
                      <a:pt x="560" y="1372"/>
                    </a:lnTo>
                    <a:lnTo>
                      <a:pt x="534" y="1375"/>
                    </a:lnTo>
                    <a:lnTo>
                      <a:pt x="509" y="1375"/>
                    </a:lnTo>
                    <a:lnTo>
                      <a:pt x="327" y="1375"/>
                    </a:lnTo>
                    <a:lnTo>
                      <a:pt x="327" y="25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" name="Freeform 41"/>
              <p:cNvSpPr>
                <a:spLocks noEditPoints="1"/>
              </p:cNvSpPr>
              <p:nvPr/>
            </p:nvSpPr>
            <p:spPr bwMode="gray">
              <a:xfrm>
                <a:off x="1324" y="1184"/>
                <a:ext cx="225" cy="254"/>
              </a:xfrm>
              <a:custGeom>
                <a:avLst/>
                <a:gdLst>
                  <a:gd name="T0" fmla="*/ 0 w 1129"/>
                  <a:gd name="T1" fmla="*/ 0 h 1261"/>
                  <a:gd name="T2" fmla="*/ 0 w 1129"/>
                  <a:gd name="T3" fmla="*/ 0 h 1261"/>
                  <a:gd name="T4" fmla="*/ 0 w 1129"/>
                  <a:gd name="T5" fmla="*/ 0 h 1261"/>
                  <a:gd name="T6" fmla="*/ 0 w 1129"/>
                  <a:gd name="T7" fmla="*/ 0 h 1261"/>
                  <a:gd name="T8" fmla="*/ 0 w 1129"/>
                  <a:gd name="T9" fmla="*/ 0 h 1261"/>
                  <a:gd name="T10" fmla="*/ 0 w 1129"/>
                  <a:gd name="T11" fmla="*/ 0 h 1261"/>
                  <a:gd name="T12" fmla="*/ 0 w 1129"/>
                  <a:gd name="T13" fmla="*/ 0 h 1261"/>
                  <a:gd name="T14" fmla="*/ 0 w 1129"/>
                  <a:gd name="T15" fmla="*/ 0 h 1261"/>
                  <a:gd name="T16" fmla="*/ 0 w 1129"/>
                  <a:gd name="T17" fmla="*/ 0 h 1261"/>
                  <a:gd name="T18" fmla="*/ 0 w 1129"/>
                  <a:gd name="T19" fmla="*/ 0 h 1261"/>
                  <a:gd name="T20" fmla="*/ 0 w 1129"/>
                  <a:gd name="T21" fmla="*/ 0 h 1261"/>
                  <a:gd name="T22" fmla="*/ 0 w 1129"/>
                  <a:gd name="T23" fmla="*/ 0 h 1261"/>
                  <a:gd name="T24" fmla="*/ 0 w 1129"/>
                  <a:gd name="T25" fmla="*/ 0 h 1261"/>
                  <a:gd name="T26" fmla="*/ 0 w 1129"/>
                  <a:gd name="T27" fmla="*/ 0 h 1261"/>
                  <a:gd name="T28" fmla="*/ 0 w 1129"/>
                  <a:gd name="T29" fmla="*/ 0 h 1261"/>
                  <a:gd name="T30" fmla="*/ 0 w 1129"/>
                  <a:gd name="T31" fmla="*/ 0 h 1261"/>
                  <a:gd name="T32" fmla="*/ 0 w 1129"/>
                  <a:gd name="T33" fmla="*/ 0 h 1261"/>
                  <a:gd name="T34" fmla="*/ 0 w 1129"/>
                  <a:gd name="T35" fmla="*/ 0 h 1261"/>
                  <a:gd name="T36" fmla="*/ 0 w 1129"/>
                  <a:gd name="T37" fmla="*/ 0 h 1261"/>
                  <a:gd name="T38" fmla="*/ 0 w 1129"/>
                  <a:gd name="T39" fmla="*/ 0 h 1261"/>
                  <a:gd name="T40" fmla="*/ 0 w 1129"/>
                  <a:gd name="T41" fmla="*/ 0 h 1261"/>
                  <a:gd name="T42" fmla="*/ 0 w 1129"/>
                  <a:gd name="T43" fmla="*/ 0 h 1261"/>
                  <a:gd name="T44" fmla="*/ 0 w 1129"/>
                  <a:gd name="T45" fmla="*/ 0 h 1261"/>
                  <a:gd name="T46" fmla="*/ 0 w 1129"/>
                  <a:gd name="T47" fmla="*/ 0 h 1261"/>
                  <a:gd name="T48" fmla="*/ 0 w 1129"/>
                  <a:gd name="T49" fmla="*/ 0 h 1261"/>
                  <a:gd name="T50" fmla="*/ 0 w 1129"/>
                  <a:gd name="T51" fmla="*/ 0 h 1261"/>
                  <a:gd name="T52" fmla="*/ 0 w 1129"/>
                  <a:gd name="T53" fmla="*/ 0 h 1261"/>
                  <a:gd name="T54" fmla="*/ 0 w 1129"/>
                  <a:gd name="T55" fmla="*/ 0 h 1261"/>
                  <a:gd name="T56" fmla="*/ 0 w 1129"/>
                  <a:gd name="T57" fmla="*/ 0 h 1261"/>
                  <a:gd name="T58" fmla="*/ 0 w 1129"/>
                  <a:gd name="T59" fmla="*/ 0 h 1261"/>
                  <a:gd name="T60" fmla="*/ 0 w 1129"/>
                  <a:gd name="T61" fmla="*/ 0 h 1261"/>
                  <a:gd name="T62" fmla="*/ 0 w 1129"/>
                  <a:gd name="T63" fmla="*/ 0 h 1261"/>
                  <a:gd name="T64" fmla="*/ 0 w 1129"/>
                  <a:gd name="T65" fmla="*/ 0 h 1261"/>
                  <a:gd name="T66" fmla="*/ 0 w 1129"/>
                  <a:gd name="T67" fmla="*/ 0 h 1261"/>
                  <a:gd name="T68" fmla="*/ 0 w 1129"/>
                  <a:gd name="T69" fmla="*/ 0 h 1261"/>
                  <a:gd name="T70" fmla="*/ 0 w 1129"/>
                  <a:gd name="T71" fmla="*/ 0 h 1261"/>
                  <a:gd name="T72" fmla="*/ 0 w 1129"/>
                  <a:gd name="T73" fmla="*/ 0 h 1261"/>
                  <a:gd name="T74" fmla="*/ 0 w 1129"/>
                  <a:gd name="T75" fmla="*/ 0 h 1261"/>
                  <a:gd name="T76" fmla="*/ 0 w 1129"/>
                  <a:gd name="T77" fmla="*/ 0 h 1261"/>
                  <a:gd name="T78" fmla="*/ 0 w 1129"/>
                  <a:gd name="T79" fmla="*/ 0 h 1261"/>
                  <a:gd name="T80" fmla="*/ 0 w 1129"/>
                  <a:gd name="T81" fmla="*/ 0 h 1261"/>
                  <a:gd name="T82" fmla="*/ 0 w 1129"/>
                  <a:gd name="T83" fmla="*/ 0 h 1261"/>
                  <a:gd name="T84" fmla="*/ 0 w 1129"/>
                  <a:gd name="T85" fmla="*/ 0 h 1261"/>
                  <a:gd name="T86" fmla="*/ 0 w 1129"/>
                  <a:gd name="T87" fmla="*/ 0 h 1261"/>
                  <a:gd name="T88" fmla="*/ 0 w 1129"/>
                  <a:gd name="T89" fmla="*/ 0 h 1261"/>
                  <a:gd name="T90" fmla="*/ 0 w 1129"/>
                  <a:gd name="T91" fmla="*/ 0 h 1261"/>
                  <a:gd name="T92" fmla="*/ 0 w 1129"/>
                  <a:gd name="T93" fmla="*/ 0 h 1261"/>
                  <a:gd name="T94" fmla="*/ 0 w 1129"/>
                  <a:gd name="T95" fmla="*/ 0 h 1261"/>
                  <a:gd name="T96" fmla="*/ 0 w 1129"/>
                  <a:gd name="T97" fmla="*/ 0 h 1261"/>
                  <a:gd name="T98" fmla="*/ 0 w 1129"/>
                  <a:gd name="T99" fmla="*/ 0 h 1261"/>
                  <a:gd name="T100" fmla="*/ 0 w 1129"/>
                  <a:gd name="T101" fmla="*/ 0 h 1261"/>
                  <a:gd name="T102" fmla="*/ 0 w 1129"/>
                  <a:gd name="T103" fmla="*/ 0 h 1261"/>
                  <a:gd name="T104" fmla="*/ 0 w 1129"/>
                  <a:gd name="T105" fmla="*/ 0 h 12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129"/>
                  <a:gd name="T160" fmla="*/ 0 h 1261"/>
                  <a:gd name="T161" fmla="*/ 1129 w 1129"/>
                  <a:gd name="T162" fmla="*/ 1261 h 12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129" h="1261">
                    <a:moveTo>
                      <a:pt x="299" y="513"/>
                    </a:moveTo>
                    <a:lnTo>
                      <a:pt x="303" y="483"/>
                    </a:lnTo>
                    <a:lnTo>
                      <a:pt x="308" y="455"/>
                    </a:lnTo>
                    <a:lnTo>
                      <a:pt x="315" y="427"/>
                    </a:lnTo>
                    <a:lnTo>
                      <a:pt x="324" y="400"/>
                    </a:lnTo>
                    <a:lnTo>
                      <a:pt x="335" y="376"/>
                    </a:lnTo>
                    <a:lnTo>
                      <a:pt x="347" y="353"/>
                    </a:lnTo>
                    <a:lnTo>
                      <a:pt x="354" y="342"/>
                    </a:lnTo>
                    <a:lnTo>
                      <a:pt x="361" y="331"/>
                    </a:lnTo>
                    <a:lnTo>
                      <a:pt x="368" y="321"/>
                    </a:lnTo>
                    <a:lnTo>
                      <a:pt x="377" y="311"/>
                    </a:lnTo>
                    <a:lnTo>
                      <a:pt x="387" y="302"/>
                    </a:lnTo>
                    <a:lnTo>
                      <a:pt x="395" y="293"/>
                    </a:lnTo>
                    <a:lnTo>
                      <a:pt x="405" y="285"/>
                    </a:lnTo>
                    <a:lnTo>
                      <a:pt x="416" y="277"/>
                    </a:lnTo>
                    <a:lnTo>
                      <a:pt x="427" y="270"/>
                    </a:lnTo>
                    <a:lnTo>
                      <a:pt x="437" y="263"/>
                    </a:lnTo>
                    <a:lnTo>
                      <a:pt x="450" y="257"/>
                    </a:lnTo>
                    <a:lnTo>
                      <a:pt x="462" y="252"/>
                    </a:lnTo>
                    <a:lnTo>
                      <a:pt x="474" y="247"/>
                    </a:lnTo>
                    <a:lnTo>
                      <a:pt x="487" y="242"/>
                    </a:lnTo>
                    <a:lnTo>
                      <a:pt x="500" y="239"/>
                    </a:lnTo>
                    <a:lnTo>
                      <a:pt x="515" y="235"/>
                    </a:lnTo>
                    <a:lnTo>
                      <a:pt x="530" y="234"/>
                    </a:lnTo>
                    <a:lnTo>
                      <a:pt x="545" y="231"/>
                    </a:lnTo>
                    <a:lnTo>
                      <a:pt x="560" y="230"/>
                    </a:lnTo>
                    <a:lnTo>
                      <a:pt x="577" y="230"/>
                    </a:lnTo>
                    <a:lnTo>
                      <a:pt x="593" y="230"/>
                    </a:lnTo>
                    <a:lnTo>
                      <a:pt x="608" y="231"/>
                    </a:lnTo>
                    <a:lnTo>
                      <a:pt x="623" y="234"/>
                    </a:lnTo>
                    <a:lnTo>
                      <a:pt x="637" y="236"/>
                    </a:lnTo>
                    <a:lnTo>
                      <a:pt x="651" y="239"/>
                    </a:lnTo>
                    <a:lnTo>
                      <a:pt x="664" y="243"/>
                    </a:lnTo>
                    <a:lnTo>
                      <a:pt x="677" y="247"/>
                    </a:lnTo>
                    <a:lnTo>
                      <a:pt x="688" y="253"/>
                    </a:lnTo>
                    <a:lnTo>
                      <a:pt x="700" y="259"/>
                    </a:lnTo>
                    <a:lnTo>
                      <a:pt x="711" y="265"/>
                    </a:lnTo>
                    <a:lnTo>
                      <a:pt x="722" y="271"/>
                    </a:lnTo>
                    <a:lnTo>
                      <a:pt x="732" y="280"/>
                    </a:lnTo>
                    <a:lnTo>
                      <a:pt x="740" y="287"/>
                    </a:lnTo>
                    <a:lnTo>
                      <a:pt x="750" y="296"/>
                    </a:lnTo>
                    <a:lnTo>
                      <a:pt x="758" y="305"/>
                    </a:lnTo>
                    <a:lnTo>
                      <a:pt x="766" y="315"/>
                    </a:lnTo>
                    <a:lnTo>
                      <a:pt x="773" y="325"/>
                    </a:lnTo>
                    <a:lnTo>
                      <a:pt x="780" y="334"/>
                    </a:lnTo>
                    <a:lnTo>
                      <a:pt x="786" y="345"/>
                    </a:lnTo>
                    <a:lnTo>
                      <a:pt x="792" y="356"/>
                    </a:lnTo>
                    <a:lnTo>
                      <a:pt x="803" y="379"/>
                    </a:lnTo>
                    <a:lnTo>
                      <a:pt x="812" y="405"/>
                    </a:lnTo>
                    <a:lnTo>
                      <a:pt x="819" y="430"/>
                    </a:lnTo>
                    <a:lnTo>
                      <a:pt x="824" y="457"/>
                    </a:lnTo>
                    <a:lnTo>
                      <a:pt x="829" y="485"/>
                    </a:lnTo>
                    <a:lnTo>
                      <a:pt x="831" y="513"/>
                    </a:lnTo>
                    <a:lnTo>
                      <a:pt x="299" y="513"/>
                    </a:lnTo>
                    <a:close/>
                    <a:moveTo>
                      <a:pt x="1041" y="910"/>
                    </a:moveTo>
                    <a:lnTo>
                      <a:pt x="996" y="934"/>
                    </a:lnTo>
                    <a:lnTo>
                      <a:pt x="951" y="957"/>
                    </a:lnTo>
                    <a:lnTo>
                      <a:pt x="927" y="967"/>
                    </a:lnTo>
                    <a:lnTo>
                      <a:pt x="904" y="978"/>
                    </a:lnTo>
                    <a:lnTo>
                      <a:pt x="880" y="987"/>
                    </a:lnTo>
                    <a:lnTo>
                      <a:pt x="854" y="996"/>
                    </a:lnTo>
                    <a:lnTo>
                      <a:pt x="830" y="1004"/>
                    </a:lnTo>
                    <a:lnTo>
                      <a:pt x="804" y="1011"/>
                    </a:lnTo>
                    <a:lnTo>
                      <a:pt x="778" y="1017"/>
                    </a:lnTo>
                    <a:lnTo>
                      <a:pt x="751" y="1022"/>
                    </a:lnTo>
                    <a:lnTo>
                      <a:pt x="725" y="1027"/>
                    </a:lnTo>
                    <a:lnTo>
                      <a:pt x="698" y="1029"/>
                    </a:lnTo>
                    <a:lnTo>
                      <a:pt x="670" y="1032"/>
                    </a:lnTo>
                    <a:lnTo>
                      <a:pt x="642" y="1032"/>
                    </a:lnTo>
                    <a:lnTo>
                      <a:pt x="624" y="1032"/>
                    </a:lnTo>
                    <a:lnTo>
                      <a:pt x="606" y="1030"/>
                    </a:lnTo>
                    <a:lnTo>
                      <a:pt x="589" y="1029"/>
                    </a:lnTo>
                    <a:lnTo>
                      <a:pt x="572" y="1027"/>
                    </a:lnTo>
                    <a:lnTo>
                      <a:pt x="556" y="1024"/>
                    </a:lnTo>
                    <a:lnTo>
                      <a:pt x="539" y="1021"/>
                    </a:lnTo>
                    <a:lnTo>
                      <a:pt x="523" y="1017"/>
                    </a:lnTo>
                    <a:lnTo>
                      <a:pt x="509" y="1012"/>
                    </a:lnTo>
                    <a:lnTo>
                      <a:pt x="493" y="1006"/>
                    </a:lnTo>
                    <a:lnTo>
                      <a:pt x="480" y="1001"/>
                    </a:lnTo>
                    <a:lnTo>
                      <a:pt x="465" y="994"/>
                    </a:lnTo>
                    <a:lnTo>
                      <a:pt x="452" y="987"/>
                    </a:lnTo>
                    <a:lnTo>
                      <a:pt x="439" y="979"/>
                    </a:lnTo>
                    <a:lnTo>
                      <a:pt x="427" y="971"/>
                    </a:lnTo>
                    <a:lnTo>
                      <a:pt x="414" y="962"/>
                    </a:lnTo>
                    <a:lnTo>
                      <a:pt x="404" y="953"/>
                    </a:lnTo>
                    <a:lnTo>
                      <a:pt x="393" y="943"/>
                    </a:lnTo>
                    <a:lnTo>
                      <a:pt x="382" y="932"/>
                    </a:lnTo>
                    <a:lnTo>
                      <a:pt x="372" y="921"/>
                    </a:lnTo>
                    <a:lnTo>
                      <a:pt x="362" y="910"/>
                    </a:lnTo>
                    <a:lnTo>
                      <a:pt x="354" y="898"/>
                    </a:lnTo>
                    <a:lnTo>
                      <a:pt x="345" y="885"/>
                    </a:lnTo>
                    <a:lnTo>
                      <a:pt x="338" y="871"/>
                    </a:lnTo>
                    <a:lnTo>
                      <a:pt x="331" y="858"/>
                    </a:lnTo>
                    <a:lnTo>
                      <a:pt x="325" y="843"/>
                    </a:lnTo>
                    <a:lnTo>
                      <a:pt x="319" y="829"/>
                    </a:lnTo>
                    <a:lnTo>
                      <a:pt x="314" y="813"/>
                    </a:lnTo>
                    <a:lnTo>
                      <a:pt x="310" y="797"/>
                    </a:lnTo>
                    <a:lnTo>
                      <a:pt x="305" y="780"/>
                    </a:lnTo>
                    <a:lnTo>
                      <a:pt x="303" y="763"/>
                    </a:lnTo>
                    <a:lnTo>
                      <a:pt x="301" y="746"/>
                    </a:lnTo>
                    <a:lnTo>
                      <a:pt x="299" y="728"/>
                    </a:lnTo>
                    <a:lnTo>
                      <a:pt x="1129" y="728"/>
                    </a:lnTo>
                    <a:lnTo>
                      <a:pt x="1129" y="689"/>
                    </a:lnTo>
                    <a:lnTo>
                      <a:pt x="1128" y="650"/>
                    </a:lnTo>
                    <a:lnTo>
                      <a:pt x="1125" y="613"/>
                    </a:lnTo>
                    <a:lnTo>
                      <a:pt x="1123" y="576"/>
                    </a:lnTo>
                    <a:lnTo>
                      <a:pt x="1119" y="540"/>
                    </a:lnTo>
                    <a:lnTo>
                      <a:pt x="1115" y="504"/>
                    </a:lnTo>
                    <a:lnTo>
                      <a:pt x="1110" y="470"/>
                    </a:lnTo>
                    <a:lnTo>
                      <a:pt x="1102" y="436"/>
                    </a:lnTo>
                    <a:lnTo>
                      <a:pt x="1095" y="405"/>
                    </a:lnTo>
                    <a:lnTo>
                      <a:pt x="1087" y="373"/>
                    </a:lnTo>
                    <a:lnTo>
                      <a:pt x="1077" y="343"/>
                    </a:lnTo>
                    <a:lnTo>
                      <a:pt x="1066" y="313"/>
                    </a:lnTo>
                    <a:lnTo>
                      <a:pt x="1054" y="285"/>
                    </a:lnTo>
                    <a:lnTo>
                      <a:pt x="1041" y="258"/>
                    </a:lnTo>
                    <a:lnTo>
                      <a:pt x="1026" y="231"/>
                    </a:lnTo>
                    <a:lnTo>
                      <a:pt x="1010" y="207"/>
                    </a:lnTo>
                    <a:lnTo>
                      <a:pt x="993" y="183"/>
                    </a:lnTo>
                    <a:lnTo>
                      <a:pt x="975" y="161"/>
                    </a:lnTo>
                    <a:lnTo>
                      <a:pt x="956" y="140"/>
                    </a:lnTo>
                    <a:lnTo>
                      <a:pt x="934" y="119"/>
                    </a:lnTo>
                    <a:lnTo>
                      <a:pt x="912" y="101"/>
                    </a:lnTo>
                    <a:lnTo>
                      <a:pt x="888" y="84"/>
                    </a:lnTo>
                    <a:lnTo>
                      <a:pt x="863" y="70"/>
                    </a:lnTo>
                    <a:lnTo>
                      <a:pt x="835" y="55"/>
                    </a:lnTo>
                    <a:lnTo>
                      <a:pt x="807" y="43"/>
                    </a:lnTo>
                    <a:lnTo>
                      <a:pt x="775" y="32"/>
                    </a:lnTo>
                    <a:lnTo>
                      <a:pt x="744" y="22"/>
                    </a:lnTo>
                    <a:lnTo>
                      <a:pt x="710" y="15"/>
                    </a:lnTo>
                    <a:lnTo>
                      <a:pt x="675" y="9"/>
                    </a:lnTo>
                    <a:lnTo>
                      <a:pt x="637" y="4"/>
                    </a:lnTo>
                    <a:lnTo>
                      <a:pt x="599" y="2"/>
                    </a:lnTo>
                    <a:lnTo>
                      <a:pt x="557" y="0"/>
                    </a:lnTo>
                    <a:lnTo>
                      <a:pt x="523" y="2"/>
                    </a:lnTo>
                    <a:lnTo>
                      <a:pt x="490" y="4"/>
                    </a:lnTo>
                    <a:lnTo>
                      <a:pt x="458" y="8"/>
                    </a:lnTo>
                    <a:lnTo>
                      <a:pt x="427" y="14"/>
                    </a:lnTo>
                    <a:lnTo>
                      <a:pt x="396" y="21"/>
                    </a:lnTo>
                    <a:lnTo>
                      <a:pt x="368" y="30"/>
                    </a:lnTo>
                    <a:lnTo>
                      <a:pt x="341" y="39"/>
                    </a:lnTo>
                    <a:lnTo>
                      <a:pt x="314" y="51"/>
                    </a:lnTo>
                    <a:lnTo>
                      <a:pt x="287" y="64"/>
                    </a:lnTo>
                    <a:lnTo>
                      <a:pt x="263" y="78"/>
                    </a:lnTo>
                    <a:lnTo>
                      <a:pt x="240" y="94"/>
                    </a:lnTo>
                    <a:lnTo>
                      <a:pt x="217" y="110"/>
                    </a:lnTo>
                    <a:lnTo>
                      <a:pt x="196" y="128"/>
                    </a:lnTo>
                    <a:lnTo>
                      <a:pt x="176" y="147"/>
                    </a:lnTo>
                    <a:lnTo>
                      <a:pt x="158" y="167"/>
                    </a:lnTo>
                    <a:lnTo>
                      <a:pt x="140" y="188"/>
                    </a:lnTo>
                    <a:lnTo>
                      <a:pt x="123" y="211"/>
                    </a:lnTo>
                    <a:lnTo>
                      <a:pt x="107" y="234"/>
                    </a:lnTo>
                    <a:lnTo>
                      <a:pt x="92" y="258"/>
                    </a:lnTo>
                    <a:lnTo>
                      <a:pt x="79" y="282"/>
                    </a:lnTo>
                    <a:lnTo>
                      <a:pt x="66" y="308"/>
                    </a:lnTo>
                    <a:lnTo>
                      <a:pt x="55" y="334"/>
                    </a:lnTo>
                    <a:lnTo>
                      <a:pt x="44" y="362"/>
                    </a:lnTo>
                    <a:lnTo>
                      <a:pt x="35" y="390"/>
                    </a:lnTo>
                    <a:lnTo>
                      <a:pt x="27" y="419"/>
                    </a:lnTo>
                    <a:lnTo>
                      <a:pt x="20" y="449"/>
                    </a:lnTo>
                    <a:lnTo>
                      <a:pt x="14" y="479"/>
                    </a:lnTo>
                    <a:lnTo>
                      <a:pt x="9" y="509"/>
                    </a:lnTo>
                    <a:lnTo>
                      <a:pt x="5" y="541"/>
                    </a:lnTo>
                    <a:lnTo>
                      <a:pt x="3" y="572"/>
                    </a:lnTo>
                    <a:lnTo>
                      <a:pt x="1" y="604"/>
                    </a:lnTo>
                    <a:lnTo>
                      <a:pt x="0" y="637"/>
                    </a:lnTo>
                    <a:lnTo>
                      <a:pt x="1" y="673"/>
                    </a:lnTo>
                    <a:lnTo>
                      <a:pt x="3" y="708"/>
                    </a:lnTo>
                    <a:lnTo>
                      <a:pt x="6" y="744"/>
                    </a:lnTo>
                    <a:lnTo>
                      <a:pt x="11" y="778"/>
                    </a:lnTo>
                    <a:lnTo>
                      <a:pt x="17" y="809"/>
                    </a:lnTo>
                    <a:lnTo>
                      <a:pt x="24" y="841"/>
                    </a:lnTo>
                    <a:lnTo>
                      <a:pt x="33" y="871"/>
                    </a:lnTo>
                    <a:lnTo>
                      <a:pt x="43" y="902"/>
                    </a:lnTo>
                    <a:lnTo>
                      <a:pt x="54" y="929"/>
                    </a:lnTo>
                    <a:lnTo>
                      <a:pt x="66" y="956"/>
                    </a:lnTo>
                    <a:lnTo>
                      <a:pt x="80" y="983"/>
                    </a:lnTo>
                    <a:lnTo>
                      <a:pt x="95" y="1008"/>
                    </a:lnTo>
                    <a:lnTo>
                      <a:pt x="110" y="1032"/>
                    </a:lnTo>
                    <a:lnTo>
                      <a:pt x="127" y="1055"/>
                    </a:lnTo>
                    <a:lnTo>
                      <a:pt x="146" y="1076"/>
                    </a:lnTo>
                    <a:lnTo>
                      <a:pt x="165" y="1097"/>
                    </a:lnTo>
                    <a:lnTo>
                      <a:pt x="186" y="1117"/>
                    </a:lnTo>
                    <a:lnTo>
                      <a:pt x="209" y="1135"/>
                    </a:lnTo>
                    <a:lnTo>
                      <a:pt x="230" y="1152"/>
                    </a:lnTo>
                    <a:lnTo>
                      <a:pt x="255" y="1168"/>
                    </a:lnTo>
                    <a:lnTo>
                      <a:pt x="280" y="1182"/>
                    </a:lnTo>
                    <a:lnTo>
                      <a:pt x="307" y="1195"/>
                    </a:lnTo>
                    <a:lnTo>
                      <a:pt x="335" y="1209"/>
                    </a:lnTo>
                    <a:lnTo>
                      <a:pt x="362" y="1220"/>
                    </a:lnTo>
                    <a:lnTo>
                      <a:pt x="393" y="1229"/>
                    </a:lnTo>
                    <a:lnTo>
                      <a:pt x="423" y="1238"/>
                    </a:lnTo>
                    <a:lnTo>
                      <a:pt x="454" y="1245"/>
                    </a:lnTo>
                    <a:lnTo>
                      <a:pt x="487" y="1250"/>
                    </a:lnTo>
                    <a:lnTo>
                      <a:pt x="521" y="1255"/>
                    </a:lnTo>
                    <a:lnTo>
                      <a:pt x="555" y="1259"/>
                    </a:lnTo>
                    <a:lnTo>
                      <a:pt x="591" y="1261"/>
                    </a:lnTo>
                    <a:lnTo>
                      <a:pt x="628" y="1261"/>
                    </a:lnTo>
                    <a:lnTo>
                      <a:pt x="659" y="1261"/>
                    </a:lnTo>
                    <a:lnTo>
                      <a:pt x="689" y="1260"/>
                    </a:lnTo>
                    <a:lnTo>
                      <a:pt x="718" y="1257"/>
                    </a:lnTo>
                    <a:lnTo>
                      <a:pt x="748" y="1255"/>
                    </a:lnTo>
                    <a:lnTo>
                      <a:pt x="775" y="1251"/>
                    </a:lnTo>
                    <a:lnTo>
                      <a:pt x="802" y="1248"/>
                    </a:lnTo>
                    <a:lnTo>
                      <a:pt x="829" y="1243"/>
                    </a:lnTo>
                    <a:lnTo>
                      <a:pt x="854" y="1237"/>
                    </a:lnTo>
                    <a:lnTo>
                      <a:pt x="880" y="1231"/>
                    </a:lnTo>
                    <a:lnTo>
                      <a:pt x="904" y="1223"/>
                    </a:lnTo>
                    <a:lnTo>
                      <a:pt x="928" y="1216"/>
                    </a:lnTo>
                    <a:lnTo>
                      <a:pt x="951" y="1208"/>
                    </a:lnTo>
                    <a:lnTo>
                      <a:pt x="974" y="1198"/>
                    </a:lnTo>
                    <a:lnTo>
                      <a:pt x="997" y="1188"/>
                    </a:lnTo>
                    <a:lnTo>
                      <a:pt x="1019" y="1177"/>
                    </a:lnTo>
                    <a:lnTo>
                      <a:pt x="1041" y="1165"/>
                    </a:lnTo>
                    <a:lnTo>
                      <a:pt x="1041" y="91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" name="Freeform 42"/>
              <p:cNvSpPr>
                <a:spLocks/>
              </p:cNvSpPr>
              <p:nvPr/>
            </p:nvSpPr>
            <p:spPr bwMode="gray">
              <a:xfrm>
                <a:off x="1577" y="1192"/>
                <a:ext cx="221" cy="247"/>
              </a:xfrm>
              <a:custGeom>
                <a:avLst/>
                <a:gdLst>
                  <a:gd name="T0" fmla="*/ 0 w 1103"/>
                  <a:gd name="T1" fmla="*/ 0 h 1233"/>
                  <a:gd name="T2" fmla="*/ 0 w 1103"/>
                  <a:gd name="T3" fmla="*/ 0 h 1233"/>
                  <a:gd name="T4" fmla="*/ 0 w 1103"/>
                  <a:gd name="T5" fmla="*/ 0 h 1233"/>
                  <a:gd name="T6" fmla="*/ 0 w 1103"/>
                  <a:gd name="T7" fmla="*/ 0 h 1233"/>
                  <a:gd name="T8" fmla="*/ 0 w 1103"/>
                  <a:gd name="T9" fmla="*/ 0 h 1233"/>
                  <a:gd name="T10" fmla="*/ 0 w 1103"/>
                  <a:gd name="T11" fmla="*/ 0 h 1233"/>
                  <a:gd name="T12" fmla="*/ 0 w 1103"/>
                  <a:gd name="T13" fmla="*/ 0 h 1233"/>
                  <a:gd name="T14" fmla="*/ 0 w 1103"/>
                  <a:gd name="T15" fmla="*/ 0 h 1233"/>
                  <a:gd name="T16" fmla="*/ 0 w 1103"/>
                  <a:gd name="T17" fmla="*/ 0 h 1233"/>
                  <a:gd name="T18" fmla="*/ 0 w 1103"/>
                  <a:gd name="T19" fmla="*/ 0 h 1233"/>
                  <a:gd name="T20" fmla="*/ 0 w 1103"/>
                  <a:gd name="T21" fmla="*/ 0 h 1233"/>
                  <a:gd name="T22" fmla="*/ 0 w 1103"/>
                  <a:gd name="T23" fmla="*/ 0 h 1233"/>
                  <a:gd name="T24" fmla="*/ 0 w 1103"/>
                  <a:gd name="T25" fmla="*/ 0 h 1233"/>
                  <a:gd name="T26" fmla="*/ 0 w 1103"/>
                  <a:gd name="T27" fmla="*/ 0 h 1233"/>
                  <a:gd name="T28" fmla="*/ 0 w 1103"/>
                  <a:gd name="T29" fmla="*/ 0 h 1233"/>
                  <a:gd name="T30" fmla="*/ 0 w 1103"/>
                  <a:gd name="T31" fmla="*/ 0 h 1233"/>
                  <a:gd name="T32" fmla="*/ 0 w 1103"/>
                  <a:gd name="T33" fmla="*/ 0 h 1233"/>
                  <a:gd name="T34" fmla="*/ 0 w 1103"/>
                  <a:gd name="T35" fmla="*/ 0 h 1233"/>
                  <a:gd name="T36" fmla="*/ 0 w 1103"/>
                  <a:gd name="T37" fmla="*/ 0 h 1233"/>
                  <a:gd name="T38" fmla="*/ 0 w 1103"/>
                  <a:gd name="T39" fmla="*/ 0 h 1233"/>
                  <a:gd name="T40" fmla="*/ 0 w 1103"/>
                  <a:gd name="T41" fmla="*/ 0 h 1233"/>
                  <a:gd name="T42" fmla="*/ 0 w 1103"/>
                  <a:gd name="T43" fmla="*/ 0 h 1233"/>
                  <a:gd name="T44" fmla="*/ 0 w 1103"/>
                  <a:gd name="T45" fmla="*/ 0 h 1233"/>
                  <a:gd name="T46" fmla="*/ 0 w 1103"/>
                  <a:gd name="T47" fmla="*/ 0 h 1233"/>
                  <a:gd name="T48" fmla="*/ 0 w 1103"/>
                  <a:gd name="T49" fmla="*/ 0 h 1233"/>
                  <a:gd name="T50" fmla="*/ 0 w 1103"/>
                  <a:gd name="T51" fmla="*/ 0 h 1233"/>
                  <a:gd name="T52" fmla="*/ 0 w 1103"/>
                  <a:gd name="T53" fmla="*/ 0 h 1233"/>
                  <a:gd name="T54" fmla="*/ 0 w 1103"/>
                  <a:gd name="T55" fmla="*/ 0 h 1233"/>
                  <a:gd name="T56" fmla="*/ 0 w 1103"/>
                  <a:gd name="T57" fmla="*/ 0 h 1233"/>
                  <a:gd name="T58" fmla="*/ 0 w 1103"/>
                  <a:gd name="T59" fmla="*/ 0 h 1233"/>
                  <a:gd name="T60" fmla="*/ 0 w 1103"/>
                  <a:gd name="T61" fmla="*/ 0 h 1233"/>
                  <a:gd name="T62" fmla="*/ 0 w 1103"/>
                  <a:gd name="T63" fmla="*/ 0 h 1233"/>
                  <a:gd name="T64" fmla="*/ 0 w 1103"/>
                  <a:gd name="T65" fmla="*/ 0 h 1233"/>
                  <a:gd name="T66" fmla="*/ 0 w 1103"/>
                  <a:gd name="T67" fmla="*/ 0 h 1233"/>
                  <a:gd name="T68" fmla="*/ 0 w 1103"/>
                  <a:gd name="T69" fmla="*/ 0 h 1233"/>
                  <a:gd name="T70" fmla="*/ 0 w 1103"/>
                  <a:gd name="T71" fmla="*/ 0 h 1233"/>
                  <a:gd name="T72" fmla="*/ 0 w 1103"/>
                  <a:gd name="T73" fmla="*/ 0 h 1233"/>
                  <a:gd name="T74" fmla="*/ 0 w 1103"/>
                  <a:gd name="T75" fmla="*/ 0 h 1233"/>
                  <a:gd name="T76" fmla="*/ 0 w 1103"/>
                  <a:gd name="T77" fmla="*/ 0 h 1233"/>
                  <a:gd name="T78" fmla="*/ 0 w 1103"/>
                  <a:gd name="T79" fmla="*/ 0 h 1233"/>
                  <a:gd name="T80" fmla="*/ 0 w 1103"/>
                  <a:gd name="T81" fmla="*/ 0 h 1233"/>
                  <a:gd name="T82" fmla="*/ 0 w 1103"/>
                  <a:gd name="T83" fmla="*/ 0 h 1233"/>
                  <a:gd name="T84" fmla="*/ 0 w 1103"/>
                  <a:gd name="T85" fmla="*/ 0 h 1233"/>
                  <a:gd name="T86" fmla="*/ 0 w 1103"/>
                  <a:gd name="T87" fmla="*/ 0 h 1233"/>
                  <a:gd name="T88" fmla="*/ 0 w 1103"/>
                  <a:gd name="T89" fmla="*/ 0 h 1233"/>
                  <a:gd name="T90" fmla="*/ 0 w 1103"/>
                  <a:gd name="T91" fmla="*/ 0 h 1233"/>
                  <a:gd name="T92" fmla="*/ 0 w 1103"/>
                  <a:gd name="T93" fmla="*/ 0 h 1233"/>
                  <a:gd name="T94" fmla="*/ 0 w 1103"/>
                  <a:gd name="T95" fmla="*/ 0 h 1233"/>
                  <a:gd name="T96" fmla="*/ 0 w 1103"/>
                  <a:gd name="T97" fmla="*/ 0 h 1233"/>
                  <a:gd name="T98" fmla="*/ 0 w 1103"/>
                  <a:gd name="T99" fmla="*/ 0 h 1233"/>
                  <a:gd name="T100" fmla="*/ 0 w 1103"/>
                  <a:gd name="T101" fmla="*/ 0 h 1233"/>
                  <a:gd name="T102" fmla="*/ 0 w 1103"/>
                  <a:gd name="T103" fmla="*/ 0 h 1233"/>
                  <a:gd name="T104" fmla="*/ 0 w 1103"/>
                  <a:gd name="T105" fmla="*/ 0 h 1233"/>
                  <a:gd name="T106" fmla="*/ 0 w 1103"/>
                  <a:gd name="T107" fmla="*/ 0 h 123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03"/>
                  <a:gd name="T163" fmla="*/ 0 h 1233"/>
                  <a:gd name="T164" fmla="*/ 1103 w 1103"/>
                  <a:gd name="T165" fmla="*/ 1233 h 123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03" h="1233">
                    <a:moveTo>
                      <a:pt x="1103" y="0"/>
                    </a:moveTo>
                    <a:lnTo>
                      <a:pt x="790" y="0"/>
                    </a:lnTo>
                    <a:lnTo>
                      <a:pt x="790" y="591"/>
                    </a:lnTo>
                    <a:lnTo>
                      <a:pt x="790" y="620"/>
                    </a:lnTo>
                    <a:lnTo>
                      <a:pt x="787" y="651"/>
                    </a:lnTo>
                    <a:lnTo>
                      <a:pt x="785" y="684"/>
                    </a:lnTo>
                    <a:lnTo>
                      <a:pt x="779" y="718"/>
                    </a:lnTo>
                    <a:lnTo>
                      <a:pt x="772" y="751"/>
                    </a:lnTo>
                    <a:lnTo>
                      <a:pt x="763" y="785"/>
                    </a:lnTo>
                    <a:lnTo>
                      <a:pt x="757" y="801"/>
                    </a:lnTo>
                    <a:lnTo>
                      <a:pt x="751" y="816"/>
                    </a:lnTo>
                    <a:lnTo>
                      <a:pt x="745" y="832"/>
                    </a:lnTo>
                    <a:lnTo>
                      <a:pt x="738" y="848"/>
                    </a:lnTo>
                    <a:lnTo>
                      <a:pt x="729" y="863"/>
                    </a:lnTo>
                    <a:lnTo>
                      <a:pt x="721" y="877"/>
                    </a:lnTo>
                    <a:lnTo>
                      <a:pt x="712" y="891"/>
                    </a:lnTo>
                    <a:lnTo>
                      <a:pt x="701" y="904"/>
                    </a:lnTo>
                    <a:lnTo>
                      <a:pt x="690" y="917"/>
                    </a:lnTo>
                    <a:lnTo>
                      <a:pt x="680" y="928"/>
                    </a:lnTo>
                    <a:lnTo>
                      <a:pt x="667" y="939"/>
                    </a:lnTo>
                    <a:lnTo>
                      <a:pt x="654" y="949"/>
                    </a:lnTo>
                    <a:lnTo>
                      <a:pt x="640" y="959"/>
                    </a:lnTo>
                    <a:lnTo>
                      <a:pt x="625" y="966"/>
                    </a:lnTo>
                    <a:lnTo>
                      <a:pt x="609" y="973"/>
                    </a:lnTo>
                    <a:lnTo>
                      <a:pt x="592" y="979"/>
                    </a:lnTo>
                    <a:lnTo>
                      <a:pt x="574" y="984"/>
                    </a:lnTo>
                    <a:lnTo>
                      <a:pt x="556" y="988"/>
                    </a:lnTo>
                    <a:lnTo>
                      <a:pt x="535" y="989"/>
                    </a:lnTo>
                    <a:lnTo>
                      <a:pt x="515" y="990"/>
                    </a:lnTo>
                    <a:lnTo>
                      <a:pt x="497" y="989"/>
                    </a:lnTo>
                    <a:lnTo>
                      <a:pt x="480" y="988"/>
                    </a:lnTo>
                    <a:lnTo>
                      <a:pt x="464" y="985"/>
                    </a:lnTo>
                    <a:lnTo>
                      <a:pt x="449" y="982"/>
                    </a:lnTo>
                    <a:lnTo>
                      <a:pt x="435" y="977"/>
                    </a:lnTo>
                    <a:lnTo>
                      <a:pt x="422" y="971"/>
                    </a:lnTo>
                    <a:lnTo>
                      <a:pt x="409" y="965"/>
                    </a:lnTo>
                    <a:lnTo>
                      <a:pt x="399" y="956"/>
                    </a:lnTo>
                    <a:lnTo>
                      <a:pt x="389" y="949"/>
                    </a:lnTo>
                    <a:lnTo>
                      <a:pt x="379" y="939"/>
                    </a:lnTo>
                    <a:lnTo>
                      <a:pt x="371" y="929"/>
                    </a:lnTo>
                    <a:lnTo>
                      <a:pt x="363" y="920"/>
                    </a:lnTo>
                    <a:lnTo>
                      <a:pt x="356" y="909"/>
                    </a:lnTo>
                    <a:lnTo>
                      <a:pt x="349" y="897"/>
                    </a:lnTo>
                    <a:lnTo>
                      <a:pt x="344" y="884"/>
                    </a:lnTo>
                    <a:lnTo>
                      <a:pt x="338" y="872"/>
                    </a:lnTo>
                    <a:lnTo>
                      <a:pt x="329" y="846"/>
                    </a:lnTo>
                    <a:lnTo>
                      <a:pt x="323" y="818"/>
                    </a:lnTo>
                    <a:lnTo>
                      <a:pt x="319" y="790"/>
                    </a:lnTo>
                    <a:lnTo>
                      <a:pt x="316" y="761"/>
                    </a:lnTo>
                    <a:lnTo>
                      <a:pt x="314" y="730"/>
                    </a:lnTo>
                    <a:lnTo>
                      <a:pt x="313" y="701"/>
                    </a:lnTo>
                    <a:lnTo>
                      <a:pt x="313" y="672"/>
                    </a:lnTo>
                    <a:lnTo>
                      <a:pt x="313" y="644"/>
                    </a:lnTo>
                    <a:lnTo>
                      <a:pt x="313" y="0"/>
                    </a:lnTo>
                    <a:lnTo>
                      <a:pt x="0" y="0"/>
                    </a:lnTo>
                    <a:lnTo>
                      <a:pt x="0" y="761"/>
                    </a:lnTo>
                    <a:lnTo>
                      <a:pt x="0" y="786"/>
                    </a:lnTo>
                    <a:lnTo>
                      <a:pt x="1" y="810"/>
                    </a:lnTo>
                    <a:lnTo>
                      <a:pt x="2" y="835"/>
                    </a:lnTo>
                    <a:lnTo>
                      <a:pt x="6" y="859"/>
                    </a:lnTo>
                    <a:lnTo>
                      <a:pt x="9" y="882"/>
                    </a:lnTo>
                    <a:lnTo>
                      <a:pt x="13" y="905"/>
                    </a:lnTo>
                    <a:lnTo>
                      <a:pt x="18" y="927"/>
                    </a:lnTo>
                    <a:lnTo>
                      <a:pt x="23" y="949"/>
                    </a:lnTo>
                    <a:lnTo>
                      <a:pt x="30" y="971"/>
                    </a:lnTo>
                    <a:lnTo>
                      <a:pt x="38" y="990"/>
                    </a:lnTo>
                    <a:lnTo>
                      <a:pt x="45" y="1011"/>
                    </a:lnTo>
                    <a:lnTo>
                      <a:pt x="53" y="1029"/>
                    </a:lnTo>
                    <a:lnTo>
                      <a:pt x="63" y="1048"/>
                    </a:lnTo>
                    <a:lnTo>
                      <a:pt x="74" y="1065"/>
                    </a:lnTo>
                    <a:lnTo>
                      <a:pt x="85" y="1082"/>
                    </a:lnTo>
                    <a:lnTo>
                      <a:pt x="97" y="1098"/>
                    </a:lnTo>
                    <a:lnTo>
                      <a:pt x="110" y="1114"/>
                    </a:lnTo>
                    <a:lnTo>
                      <a:pt x="124" y="1129"/>
                    </a:lnTo>
                    <a:lnTo>
                      <a:pt x="138" y="1142"/>
                    </a:lnTo>
                    <a:lnTo>
                      <a:pt x="154" y="1155"/>
                    </a:lnTo>
                    <a:lnTo>
                      <a:pt x="170" y="1167"/>
                    </a:lnTo>
                    <a:lnTo>
                      <a:pt x="187" y="1178"/>
                    </a:lnTo>
                    <a:lnTo>
                      <a:pt x="205" y="1188"/>
                    </a:lnTo>
                    <a:lnTo>
                      <a:pt x="224" y="1198"/>
                    </a:lnTo>
                    <a:lnTo>
                      <a:pt x="243" y="1206"/>
                    </a:lnTo>
                    <a:lnTo>
                      <a:pt x="264" y="1212"/>
                    </a:lnTo>
                    <a:lnTo>
                      <a:pt x="286" y="1218"/>
                    </a:lnTo>
                    <a:lnTo>
                      <a:pt x="309" y="1225"/>
                    </a:lnTo>
                    <a:lnTo>
                      <a:pt x="332" y="1228"/>
                    </a:lnTo>
                    <a:lnTo>
                      <a:pt x="356" y="1231"/>
                    </a:lnTo>
                    <a:lnTo>
                      <a:pt x="382" y="1233"/>
                    </a:lnTo>
                    <a:lnTo>
                      <a:pt x="408" y="1233"/>
                    </a:lnTo>
                    <a:lnTo>
                      <a:pt x="439" y="1233"/>
                    </a:lnTo>
                    <a:lnTo>
                      <a:pt x="468" y="1229"/>
                    </a:lnTo>
                    <a:lnTo>
                      <a:pt x="497" y="1226"/>
                    </a:lnTo>
                    <a:lnTo>
                      <a:pt x="525" y="1220"/>
                    </a:lnTo>
                    <a:lnTo>
                      <a:pt x="552" y="1212"/>
                    </a:lnTo>
                    <a:lnTo>
                      <a:pt x="579" y="1204"/>
                    </a:lnTo>
                    <a:lnTo>
                      <a:pt x="606" y="1193"/>
                    </a:lnTo>
                    <a:lnTo>
                      <a:pt x="630" y="1181"/>
                    </a:lnTo>
                    <a:lnTo>
                      <a:pt x="655" y="1169"/>
                    </a:lnTo>
                    <a:lnTo>
                      <a:pt x="678" y="1154"/>
                    </a:lnTo>
                    <a:lnTo>
                      <a:pt x="701" y="1138"/>
                    </a:lnTo>
                    <a:lnTo>
                      <a:pt x="723" y="1121"/>
                    </a:lnTo>
                    <a:lnTo>
                      <a:pt x="744" y="1103"/>
                    </a:lnTo>
                    <a:lnTo>
                      <a:pt x="764" y="1084"/>
                    </a:lnTo>
                    <a:lnTo>
                      <a:pt x="784" y="1063"/>
                    </a:lnTo>
                    <a:lnTo>
                      <a:pt x="802" y="1041"/>
                    </a:lnTo>
                    <a:lnTo>
                      <a:pt x="807" y="1041"/>
                    </a:lnTo>
                    <a:lnTo>
                      <a:pt x="807" y="1205"/>
                    </a:lnTo>
                    <a:lnTo>
                      <a:pt x="1103" y="1205"/>
                    </a:lnTo>
                    <a:lnTo>
                      <a:pt x="1103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" name="Freeform 43"/>
              <p:cNvSpPr>
                <a:spLocks/>
              </p:cNvSpPr>
              <p:nvPr/>
            </p:nvSpPr>
            <p:spPr bwMode="gray">
              <a:xfrm>
                <a:off x="1824" y="1124"/>
                <a:ext cx="168" cy="315"/>
              </a:xfrm>
              <a:custGeom>
                <a:avLst/>
                <a:gdLst>
                  <a:gd name="T0" fmla="*/ 0 w 842"/>
                  <a:gd name="T1" fmla="*/ 0 h 1574"/>
                  <a:gd name="T2" fmla="*/ 0 w 842"/>
                  <a:gd name="T3" fmla="*/ 0 h 1574"/>
                  <a:gd name="T4" fmla="*/ 0 w 842"/>
                  <a:gd name="T5" fmla="*/ 0 h 1574"/>
                  <a:gd name="T6" fmla="*/ 0 w 842"/>
                  <a:gd name="T7" fmla="*/ 0 h 1574"/>
                  <a:gd name="T8" fmla="*/ 0 w 842"/>
                  <a:gd name="T9" fmla="*/ 0 h 1574"/>
                  <a:gd name="T10" fmla="*/ 0 w 842"/>
                  <a:gd name="T11" fmla="*/ 0 h 1574"/>
                  <a:gd name="T12" fmla="*/ 0 w 842"/>
                  <a:gd name="T13" fmla="*/ 0 h 1574"/>
                  <a:gd name="T14" fmla="*/ 0 w 842"/>
                  <a:gd name="T15" fmla="*/ 0 h 1574"/>
                  <a:gd name="T16" fmla="*/ 0 w 842"/>
                  <a:gd name="T17" fmla="*/ 0 h 1574"/>
                  <a:gd name="T18" fmla="*/ 0 w 842"/>
                  <a:gd name="T19" fmla="*/ 0 h 1574"/>
                  <a:gd name="T20" fmla="*/ 0 w 842"/>
                  <a:gd name="T21" fmla="*/ 0 h 1574"/>
                  <a:gd name="T22" fmla="*/ 0 w 842"/>
                  <a:gd name="T23" fmla="*/ 0 h 1574"/>
                  <a:gd name="T24" fmla="*/ 0 w 842"/>
                  <a:gd name="T25" fmla="*/ 0 h 1574"/>
                  <a:gd name="T26" fmla="*/ 0 w 842"/>
                  <a:gd name="T27" fmla="*/ 0 h 1574"/>
                  <a:gd name="T28" fmla="*/ 0 w 842"/>
                  <a:gd name="T29" fmla="*/ 0 h 1574"/>
                  <a:gd name="T30" fmla="*/ 0 w 842"/>
                  <a:gd name="T31" fmla="*/ 0 h 1574"/>
                  <a:gd name="T32" fmla="*/ 0 w 842"/>
                  <a:gd name="T33" fmla="*/ 0 h 1574"/>
                  <a:gd name="T34" fmla="*/ 0 w 842"/>
                  <a:gd name="T35" fmla="*/ 0 h 1574"/>
                  <a:gd name="T36" fmla="*/ 0 w 842"/>
                  <a:gd name="T37" fmla="*/ 0 h 1574"/>
                  <a:gd name="T38" fmla="*/ 0 w 842"/>
                  <a:gd name="T39" fmla="*/ 0 h 1574"/>
                  <a:gd name="T40" fmla="*/ 0 w 842"/>
                  <a:gd name="T41" fmla="*/ 0 h 1574"/>
                  <a:gd name="T42" fmla="*/ 0 w 842"/>
                  <a:gd name="T43" fmla="*/ 0 h 1574"/>
                  <a:gd name="T44" fmla="*/ 0 w 842"/>
                  <a:gd name="T45" fmla="*/ 0 h 1574"/>
                  <a:gd name="T46" fmla="*/ 0 w 842"/>
                  <a:gd name="T47" fmla="*/ 0 h 1574"/>
                  <a:gd name="T48" fmla="*/ 0 w 842"/>
                  <a:gd name="T49" fmla="*/ 0 h 1574"/>
                  <a:gd name="T50" fmla="*/ 0 w 842"/>
                  <a:gd name="T51" fmla="*/ 0 h 1574"/>
                  <a:gd name="T52" fmla="*/ 0 w 842"/>
                  <a:gd name="T53" fmla="*/ 0 h 1574"/>
                  <a:gd name="T54" fmla="*/ 0 w 842"/>
                  <a:gd name="T55" fmla="*/ 0 h 1574"/>
                  <a:gd name="T56" fmla="*/ 0 w 842"/>
                  <a:gd name="T57" fmla="*/ 0 h 1574"/>
                  <a:gd name="T58" fmla="*/ 0 w 842"/>
                  <a:gd name="T59" fmla="*/ 0 h 1574"/>
                  <a:gd name="T60" fmla="*/ 0 w 842"/>
                  <a:gd name="T61" fmla="*/ 0 h 1574"/>
                  <a:gd name="T62" fmla="*/ 0 w 842"/>
                  <a:gd name="T63" fmla="*/ 0 h 1574"/>
                  <a:gd name="T64" fmla="*/ 0 w 842"/>
                  <a:gd name="T65" fmla="*/ 0 h 1574"/>
                  <a:gd name="T66" fmla="*/ 0 w 842"/>
                  <a:gd name="T67" fmla="*/ 0 h 1574"/>
                  <a:gd name="T68" fmla="*/ 0 w 842"/>
                  <a:gd name="T69" fmla="*/ 0 h 1574"/>
                  <a:gd name="T70" fmla="*/ 0 w 842"/>
                  <a:gd name="T71" fmla="*/ 0 h 1574"/>
                  <a:gd name="T72" fmla="*/ 0 w 842"/>
                  <a:gd name="T73" fmla="*/ 0 h 1574"/>
                  <a:gd name="T74" fmla="*/ 0 w 842"/>
                  <a:gd name="T75" fmla="*/ 0 h 157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842"/>
                  <a:gd name="T115" fmla="*/ 0 h 1574"/>
                  <a:gd name="T116" fmla="*/ 842 w 842"/>
                  <a:gd name="T117" fmla="*/ 1574 h 157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842" h="1574">
                    <a:moveTo>
                      <a:pt x="231" y="1184"/>
                    </a:moveTo>
                    <a:lnTo>
                      <a:pt x="231" y="1206"/>
                    </a:lnTo>
                    <a:lnTo>
                      <a:pt x="233" y="1228"/>
                    </a:lnTo>
                    <a:lnTo>
                      <a:pt x="235" y="1249"/>
                    </a:lnTo>
                    <a:lnTo>
                      <a:pt x="237" y="1269"/>
                    </a:lnTo>
                    <a:lnTo>
                      <a:pt x="241" y="1289"/>
                    </a:lnTo>
                    <a:lnTo>
                      <a:pt x="246" y="1308"/>
                    </a:lnTo>
                    <a:lnTo>
                      <a:pt x="251" y="1328"/>
                    </a:lnTo>
                    <a:lnTo>
                      <a:pt x="257" y="1346"/>
                    </a:lnTo>
                    <a:lnTo>
                      <a:pt x="263" y="1363"/>
                    </a:lnTo>
                    <a:lnTo>
                      <a:pt x="270" y="1380"/>
                    </a:lnTo>
                    <a:lnTo>
                      <a:pt x="279" y="1397"/>
                    </a:lnTo>
                    <a:lnTo>
                      <a:pt x="287" y="1413"/>
                    </a:lnTo>
                    <a:lnTo>
                      <a:pt x="297" y="1427"/>
                    </a:lnTo>
                    <a:lnTo>
                      <a:pt x="306" y="1442"/>
                    </a:lnTo>
                    <a:lnTo>
                      <a:pt x="317" y="1455"/>
                    </a:lnTo>
                    <a:lnTo>
                      <a:pt x="329" y="1468"/>
                    </a:lnTo>
                    <a:lnTo>
                      <a:pt x="342" y="1481"/>
                    </a:lnTo>
                    <a:lnTo>
                      <a:pt x="355" y="1493"/>
                    </a:lnTo>
                    <a:lnTo>
                      <a:pt x="369" y="1504"/>
                    </a:lnTo>
                    <a:lnTo>
                      <a:pt x="384" y="1513"/>
                    </a:lnTo>
                    <a:lnTo>
                      <a:pt x="398" y="1523"/>
                    </a:lnTo>
                    <a:lnTo>
                      <a:pt x="414" y="1532"/>
                    </a:lnTo>
                    <a:lnTo>
                      <a:pt x="431" y="1540"/>
                    </a:lnTo>
                    <a:lnTo>
                      <a:pt x="448" y="1547"/>
                    </a:lnTo>
                    <a:lnTo>
                      <a:pt x="466" y="1553"/>
                    </a:lnTo>
                    <a:lnTo>
                      <a:pt x="486" y="1558"/>
                    </a:lnTo>
                    <a:lnTo>
                      <a:pt x="505" y="1563"/>
                    </a:lnTo>
                    <a:lnTo>
                      <a:pt x="524" y="1567"/>
                    </a:lnTo>
                    <a:lnTo>
                      <a:pt x="545" y="1570"/>
                    </a:lnTo>
                    <a:lnTo>
                      <a:pt x="567" y="1573"/>
                    </a:lnTo>
                    <a:lnTo>
                      <a:pt x="589" y="1574"/>
                    </a:lnTo>
                    <a:lnTo>
                      <a:pt x="612" y="1574"/>
                    </a:lnTo>
                    <a:lnTo>
                      <a:pt x="646" y="1574"/>
                    </a:lnTo>
                    <a:lnTo>
                      <a:pt x="677" y="1573"/>
                    </a:lnTo>
                    <a:lnTo>
                      <a:pt x="709" y="1570"/>
                    </a:lnTo>
                    <a:lnTo>
                      <a:pt x="738" y="1567"/>
                    </a:lnTo>
                    <a:lnTo>
                      <a:pt x="765" y="1563"/>
                    </a:lnTo>
                    <a:lnTo>
                      <a:pt x="792" y="1558"/>
                    </a:lnTo>
                    <a:lnTo>
                      <a:pt x="818" y="1553"/>
                    </a:lnTo>
                    <a:lnTo>
                      <a:pt x="842" y="1546"/>
                    </a:lnTo>
                    <a:lnTo>
                      <a:pt x="833" y="1298"/>
                    </a:lnTo>
                    <a:lnTo>
                      <a:pt x="820" y="1306"/>
                    </a:lnTo>
                    <a:lnTo>
                      <a:pt x="804" y="1312"/>
                    </a:lnTo>
                    <a:lnTo>
                      <a:pt x="789" y="1318"/>
                    </a:lnTo>
                    <a:lnTo>
                      <a:pt x="770" y="1323"/>
                    </a:lnTo>
                    <a:lnTo>
                      <a:pt x="752" y="1326"/>
                    </a:lnTo>
                    <a:lnTo>
                      <a:pt x="732" y="1329"/>
                    </a:lnTo>
                    <a:lnTo>
                      <a:pt x="711" y="1330"/>
                    </a:lnTo>
                    <a:lnTo>
                      <a:pt x="690" y="1331"/>
                    </a:lnTo>
                    <a:lnTo>
                      <a:pt x="670" y="1330"/>
                    </a:lnTo>
                    <a:lnTo>
                      <a:pt x="650" y="1326"/>
                    </a:lnTo>
                    <a:lnTo>
                      <a:pt x="633" y="1321"/>
                    </a:lnTo>
                    <a:lnTo>
                      <a:pt x="618" y="1314"/>
                    </a:lnTo>
                    <a:lnTo>
                      <a:pt x="604" y="1306"/>
                    </a:lnTo>
                    <a:lnTo>
                      <a:pt x="592" y="1295"/>
                    </a:lnTo>
                    <a:lnTo>
                      <a:pt x="581" y="1284"/>
                    </a:lnTo>
                    <a:lnTo>
                      <a:pt x="573" y="1270"/>
                    </a:lnTo>
                    <a:lnTo>
                      <a:pt x="566" y="1256"/>
                    </a:lnTo>
                    <a:lnTo>
                      <a:pt x="558" y="1240"/>
                    </a:lnTo>
                    <a:lnTo>
                      <a:pt x="554" y="1224"/>
                    </a:lnTo>
                    <a:lnTo>
                      <a:pt x="550" y="1207"/>
                    </a:lnTo>
                    <a:lnTo>
                      <a:pt x="547" y="1189"/>
                    </a:lnTo>
                    <a:lnTo>
                      <a:pt x="545" y="1171"/>
                    </a:lnTo>
                    <a:lnTo>
                      <a:pt x="544" y="1151"/>
                    </a:lnTo>
                    <a:lnTo>
                      <a:pt x="544" y="1132"/>
                    </a:lnTo>
                    <a:lnTo>
                      <a:pt x="544" y="571"/>
                    </a:lnTo>
                    <a:lnTo>
                      <a:pt x="821" y="571"/>
                    </a:lnTo>
                    <a:lnTo>
                      <a:pt x="821" y="341"/>
                    </a:lnTo>
                    <a:lnTo>
                      <a:pt x="544" y="341"/>
                    </a:lnTo>
                    <a:lnTo>
                      <a:pt x="544" y="0"/>
                    </a:lnTo>
                    <a:lnTo>
                      <a:pt x="231" y="101"/>
                    </a:lnTo>
                    <a:lnTo>
                      <a:pt x="231" y="341"/>
                    </a:lnTo>
                    <a:lnTo>
                      <a:pt x="0" y="341"/>
                    </a:lnTo>
                    <a:lnTo>
                      <a:pt x="0" y="571"/>
                    </a:lnTo>
                    <a:lnTo>
                      <a:pt x="231" y="571"/>
                    </a:lnTo>
                    <a:lnTo>
                      <a:pt x="231" y="118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" name="Freeform 44"/>
              <p:cNvSpPr>
                <a:spLocks/>
              </p:cNvSpPr>
              <p:nvPr/>
            </p:nvSpPr>
            <p:spPr bwMode="gray">
              <a:xfrm>
                <a:off x="2020" y="1184"/>
                <a:ext cx="175" cy="254"/>
              </a:xfrm>
              <a:custGeom>
                <a:avLst/>
                <a:gdLst>
                  <a:gd name="T0" fmla="*/ 0 w 870"/>
                  <a:gd name="T1" fmla="*/ 0 h 1261"/>
                  <a:gd name="T2" fmla="*/ 0 w 870"/>
                  <a:gd name="T3" fmla="*/ 0 h 1261"/>
                  <a:gd name="T4" fmla="*/ 0 w 870"/>
                  <a:gd name="T5" fmla="*/ 0 h 1261"/>
                  <a:gd name="T6" fmla="*/ 0 w 870"/>
                  <a:gd name="T7" fmla="*/ 0 h 1261"/>
                  <a:gd name="T8" fmla="*/ 0 w 870"/>
                  <a:gd name="T9" fmla="*/ 0 h 1261"/>
                  <a:gd name="T10" fmla="*/ 0 w 870"/>
                  <a:gd name="T11" fmla="*/ 0 h 1261"/>
                  <a:gd name="T12" fmla="*/ 0 w 870"/>
                  <a:gd name="T13" fmla="*/ 0 h 1261"/>
                  <a:gd name="T14" fmla="*/ 0 w 870"/>
                  <a:gd name="T15" fmla="*/ 0 h 1261"/>
                  <a:gd name="T16" fmla="*/ 0 w 870"/>
                  <a:gd name="T17" fmla="*/ 0 h 1261"/>
                  <a:gd name="T18" fmla="*/ 0 w 870"/>
                  <a:gd name="T19" fmla="*/ 0 h 1261"/>
                  <a:gd name="T20" fmla="*/ 0 w 870"/>
                  <a:gd name="T21" fmla="*/ 0 h 1261"/>
                  <a:gd name="T22" fmla="*/ 0 w 870"/>
                  <a:gd name="T23" fmla="*/ 0 h 1261"/>
                  <a:gd name="T24" fmla="*/ 0 w 870"/>
                  <a:gd name="T25" fmla="*/ 0 h 1261"/>
                  <a:gd name="T26" fmla="*/ 0 w 870"/>
                  <a:gd name="T27" fmla="*/ 0 h 1261"/>
                  <a:gd name="T28" fmla="*/ 0 w 870"/>
                  <a:gd name="T29" fmla="*/ 0 h 1261"/>
                  <a:gd name="T30" fmla="*/ 0 w 870"/>
                  <a:gd name="T31" fmla="*/ 0 h 1261"/>
                  <a:gd name="T32" fmla="*/ 0 w 870"/>
                  <a:gd name="T33" fmla="*/ 0 h 1261"/>
                  <a:gd name="T34" fmla="*/ 0 w 870"/>
                  <a:gd name="T35" fmla="*/ 0 h 1261"/>
                  <a:gd name="T36" fmla="*/ 0 w 870"/>
                  <a:gd name="T37" fmla="*/ 0 h 1261"/>
                  <a:gd name="T38" fmla="*/ 0 w 870"/>
                  <a:gd name="T39" fmla="*/ 0 h 1261"/>
                  <a:gd name="T40" fmla="*/ 0 w 870"/>
                  <a:gd name="T41" fmla="*/ 0 h 1261"/>
                  <a:gd name="T42" fmla="*/ 0 w 870"/>
                  <a:gd name="T43" fmla="*/ 0 h 1261"/>
                  <a:gd name="T44" fmla="*/ 0 w 870"/>
                  <a:gd name="T45" fmla="*/ 0 h 1261"/>
                  <a:gd name="T46" fmla="*/ 0 w 870"/>
                  <a:gd name="T47" fmla="*/ 0 h 1261"/>
                  <a:gd name="T48" fmla="*/ 0 w 870"/>
                  <a:gd name="T49" fmla="*/ 0 h 1261"/>
                  <a:gd name="T50" fmla="*/ 0 w 870"/>
                  <a:gd name="T51" fmla="*/ 0 h 1261"/>
                  <a:gd name="T52" fmla="*/ 0 w 870"/>
                  <a:gd name="T53" fmla="*/ 0 h 1261"/>
                  <a:gd name="T54" fmla="*/ 0 w 870"/>
                  <a:gd name="T55" fmla="*/ 0 h 1261"/>
                  <a:gd name="T56" fmla="*/ 0 w 870"/>
                  <a:gd name="T57" fmla="*/ 0 h 1261"/>
                  <a:gd name="T58" fmla="*/ 0 w 870"/>
                  <a:gd name="T59" fmla="*/ 0 h 1261"/>
                  <a:gd name="T60" fmla="*/ 0 w 870"/>
                  <a:gd name="T61" fmla="*/ 0 h 1261"/>
                  <a:gd name="T62" fmla="*/ 0 w 870"/>
                  <a:gd name="T63" fmla="*/ 0 h 1261"/>
                  <a:gd name="T64" fmla="*/ 0 w 870"/>
                  <a:gd name="T65" fmla="*/ 0 h 1261"/>
                  <a:gd name="T66" fmla="*/ 0 w 870"/>
                  <a:gd name="T67" fmla="*/ 0 h 1261"/>
                  <a:gd name="T68" fmla="*/ 0 w 870"/>
                  <a:gd name="T69" fmla="*/ 0 h 1261"/>
                  <a:gd name="T70" fmla="*/ 0 w 870"/>
                  <a:gd name="T71" fmla="*/ 0 h 1261"/>
                  <a:gd name="T72" fmla="*/ 0 w 870"/>
                  <a:gd name="T73" fmla="*/ 0 h 1261"/>
                  <a:gd name="T74" fmla="*/ 0 w 870"/>
                  <a:gd name="T75" fmla="*/ 0 h 1261"/>
                  <a:gd name="T76" fmla="*/ 0 w 870"/>
                  <a:gd name="T77" fmla="*/ 0 h 1261"/>
                  <a:gd name="T78" fmla="*/ 0 w 870"/>
                  <a:gd name="T79" fmla="*/ 0 h 1261"/>
                  <a:gd name="T80" fmla="*/ 0 w 870"/>
                  <a:gd name="T81" fmla="*/ 0 h 1261"/>
                  <a:gd name="T82" fmla="*/ 0 w 870"/>
                  <a:gd name="T83" fmla="*/ 0 h 1261"/>
                  <a:gd name="T84" fmla="*/ 0 w 870"/>
                  <a:gd name="T85" fmla="*/ 0 h 1261"/>
                  <a:gd name="T86" fmla="*/ 0 w 870"/>
                  <a:gd name="T87" fmla="*/ 0 h 1261"/>
                  <a:gd name="T88" fmla="*/ 0 w 870"/>
                  <a:gd name="T89" fmla="*/ 0 h 1261"/>
                  <a:gd name="T90" fmla="*/ 0 w 870"/>
                  <a:gd name="T91" fmla="*/ 0 h 1261"/>
                  <a:gd name="T92" fmla="*/ 0 w 870"/>
                  <a:gd name="T93" fmla="*/ 0 h 1261"/>
                  <a:gd name="T94" fmla="*/ 0 w 870"/>
                  <a:gd name="T95" fmla="*/ 0 h 1261"/>
                  <a:gd name="T96" fmla="*/ 0 w 870"/>
                  <a:gd name="T97" fmla="*/ 0 h 12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870"/>
                  <a:gd name="T148" fmla="*/ 0 h 1261"/>
                  <a:gd name="T149" fmla="*/ 870 w 870"/>
                  <a:gd name="T150" fmla="*/ 1261 h 126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870" h="1261">
                    <a:moveTo>
                      <a:pt x="812" y="45"/>
                    </a:moveTo>
                    <a:lnTo>
                      <a:pt x="776" y="37"/>
                    </a:lnTo>
                    <a:lnTo>
                      <a:pt x="738" y="30"/>
                    </a:lnTo>
                    <a:lnTo>
                      <a:pt x="699" y="22"/>
                    </a:lnTo>
                    <a:lnTo>
                      <a:pt x="659" y="15"/>
                    </a:lnTo>
                    <a:lnTo>
                      <a:pt x="618" y="9"/>
                    </a:lnTo>
                    <a:lnTo>
                      <a:pt x="572" y="4"/>
                    </a:lnTo>
                    <a:lnTo>
                      <a:pt x="524" y="2"/>
                    </a:lnTo>
                    <a:lnTo>
                      <a:pt x="471" y="0"/>
                    </a:lnTo>
                    <a:lnTo>
                      <a:pt x="448" y="0"/>
                    </a:lnTo>
                    <a:lnTo>
                      <a:pt x="425" y="2"/>
                    </a:lnTo>
                    <a:lnTo>
                      <a:pt x="402" y="4"/>
                    </a:lnTo>
                    <a:lnTo>
                      <a:pt x="381" y="7"/>
                    </a:lnTo>
                    <a:lnTo>
                      <a:pt x="359" y="9"/>
                    </a:lnTo>
                    <a:lnTo>
                      <a:pt x="337" y="13"/>
                    </a:lnTo>
                    <a:lnTo>
                      <a:pt x="315" y="17"/>
                    </a:lnTo>
                    <a:lnTo>
                      <a:pt x="295" y="22"/>
                    </a:lnTo>
                    <a:lnTo>
                      <a:pt x="274" y="28"/>
                    </a:lnTo>
                    <a:lnTo>
                      <a:pt x="253" y="36"/>
                    </a:lnTo>
                    <a:lnTo>
                      <a:pt x="234" y="43"/>
                    </a:lnTo>
                    <a:lnTo>
                      <a:pt x="215" y="50"/>
                    </a:lnTo>
                    <a:lnTo>
                      <a:pt x="195" y="60"/>
                    </a:lnTo>
                    <a:lnTo>
                      <a:pt x="178" y="70"/>
                    </a:lnTo>
                    <a:lnTo>
                      <a:pt x="160" y="79"/>
                    </a:lnTo>
                    <a:lnTo>
                      <a:pt x="143" y="90"/>
                    </a:lnTo>
                    <a:lnTo>
                      <a:pt x="127" y="102"/>
                    </a:lnTo>
                    <a:lnTo>
                      <a:pt x="113" y="115"/>
                    </a:lnTo>
                    <a:lnTo>
                      <a:pt x="98" y="128"/>
                    </a:lnTo>
                    <a:lnTo>
                      <a:pt x="85" y="143"/>
                    </a:lnTo>
                    <a:lnTo>
                      <a:pt x="72" y="157"/>
                    </a:lnTo>
                    <a:lnTo>
                      <a:pt x="60" y="173"/>
                    </a:lnTo>
                    <a:lnTo>
                      <a:pt x="49" y="190"/>
                    </a:lnTo>
                    <a:lnTo>
                      <a:pt x="39" y="207"/>
                    </a:lnTo>
                    <a:lnTo>
                      <a:pt x="31" y="225"/>
                    </a:lnTo>
                    <a:lnTo>
                      <a:pt x="22" y="245"/>
                    </a:lnTo>
                    <a:lnTo>
                      <a:pt x="16" y="264"/>
                    </a:lnTo>
                    <a:lnTo>
                      <a:pt x="10" y="285"/>
                    </a:lnTo>
                    <a:lnTo>
                      <a:pt x="6" y="305"/>
                    </a:lnTo>
                    <a:lnTo>
                      <a:pt x="3" y="328"/>
                    </a:lnTo>
                    <a:lnTo>
                      <a:pt x="0" y="351"/>
                    </a:lnTo>
                    <a:lnTo>
                      <a:pt x="0" y="375"/>
                    </a:lnTo>
                    <a:lnTo>
                      <a:pt x="2" y="415"/>
                    </a:lnTo>
                    <a:lnTo>
                      <a:pt x="6" y="450"/>
                    </a:lnTo>
                    <a:lnTo>
                      <a:pt x="14" y="483"/>
                    </a:lnTo>
                    <a:lnTo>
                      <a:pt x="23" y="512"/>
                    </a:lnTo>
                    <a:lnTo>
                      <a:pt x="35" y="538"/>
                    </a:lnTo>
                    <a:lnTo>
                      <a:pt x="50" y="563"/>
                    </a:lnTo>
                    <a:lnTo>
                      <a:pt x="67" y="585"/>
                    </a:lnTo>
                    <a:lnTo>
                      <a:pt x="85" y="605"/>
                    </a:lnTo>
                    <a:lnTo>
                      <a:pt x="104" y="622"/>
                    </a:lnTo>
                    <a:lnTo>
                      <a:pt x="126" y="638"/>
                    </a:lnTo>
                    <a:lnTo>
                      <a:pt x="148" y="653"/>
                    </a:lnTo>
                    <a:lnTo>
                      <a:pt x="172" y="665"/>
                    </a:lnTo>
                    <a:lnTo>
                      <a:pt x="197" y="677"/>
                    </a:lnTo>
                    <a:lnTo>
                      <a:pt x="221" y="687"/>
                    </a:lnTo>
                    <a:lnTo>
                      <a:pt x="246" y="696"/>
                    </a:lnTo>
                    <a:lnTo>
                      <a:pt x="272" y="705"/>
                    </a:lnTo>
                    <a:lnTo>
                      <a:pt x="323" y="719"/>
                    </a:lnTo>
                    <a:lnTo>
                      <a:pt x="371" y="734"/>
                    </a:lnTo>
                    <a:lnTo>
                      <a:pt x="395" y="741"/>
                    </a:lnTo>
                    <a:lnTo>
                      <a:pt x="417" y="750"/>
                    </a:lnTo>
                    <a:lnTo>
                      <a:pt x="439" y="758"/>
                    </a:lnTo>
                    <a:lnTo>
                      <a:pt x="458" y="767"/>
                    </a:lnTo>
                    <a:lnTo>
                      <a:pt x="476" y="776"/>
                    </a:lnTo>
                    <a:lnTo>
                      <a:pt x="493" y="787"/>
                    </a:lnTo>
                    <a:lnTo>
                      <a:pt x="508" y="800"/>
                    </a:lnTo>
                    <a:lnTo>
                      <a:pt x="520" y="813"/>
                    </a:lnTo>
                    <a:lnTo>
                      <a:pt x="530" y="827"/>
                    </a:lnTo>
                    <a:lnTo>
                      <a:pt x="537" y="844"/>
                    </a:lnTo>
                    <a:lnTo>
                      <a:pt x="542" y="864"/>
                    </a:lnTo>
                    <a:lnTo>
                      <a:pt x="543" y="885"/>
                    </a:lnTo>
                    <a:lnTo>
                      <a:pt x="543" y="895"/>
                    </a:lnTo>
                    <a:lnTo>
                      <a:pt x="542" y="905"/>
                    </a:lnTo>
                    <a:lnTo>
                      <a:pt x="541" y="915"/>
                    </a:lnTo>
                    <a:lnTo>
                      <a:pt x="538" y="925"/>
                    </a:lnTo>
                    <a:lnTo>
                      <a:pt x="534" y="933"/>
                    </a:lnTo>
                    <a:lnTo>
                      <a:pt x="531" y="942"/>
                    </a:lnTo>
                    <a:lnTo>
                      <a:pt x="527" y="950"/>
                    </a:lnTo>
                    <a:lnTo>
                      <a:pt x="522" y="957"/>
                    </a:lnTo>
                    <a:lnTo>
                      <a:pt x="511" y="971"/>
                    </a:lnTo>
                    <a:lnTo>
                      <a:pt x="499" y="983"/>
                    </a:lnTo>
                    <a:lnTo>
                      <a:pt x="486" y="993"/>
                    </a:lnTo>
                    <a:lnTo>
                      <a:pt x="470" y="1002"/>
                    </a:lnTo>
                    <a:lnTo>
                      <a:pt x="455" y="1010"/>
                    </a:lnTo>
                    <a:lnTo>
                      <a:pt x="438" y="1016"/>
                    </a:lnTo>
                    <a:lnTo>
                      <a:pt x="421" y="1022"/>
                    </a:lnTo>
                    <a:lnTo>
                      <a:pt x="404" y="1025"/>
                    </a:lnTo>
                    <a:lnTo>
                      <a:pt x="387" y="1029"/>
                    </a:lnTo>
                    <a:lnTo>
                      <a:pt x="370" y="1030"/>
                    </a:lnTo>
                    <a:lnTo>
                      <a:pt x="354" y="1032"/>
                    </a:lnTo>
                    <a:lnTo>
                      <a:pt x="338" y="1032"/>
                    </a:lnTo>
                    <a:lnTo>
                      <a:pt x="318" y="1032"/>
                    </a:lnTo>
                    <a:lnTo>
                      <a:pt x="298" y="1030"/>
                    </a:lnTo>
                    <a:lnTo>
                      <a:pt x="279" y="1029"/>
                    </a:lnTo>
                    <a:lnTo>
                      <a:pt x="258" y="1027"/>
                    </a:lnTo>
                    <a:lnTo>
                      <a:pt x="239" y="1023"/>
                    </a:lnTo>
                    <a:lnTo>
                      <a:pt x="220" y="1019"/>
                    </a:lnTo>
                    <a:lnTo>
                      <a:pt x="200" y="1016"/>
                    </a:lnTo>
                    <a:lnTo>
                      <a:pt x="181" y="1011"/>
                    </a:lnTo>
                    <a:lnTo>
                      <a:pt x="142" y="999"/>
                    </a:lnTo>
                    <a:lnTo>
                      <a:pt x="104" y="985"/>
                    </a:lnTo>
                    <a:lnTo>
                      <a:pt x="67" y="970"/>
                    </a:lnTo>
                    <a:lnTo>
                      <a:pt x="31" y="953"/>
                    </a:lnTo>
                    <a:lnTo>
                      <a:pt x="11" y="1210"/>
                    </a:lnTo>
                    <a:lnTo>
                      <a:pt x="55" y="1221"/>
                    </a:lnTo>
                    <a:lnTo>
                      <a:pt x="98" y="1231"/>
                    </a:lnTo>
                    <a:lnTo>
                      <a:pt x="143" y="1239"/>
                    </a:lnTo>
                    <a:lnTo>
                      <a:pt x="187" y="1246"/>
                    </a:lnTo>
                    <a:lnTo>
                      <a:pt x="232" y="1253"/>
                    </a:lnTo>
                    <a:lnTo>
                      <a:pt x="276" y="1257"/>
                    </a:lnTo>
                    <a:lnTo>
                      <a:pt x="321" y="1260"/>
                    </a:lnTo>
                    <a:lnTo>
                      <a:pt x="366" y="1261"/>
                    </a:lnTo>
                    <a:lnTo>
                      <a:pt x="390" y="1261"/>
                    </a:lnTo>
                    <a:lnTo>
                      <a:pt x="413" y="1260"/>
                    </a:lnTo>
                    <a:lnTo>
                      <a:pt x="438" y="1259"/>
                    </a:lnTo>
                    <a:lnTo>
                      <a:pt x="461" y="1256"/>
                    </a:lnTo>
                    <a:lnTo>
                      <a:pt x="484" y="1253"/>
                    </a:lnTo>
                    <a:lnTo>
                      <a:pt x="507" y="1249"/>
                    </a:lnTo>
                    <a:lnTo>
                      <a:pt x="530" y="1244"/>
                    </a:lnTo>
                    <a:lnTo>
                      <a:pt x="553" y="1239"/>
                    </a:lnTo>
                    <a:lnTo>
                      <a:pt x="574" y="1233"/>
                    </a:lnTo>
                    <a:lnTo>
                      <a:pt x="596" y="1227"/>
                    </a:lnTo>
                    <a:lnTo>
                      <a:pt x="617" y="1220"/>
                    </a:lnTo>
                    <a:lnTo>
                      <a:pt x="637" y="1211"/>
                    </a:lnTo>
                    <a:lnTo>
                      <a:pt x="657" y="1202"/>
                    </a:lnTo>
                    <a:lnTo>
                      <a:pt x="676" y="1192"/>
                    </a:lnTo>
                    <a:lnTo>
                      <a:pt x="696" y="1182"/>
                    </a:lnTo>
                    <a:lnTo>
                      <a:pt x="714" y="1170"/>
                    </a:lnTo>
                    <a:lnTo>
                      <a:pt x="731" y="1158"/>
                    </a:lnTo>
                    <a:lnTo>
                      <a:pt x="748" y="1144"/>
                    </a:lnTo>
                    <a:lnTo>
                      <a:pt x="763" y="1131"/>
                    </a:lnTo>
                    <a:lnTo>
                      <a:pt x="778" y="1117"/>
                    </a:lnTo>
                    <a:lnTo>
                      <a:pt x="791" y="1101"/>
                    </a:lnTo>
                    <a:lnTo>
                      <a:pt x="805" y="1084"/>
                    </a:lnTo>
                    <a:lnTo>
                      <a:pt x="817" y="1067"/>
                    </a:lnTo>
                    <a:lnTo>
                      <a:pt x="828" y="1049"/>
                    </a:lnTo>
                    <a:lnTo>
                      <a:pt x="837" y="1029"/>
                    </a:lnTo>
                    <a:lnTo>
                      <a:pt x="846" y="1008"/>
                    </a:lnTo>
                    <a:lnTo>
                      <a:pt x="853" y="988"/>
                    </a:lnTo>
                    <a:lnTo>
                      <a:pt x="859" y="966"/>
                    </a:lnTo>
                    <a:lnTo>
                      <a:pt x="864" y="943"/>
                    </a:lnTo>
                    <a:lnTo>
                      <a:pt x="868" y="919"/>
                    </a:lnTo>
                    <a:lnTo>
                      <a:pt x="869" y="894"/>
                    </a:lnTo>
                    <a:lnTo>
                      <a:pt x="870" y="869"/>
                    </a:lnTo>
                    <a:lnTo>
                      <a:pt x="869" y="829"/>
                    </a:lnTo>
                    <a:lnTo>
                      <a:pt x="864" y="793"/>
                    </a:lnTo>
                    <a:lnTo>
                      <a:pt x="857" y="759"/>
                    </a:lnTo>
                    <a:lnTo>
                      <a:pt x="847" y="729"/>
                    </a:lnTo>
                    <a:lnTo>
                      <a:pt x="835" y="702"/>
                    </a:lnTo>
                    <a:lnTo>
                      <a:pt x="820" y="677"/>
                    </a:lnTo>
                    <a:lnTo>
                      <a:pt x="803" y="654"/>
                    </a:lnTo>
                    <a:lnTo>
                      <a:pt x="785" y="633"/>
                    </a:lnTo>
                    <a:lnTo>
                      <a:pt x="766" y="614"/>
                    </a:lnTo>
                    <a:lnTo>
                      <a:pt x="744" y="597"/>
                    </a:lnTo>
                    <a:lnTo>
                      <a:pt x="721" y="582"/>
                    </a:lnTo>
                    <a:lnTo>
                      <a:pt x="698" y="568"/>
                    </a:lnTo>
                    <a:lnTo>
                      <a:pt x="674" y="555"/>
                    </a:lnTo>
                    <a:lnTo>
                      <a:pt x="650" y="545"/>
                    </a:lnTo>
                    <a:lnTo>
                      <a:pt x="624" y="534"/>
                    </a:lnTo>
                    <a:lnTo>
                      <a:pt x="599" y="525"/>
                    </a:lnTo>
                    <a:lnTo>
                      <a:pt x="548" y="508"/>
                    </a:lnTo>
                    <a:lnTo>
                      <a:pt x="498" y="492"/>
                    </a:lnTo>
                    <a:lnTo>
                      <a:pt x="475" y="485"/>
                    </a:lnTo>
                    <a:lnTo>
                      <a:pt x="452" y="478"/>
                    </a:lnTo>
                    <a:lnTo>
                      <a:pt x="432" y="470"/>
                    </a:lnTo>
                    <a:lnTo>
                      <a:pt x="411" y="462"/>
                    </a:lnTo>
                    <a:lnTo>
                      <a:pt x="393" y="453"/>
                    </a:lnTo>
                    <a:lnTo>
                      <a:pt x="377" y="444"/>
                    </a:lnTo>
                    <a:lnTo>
                      <a:pt x="362" y="434"/>
                    </a:lnTo>
                    <a:lnTo>
                      <a:pt x="350" y="422"/>
                    </a:lnTo>
                    <a:lnTo>
                      <a:pt x="339" y="410"/>
                    </a:lnTo>
                    <a:lnTo>
                      <a:pt x="332" y="395"/>
                    </a:lnTo>
                    <a:lnTo>
                      <a:pt x="329" y="381"/>
                    </a:lnTo>
                    <a:lnTo>
                      <a:pt x="326" y="364"/>
                    </a:lnTo>
                    <a:lnTo>
                      <a:pt x="327" y="345"/>
                    </a:lnTo>
                    <a:lnTo>
                      <a:pt x="331" y="328"/>
                    </a:lnTo>
                    <a:lnTo>
                      <a:pt x="336" y="313"/>
                    </a:lnTo>
                    <a:lnTo>
                      <a:pt x="343" y="299"/>
                    </a:lnTo>
                    <a:lnTo>
                      <a:pt x="353" y="287"/>
                    </a:lnTo>
                    <a:lnTo>
                      <a:pt x="362" y="276"/>
                    </a:lnTo>
                    <a:lnTo>
                      <a:pt x="375" y="266"/>
                    </a:lnTo>
                    <a:lnTo>
                      <a:pt x="387" y="258"/>
                    </a:lnTo>
                    <a:lnTo>
                      <a:pt x="401" y="251"/>
                    </a:lnTo>
                    <a:lnTo>
                      <a:pt x="416" y="245"/>
                    </a:lnTo>
                    <a:lnTo>
                      <a:pt x="430" y="240"/>
                    </a:lnTo>
                    <a:lnTo>
                      <a:pt x="446" y="236"/>
                    </a:lnTo>
                    <a:lnTo>
                      <a:pt x="463" y="234"/>
                    </a:lnTo>
                    <a:lnTo>
                      <a:pt x="479" y="231"/>
                    </a:lnTo>
                    <a:lnTo>
                      <a:pt x="494" y="230"/>
                    </a:lnTo>
                    <a:lnTo>
                      <a:pt x="510" y="230"/>
                    </a:lnTo>
                    <a:lnTo>
                      <a:pt x="551" y="231"/>
                    </a:lnTo>
                    <a:lnTo>
                      <a:pt x="589" y="234"/>
                    </a:lnTo>
                    <a:lnTo>
                      <a:pt x="624" y="237"/>
                    </a:lnTo>
                    <a:lnTo>
                      <a:pt x="658" y="243"/>
                    </a:lnTo>
                    <a:lnTo>
                      <a:pt x="691" y="251"/>
                    </a:lnTo>
                    <a:lnTo>
                      <a:pt x="722" y="259"/>
                    </a:lnTo>
                    <a:lnTo>
                      <a:pt x="756" y="270"/>
                    </a:lnTo>
                    <a:lnTo>
                      <a:pt x="791" y="281"/>
                    </a:lnTo>
                    <a:lnTo>
                      <a:pt x="812" y="4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Freeform 45"/>
              <p:cNvSpPr>
                <a:spLocks/>
              </p:cNvSpPr>
              <p:nvPr/>
            </p:nvSpPr>
            <p:spPr bwMode="gray">
              <a:xfrm>
                <a:off x="2220" y="1184"/>
                <a:ext cx="179" cy="254"/>
              </a:xfrm>
              <a:custGeom>
                <a:avLst/>
                <a:gdLst>
                  <a:gd name="T0" fmla="*/ 0 w 904"/>
                  <a:gd name="T1" fmla="*/ 0 h 1261"/>
                  <a:gd name="T2" fmla="*/ 0 w 904"/>
                  <a:gd name="T3" fmla="*/ 0 h 1261"/>
                  <a:gd name="T4" fmla="*/ 0 w 904"/>
                  <a:gd name="T5" fmla="*/ 0 h 1261"/>
                  <a:gd name="T6" fmla="*/ 0 w 904"/>
                  <a:gd name="T7" fmla="*/ 0 h 1261"/>
                  <a:gd name="T8" fmla="*/ 0 w 904"/>
                  <a:gd name="T9" fmla="*/ 0 h 1261"/>
                  <a:gd name="T10" fmla="*/ 0 w 904"/>
                  <a:gd name="T11" fmla="*/ 0 h 1261"/>
                  <a:gd name="T12" fmla="*/ 0 w 904"/>
                  <a:gd name="T13" fmla="*/ 0 h 1261"/>
                  <a:gd name="T14" fmla="*/ 0 w 904"/>
                  <a:gd name="T15" fmla="*/ 0 h 1261"/>
                  <a:gd name="T16" fmla="*/ 0 w 904"/>
                  <a:gd name="T17" fmla="*/ 0 h 1261"/>
                  <a:gd name="T18" fmla="*/ 0 w 904"/>
                  <a:gd name="T19" fmla="*/ 0 h 1261"/>
                  <a:gd name="T20" fmla="*/ 0 w 904"/>
                  <a:gd name="T21" fmla="*/ 0 h 1261"/>
                  <a:gd name="T22" fmla="*/ 0 w 904"/>
                  <a:gd name="T23" fmla="*/ 0 h 1261"/>
                  <a:gd name="T24" fmla="*/ 0 w 904"/>
                  <a:gd name="T25" fmla="*/ 0 h 1261"/>
                  <a:gd name="T26" fmla="*/ 0 w 904"/>
                  <a:gd name="T27" fmla="*/ 0 h 1261"/>
                  <a:gd name="T28" fmla="*/ 0 w 904"/>
                  <a:gd name="T29" fmla="*/ 0 h 1261"/>
                  <a:gd name="T30" fmla="*/ 0 w 904"/>
                  <a:gd name="T31" fmla="*/ 0 h 1261"/>
                  <a:gd name="T32" fmla="*/ 0 w 904"/>
                  <a:gd name="T33" fmla="*/ 0 h 1261"/>
                  <a:gd name="T34" fmla="*/ 0 w 904"/>
                  <a:gd name="T35" fmla="*/ 0 h 1261"/>
                  <a:gd name="T36" fmla="*/ 0 w 904"/>
                  <a:gd name="T37" fmla="*/ 0 h 1261"/>
                  <a:gd name="T38" fmla="*/ 0 w 904"/>
                  <a:gd name="T39" fmla="*/ 0 h 1261"/>
                  <a:gd name="T40" fmla="*/ 0 w 904"/>
                  <a:gd name="T41" fmla="*/ 0 h 1261"/>
                  <a:gd name="T42" fmla="*/ 0 w 904"/>
                  <a:gd name="T43" fmla="*/ 0 h 1261"/>
                  <a:gd name="T44" fmla="*/ 0 w 904"/>
                  <a:gd name="T45" fmla="*/ 0 h 1261"/>
                  <a:gd name="T46" fmla="*/ 0 w 904"/>
                  <a:gd name="T47" fmla="*/ 0 h 1261"/>
                  <a:gd name="T48" fmla="*/ 0 w 904"/>
                  <a:gd name="T49" fmla="*/ 0 h 1261"/>
                  <a:gd name="T50" fmla="*/ 0 w 904"/>
                  <a:gd name="T51" fmla="*/ 0 h 1261"/>
                  <a:gd name="T52" fmla="*/ 0 w 904"/>
                  <a:gd name="T53" fmla="*/ 0 h 1261"/>
                  <a:gd name="T54" fmla="*/ 0 w 904"/>
                  <a:gd name="T55" fmla="*/ 0 h 1261"/>
                  <a:gd name="T56" fmla="*/ 0 w 904"/>
                  <a:gd name="T57" fmla="*/ 0 h 1261"/>
                  <a:gd name="T58" fmla="*/ 0 w 904"/>
                  <a:gd name="T59" fmla="*/ 0 h 1261"/>
                  <a:gd name="T60" fmla="*/ 0 w 904"/>
                  <a:gd name="T61" fmla="*/ 0 h 1261"/>
                  <a:gd name="T62" fmla="*/ 0 w 904"/>
                  <a:gd name="T63" fmla="*/ 0 h 1261"/>
                  <a:gd name="T64" fmla="*/ 0 w 904"/>
                  <a:gd name="T65" fmla="*/ 0 h 1261"/>
                  <a:gd name="T66" fmla="*/ 0 w 904"/>
                  <a:gd name="T67" fmla="*/ 0 h 1261"/>
                  <a:gd name="T68" fmla="*/ 0 w 904"/>
                  <a:gd name="T69" fmla="*/ 0 h 1261"/>
                  <a:gd name="T70" fmla="*/ 0 w 904"/>
                  <a:gd name="T71" fmla="*/ 0 h 1261"/>
                  <a:gd name="T72" fmla="*/ 0 w 904"/>
                  <a:gd name="T73" fmla="*/ 0 h 1261"/>
                  <a:gd name="T74" fmla="*/ 0 w 904"/>
                  <a:gd name="T75" fmla="*/ 0 h 1261"/>
                  <a:gd name="T76" fmla="*/ 0 w 904"/>
                  <a:gd name="T77" fmla="*/ 0 h 1261"/>
                  <a:gd name="T78" fmla="*/ 0 w 904"/>
                  <a:gd name="T79" fmla="*/ 0 h 1261"/>
                  <a:gd name="T80" fmla="*/ 0 w 904"/>
                  <a:gd name="T81" fmla="*/ 0 h 1261"/>
                  <a:gd name="T82" fmla="*/ 0 w 904"/>
                  <a:gd name="T83" fmla="*/ 0 h 1261"/>
                  <a:gd name="T84" fmla="*/ 0 w 904"/>
                  <a:gd name="T85" fmla="*/ 0 h 1261"/>
                  <a:gd name="T86" fmla="*/ 0 w 904"/>
                  <a:gd name="T87" fmla="*/ 0 h 1261"/>
                  <a:gd name="T88" fmla="*/ 0 w 904"/>
                  <a:gd name="T89" fmla="*/ 0 h 1261"/>
                  <a:gd name="T90" fmla="*/ 0 w 904"/>
                  <a:gd name="T91" fmla="*/ 0 h 1261"/>
                  <a:gd name="T92" fmla="*/ 0 w 904"/>
                  <a:gd name="T93" fmla="*/ 0 h 1261"/>
                  <a:gd name="T94" fmla="*/ 0 w 904"/>
                  <a:gd name="T95" fmla="*/ 0 h 1261"/>
                  <a:gd name="T96" fmla="*/ 0 w 904"/>
                  <a:gd name="T97" fmla="*/ 0 h 1261"/>
                  <a:gd name="T98" fmla="*/ 0 w 904"/>
                  <a:gd name="T99" fmla="*/ 0 h 1261"/>
                  <a:gd name="T100" fmla="*/ 0 w 904"/>
                  <a:gd name="T101" fmla="*/ 0 h 1261"/>
                  <a:gd name="T102" fmla="*/ 0 w 904"/>
                  <a:gd name="T103" fmla="*/ 0 h 1261"/>
                  <a:gd name="T104" fmla="*/ 0 w 904"/>
                  <a:gd name="T105" fmla="*/ 0 h 1261"/>
                  <a:gd name="T106" fmla="*/ 0 w 904"/>
                  <a:gd name="T107" fmla="*/ 0 h 1261"/>
                  <a:gd name="T108" fmla="*/ 0 w 904"/>
                  <a:gd name="T109" fmla="*/ 0 h 126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04"/>
                  <a:gd name="T166" fmla="*/ 0 h 1261"/>
                  <a:gd name="T167" fmla="*/ 904 w 904"/>
                  <a:gd name="T168" fmla="*/ 1261 h 126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04" h="1261">
                    <a:moveTo>
                      <a:pt x="884" y="41"/>
                    </a:moveTo>
                    <a:lnTo>
                      <a:pt x="851" y="31"/>
                    </a:lnTo>
                    <a:lnTo>
                      <a:pt x="818" y="24"/>
                    </a:lnTo>
                    <a:lnTo>
                      <a:pt x="783" y="16"/>
                    </a:lnTo>
                    <a:lnTo>
                      <a:pt x="747" y="11"/>
                    </a:lnTo>
                    <a:lnTo>
                      <a:pt x="709" y="7"/>
                    </a:lnTo>
                    <a:lnTo>
                      <a:pt x="670" y="3"/>
                    </a:lnTo>
                    <a:lnTo>
                      <a:pt x="626" y="2"/>
                    </a:lnTo>
                    <a:lnTo>
                      <a:pt x="581" y="0"/>
                    </a:lnTo>
                    <a:lnTo>
                      <a:pt x="546" y="2"/>
                    </a:lnTo>
                    <a:lnTo>
                      <a:pt x="512" y="4"/>
                    </a:lnTo>
                    <a:lnTo>
                      <a:pt x="479" y="8"/>
                    </a:lnTo>
                    <a:lnTo>
                      <a:pt x="448" y="14"/>
                    </a:lnTo>
                    <a:lnTo>
                      <a:pt x="418" y="20"/>
                    </a:lnTo>
                    <a:lnTo>
                      <a:pt x="387" y="28"/>
                    </a:lnTo>
                    <a:lnTo>
                      <a:pt x="359" y="38"/>
                    </a:lnTo>
                    <a:lnTo>
                      <a:pt x="332" y="49"/>
                    </a:lnTo>
                    <a:lnTo>
                      <a:pt x="305" y="61"/>
                    </a:lnTo>
                    <a:lnTo>
                      <a:pt x="279" y="76"/>
                    </a:lnTo>
                    <a:lnTo>
                      <a:pt x="255" y="90"/>
                    </a:lnTo>
                    <a:lnTo>
                      <a:pt x="232" y="106"/>
                    </a:lnTo>
                    <a:lnTo>
                      <a:pt x="209" y="123"/>
                    </a:lnTo>
                    <a:lnTo>
                      <a:pt x="189" y="143"/>
                    </a:lnTo>
                    <a:lnTo>
                      <a:pt x="168" y="162"/>
                    </a:lnTo>
                    <a:lnTo>
                      <a:pt x="150" y="183"/>
                    </a:lnTo>
                    <a:lnTo>
                      <a:pt x="132" y="203"/>
                    </a:lnTo>
                    <a:lnTo>
                      <a:pt x="115" y="226"/>
                    </a:lnTo>
                    <a:lnTo>
                      <a:pt x="99" y="249"/>
                    </a:lnTo>
                    <a:lnTo>
                      <a:pt x="84" y="275"/>
                    </a:lnTo>
                    <a:lnTo>
                      <a:pt x="71" y="299"/>
                    </a:lnTo>
                    <a:lnTo>
                      <a:pt x="59" y="326"/>
                    </a:lnTo>
                    <a:lnTo>
                      <a:pt x="48" y="353"/>
                    </a:lnTo>
                    <a:lnTo>
                      <a:pt x="38" y="381"/>
                    </a:lnTo>
                    <a:lnTo>
                      <a:pt x="29" y="409"/>
                    </a:lnTo>
                    <a:lnTo>
                      <a:pt x="21" y="438"/>
                    </a:lnTo>
                    <a:lnTo>
                      <a:pt x="15" y="468"/>
                    </a:lnTo>
                    <a:lnTo>
                      <a:pt x="9" y="498"/>
                    </a:lnTo>
                    <a:lnTo>
                      <a:pt x="6" y="529"/>
                    </a:lnTo>
                    <a:lnTo>
                      <a:pt x="2" y="560"/>
                    </a:lnTo>
                    <a:lnTo>
                      <a:pt x="1" y="593"/>
                    </a:lnTo>
                    <a:lnTo>
                      <a:pt x="0" y="625"/>
                    </a:lnTo>
                    <a:lnTo>
                      <a:pt x="1" y="660"/>
                    </a:lnTo>
                    <a:lnTo>
                      <a:pt x="2" y="693"/>
                    </a:lnTo>
                    <a:lnTo>
                      <a:pt x="6" y="725"/>
                    </a:lnTo>
                    <a:lnTo>
                      <a:pt x="9" y="758"/>
                    </a:lnTo>
                    <a:lnTo>
                      <a:pt x="14" y="790"/>
                    </a:lnTo>
                    <a:lnTo>
                      <a:pt x="20" y="820"/>
                    </a:lnTo>
                    <a:lnTo>
                      <a:pt x="29" y="851"/>
                    </a:lnTo>
                    <a:lnTo>
                      <a:pt x="37" y="880"/>
                    </a:lnTo>
                    <a:lnTo>
                      <a:pt x="47" y="908"/>
                    </a:lnTo>
                    <a:lnTo>
                      <a:pt x="58" y="936"/>
                    </a:lnTo>
                    <a:lnTo>
                      <a:pt x="70" y="962"/>
                    </a:lnTo>
                    <a:lnTo>
                      <a:pt x="83" y="988"/>
                    </a:lnTo>
                    <a:lnTo>
                      <a:pt x="98" y="1012"/>
                    </a:lnTo>
                    <a:lnTo>
                      <a:pt x="114" y="1036"/>
                    </a:lnTo>
                    <a:lnTo>
                      <a:pt x="131" y="1059"/>
                    </a:lnTo>
                    <a:lnTo>
                      <a:pt x="149" y="1081"/>
                    </a:lnTo>
                    <a:lnTo>
                      <a:pt x="168" y="1102"/>
                    </a:lnTo>
                    <a:lnTo>
                      <a:pt x="187" y="1121"/>
                    </a:lnTo>
                    <a:lnTo>
                      <a:pt x="209" y="1140"/>
                    </a:lnTo>
                    <a:lnTo>
                      <a:pt x="232" y="1157"/>
                    </a:lnTo>
                    <a:lnTo>
                      <a:pt x="255" y="1172"/>
                    </a:lnTo>
                    <a:lnTo>
                      <a:pt x="281" y="1188"/>
                    </a:lnTo>
                    <a:lnTo>
                      <a:pt x="306" y="1202"/>
                    </a:lnTo>
                    <a:lnTo>
                      <a:pt x="334" y="1214"/>
                    </a:lnTo>
                    <a:lnTo>
                      <a:pt x="362" y="1225"/>
                    </a:lnTo>
                    <a:lnTo>
                      <a:pt x="391" y="1234"/>
                    </a:lnTo>
                    <a:lnTo>
                      <a:pt x="422" y="1243"/>
                    </a:lnTo>
                    <a:lnTo>
                      <a:pt x="454" y="1249"/>
                    </a:lnTo>
                    <a:lnTo>
                      <a:pt x="487" y="1254"/>
                    </a:lnTo>
                    <a:lnTo>
                      <a:pt x="521" y="1259"/>
                    </a:lnTo>
                    <a:lnTo>
                      <a:pt x="556" y="1261"/>
                    </a:lnTo>
                    <a:lnTo>
                      <a:pt x="592" y="1261"/>
                    </a:lnTo>
                    <a:lnTo>
                      <a:pt x="639" y="1261"/>
                    </a:lnTo>
                    <a:lnTo>
                      <a:pt x="683" y="1259"/>
                    </a:lnTo>
                    <a:lnTo>
                      <a:pt x="724" y="1256"/>
                    </a:lnTo>
                    <a:lnTo>
                      <a:pt x="763" y="1253"/>
                    </a:lnTo>
                    <a:lnTo>
                      <a:pt x="800" y="1246"/>
                    </a:lnTo>
                    <a:lnTo>
                      <a:pt x="835" y="1239"/>
                    </a:lnTo>
                    <a:lnTo>
                      <a:pt x="871" y="1232"/>
                    </a:lnTo>
                    <a:lnTo>
                      <a:pt x="904" y="1221"/>
                    </a:lnTo>
                    <a:lnTo>
                      <a:pt x="891" y="962"/>
                    </a:lnTo>
                    <a:lnTo>
                      <a:pt x="869" y="971"/>
                    </a:lnTo>
                    <a:lnTo>
                      <a:pt x="843" y="980"/>
                    </a:lnTo>
                    <a:lnTo>
                      <a:pt x="815" y="990"/>
                    </a:lnTo>
                    <a:lnTo>
                      <a:pt x="785" y="999"/>
                    </a:lnTo>
                    <a:lnTo>
                      <a:pt x="752" y="1006"/>
                    </a:lnTo>
                    <a:lnTo>
                      <a:pt x="718" y="1012"/>
                    </a:lnTo>
                    <a:lnTo>
                      <a:pt x="701" y="1015"/>
                    </a:lnTo>
                    <a:lnTo>
                      <a:pt x="684" y="1017"/>
                    </a:lnTo>
                    <a:lnTo>
                      <a:pt x="667" y="1018"/>
                    </a:lnTo>
                    <a:lnTo>
                      <a:pt x="651" y="1018"/>
                    </a:lnTo>
                    <a:lnTo>
                      <a:pt x="631" y="1018"/>
                    </a:lnTo>
                    <a:lnTo>
                      <a:pt x="611" y="1016"/>
                    </a:lnTo>
                    <a:lnTo>
                      <a:pt x="592" y="1013"/>
                    </a:lnTo>
                    <a:lnTo>
                      <a:pt x="574" y="1011"/>
                    </a:lnTo>
                    <a:lnTo>
                      <a:pt x="557" y="1006"/>
                    </a:lnTo>
                    <a:lnTo>
                      <a:pt x="540" y="1001"/>
                    </a:lnTo>
                    <a:lnTo>
                      <a:pt x="523" y="995"/>
                    </a:lnTo>
                    <a:lnTo>
                      <a:pt x="507" y="988"/>
                    </a:lnTo>
                    <a:lnTo>
                      <a:pt x="493" y="980"/>
                    </a:lnTo>
                    <a:lnTo>
                      <a:pt x="478" y="972"/>
                    </a:lnTo>
                    <a:lnTo>
                      <a:pt x="465" y="962"/>
                    </a:lnTo>
                    <a:lnTo>
                      <a:pt x="451" y="953"/>
                    </a:lnTo>
                    <a:lnTo>
                      <a:pt x="439" y="942"/>
                    </a:lnTo>
                    <a:lnTo>
                      <a:pt x="427" y="929"/>
                    </a:lnTo>
                    <a:lnTo>
                      <a:pt x="416" y="917"/>
                    </a:lnTo>
                    <a:lnTo>
                      <a:pt x="407" y="905"/>
                    </a:lnTo>
                    <a:lnTo>
                      <a:pt x="397" y="892"/>
                    </a:lnTo>
                    <a:lnTo>
                      <a:pt x="387" y="877"/>
                    </a:lnTo>
                    <a:lnTo>
                      <a:pt x="379" y="863"/>
                    </a:lnTo>
                    <a:lnTo>
                      <a:pt x="372" y="847"/>
                    </a:lnTo>
                    <a:lnTo>
                      <a:pt x="364" y="831"/>
                    </a:lnTo>
                    <a:lnTo>
                      <a:pt x="357" y="814"/>
                    </a:lnTo>
                    <a:lnTo>
                      <a:pt x="352" y="798"/>
                    </a:lnTo>
                    <a:lnTo>
                      <a:pt x="346" y="780"/>
                    </a:lnTo>
                    <a:lnTo>
                      <a:pt x="341" y="762"/>
                    </a:lnTo>
                    <a:lnTo>
                      <a:pt x="338" y="744"/>
                    </a:lnTo>
                    <a:lnTo>
                      <a:pt x="334" y="725"/>
                    </a:lnTo>
                    <a:lnTo>
                      <a:pt x="332" y="706"/>
                    </a:lnTo>
                    <a:lnTo>
                      <a:pt x="329" y="687"/>
                    </a:lnTo>
                    <a:lnTo>
                      <a:pt x="328" y="666"/>
                    </a:lnTo>
                    <a:lnTo>
                      <a:pt x="327" y="645"/>
                    </a:lnTo>
                    <a:lnTo>
                      <a:pt x="327" y="625"/>
                    </a:lnTo>
                    <a:lnTo>
                      <a:pt x="327" y="604"/>
                    </a:lnTo>
                    <a:lnTo>
                      <a:pt x="328" y="583"/>
                    </a:lnTo>
                    <a:lnTo>
                      <a:pt x="329" y="564"/>
                    </a:lnTo>
                    <a:lnTo>
                      <a:pt x="333" y="543"/>
                    </a:lnTo>
                    <a:lnTo>
                      <a:pt x="335" y="524"/>
                    </a:lnTo>
                    <a:lnTo>
                      <a:pt x="339" y="506"/>
                    </a:lnTo>
                    <a:lnTo>
                      <a:pt x="344" y="487"/>
                    </a:lnTo>
                    <a:lnTo>
                      <a:pt x="349" y="470"/>
                    </a:lnTo>
                    <a:lnTo>
                      <a:pt x="355" y="452"/>
                    </a:lnTo>
                    <a:lnTo>
                      <a:pt x="361" y="436"/>
                    </a:lnTo>
                    <a:lnTo>
                      <a:pt x="368" y="421"/>
                    </a:lnTo>
                    <a:lnTo>
                      <a:pt x="376" y="405"/>
                    </a:lnTo>
                    <a:lnTo>
                      <a:pt x="384" y="390"/>
                    </a:lnTo>
                    <a:lnTo>
                      <a:pt x="393" y="376"/>
                    </a:lnTo>
                    <a:lnTo>
                      <a:pt x="403" y="362"/>
                    </a:lnTo>
                    <a:lnTo>
                      <a:pt x="413" y="349"/>
                    </a:lnTo>
                    <a:lnTo>
                      <a:pt x="424" y="337"/>
                    </a:lnTo>
                    <a:lnTo>
                      <a:pt x="435" y="326"/>
                    </a:lnTo>
                    <a:lnTo>
                      <a:pt x="447" y="315"/>
                    </a:lnTo>
                    <a:lnTo>
                      <a:pt x="459" y="305"/>
                    </a:lnTo>
                    <a:lnTo>
                      <a:pt x="471" y="296"/>
                    </a:lnTo>
                    <a:lnTo>
                      <a:pt x="484" y="287"/>
                    </a:lnTo>
                    <a:lnTo>
                      <a:pt x="499" y="279"/>
                    </a:lnTo>
                    <a:lnTo>
                      <a:pt x="512" y="271"/>
                    </a:lnTo>
                    <a:lnTo>
                      <a:pt x="528" y="265"/>
                    </a:lnTo>
                    <a:lnTo>
                      <a:pt x="542" y="259"/>
                    </a:lnTo>
                    <a:lnTo>
                      <a:pt x="558" y="256"/>
                    </a:lnTo>
                    <a:lnTo>
                      <a:pt x="575" y="251"/>
                    </a:lnTo>
                    <a:lnTo>
                      <a:pt x="591" y="248"/>
                    </a:lnTo>
                    <a:lnTo>
                      <a:pt x="608" y="246"/>
                    </a:lnTo>
                    <a:lnTo>
                      <a:pt x="626" y="245"/>
                    </a:lnTo>
                    <a:lnTo>
                      <a:pt x="644" y="245"/>
                    </a:lnTo>
                    <a:lnTo>
                      <a:pt x="678" y="245"/>
                    </a:lnTo>
                    <a:lnTo>
                      <a:pt x="709" y="247"/>
                    </a:lnTo>
                    <a:lnTo>
                      <a:pt x="739" y="251"/>
                    </a:lnTo>
                    <a:lnTo>
                      <a:pt x="765" y="257"/>
                    </a:lnTo>
                    <a:lnTo>
                      <a:pt x="789" y="263"/>
                    </a:lnTo>
                    <a:lnTo>
                      <a:pt x="812" y="270"/>
                    </a:lnTo>
                    <a:lnTo>
                      <a:pt x="834" y="279"/>
                    </a:lnTo>
                    <a:lnTo>
                      <a:pt x="856" y="288"/>
                    </a:lnTo>
                    <a:lnTo>
                      <a:pt x="884" y="4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Freeform 46"/>
              <p:cNvSpPr>
                <a:spLocks/>
              </p:cNvSpPr>
              <p:nvPr/>
            </p:nvSpPr>
            <p:spPr bwMode="gray">
              <a:xfrm>
                <a:off x="2435" y="1081"/>
                <a:ext cx="218" cy="351"/>
              </a:xfrm>
              <a:custGeom>
                <a:avLst/>
                <a:gdLst>
                  <a:gd name="T0" fmla="*/ 0 w 1103"/>
                  <a:gd name="T1" fmla="*/ 0 h 1753"/>
                  <a:gd name="T2" fmla="*/ 0 w 1103"/>
                  <a:gd name="T3" fmla="*/ 0 h 1753"/>
                  <a:gd name="T4" fmla="*/ 0 w 1103"/>
                  <a:gd name="T5" fmla="*/ 0 h 1753"/>
                  <a:gd name="T6" fmla="*/ 0 w 1103"/>
                  <a:gd name="T7" fmla="*/ 0 h 1753"/>
                  <a:gd name="T8" fmla="*/ 0 w 1103"/>
                  <a:gd name="T9" fmla="*/ 0 h 1753"/>
                  <a:gd name="T10" fmla="*/ 0 w 1103"/>
                  <a:gd name="T11" fmla="*/ 0 h 1753"/>
                  <a:gd name="T12" fmla="*/ 0 w 1103"/>
                  <a:gd name="T13" fmla="*/ 0 h 1753"/>
                  <a:gd name="T14" fmla="*/ 0 w 1103"/>
                  <a:gd name="T15" fmla="*/ 0 h 1753"/>
                  <a:gd name="T16" fmla="*/ 0 w 1103"/>
                  <a:gd name="T17" fmla="*/ 0 h 1753"/>
                  <a:gd name="T18" fmla="*/ 0 w 1103"/>
                  <a:gd name="T19" fmla="*/ 0 h 1753"/>
                  <a:gd name="T20" fmla="*/ 0 w 1103"/>
                  <a:gd name="T21" fmla="*/ 0 h 1753"/>
                  <a:gd name="T22" fmla="*/ 0 w 1103"/>
                  <a:gd name="T23" fmla="*/ 0 h 1753"/>
                  <a:gd name="T24" fmla="*/ 0 w 1103"/>
                  <a:gd name="T25" fmla="*/ 0 h 1753"/>
                  <a:gd name="T26" fmla="*/ 0 w 1103"/>
                  <a:gd name="T27" fmla="*/ 0 h 1753"/>
                  <a:gd name="T28" fmla="*/ 0 w 1103"/>
                  <a:gd name="T29" fmla="*/ 0 h 1753"/>
                  <a:gd name="T30" fmla="*/ 0 w 1103"/>
                  <a:gd name="T31" fmla="*/ 0 h 1753"/>
                  <a:gd name="T32" fmla="*/ 0 w 1103"/>
                  <a:gd name="T33" fmla="*/ 0 h 1753"/>
                  <a:gd name="T34" fmla="*/ 0 w 1103"/>
                  <a:gd name="T35" fmla="*/ 0 h 1753"/>
                  <a:gd name="T36" fmla="*/ 0 w 1103"/>
                  <a:gd name="T37" fmla="*/ 0 h 1753"/>
                  <a:gd name="T38" fmla="*/ 0 w 1103"/>
                  <a:gd name="T39" fmla="*/ 0 h 1753"/>
                  <a:gd name="T40" fmla="*/ 0 w 1103"/>
                  <a:gd name="T41" fmla="*/ 0 h 1753"/>
                  <a:gd name="T42" fmla="*/ 0 w 1103"/>
                  <a:gd name="T43" fmla="*/ 0 h 1753"/>
                  <a:gd name="T44" fmla="*/ 0 w 1103"/>
                  <a:gd name="T45" fmla="*/ 0 h 1753"/>
                  <a:gd name="T46" fmla="*/ 0 w 1103"/>
                  <a:gd name="T47" fmla="*/ 0 h 1753"/>
                  <a:gd name="T48" fmla="*/ 0 w 1103"/>
                  <a:gd name="T49" fmla="*/ 0 h 1753"/>
                  <a:gd name="T50" fmla="*/ 0 w 1103"/>
                  <a:gd name="T51" fmla="*/ 0 h 1753"/>
                  <a:gd name="T52" fmla="*/ 0 w 1103"/>
                  <a:gd name="T53" fmla="*/ 0 h 1753"/>
                  <a:gd name="T54" fmla="*/ 0 w 1103"/>
                  <a:gd name="T55" fmla="*/ 0 h 1753"/>
                  <a:gd name="T56" fmla="*/ 0 w 1103"/>
                  <a:gd name="T57" fmla="*/ 0 h 1753"/>
                  <a:gd name="T58" fmla="*/ 0 w 1103"/>
                  <a:gd name="T59" fmla="*/ 0 h 1753"/>
                  <a:gd name="T60" fmla="*/ 0 w 1103"/>
                  <a:gd name="T61" fmla="*/ 0 h 1753"/>
                  <a:gd name="T62" fmla="*/ 0 w 1103"/>
                  <a:gd name="T63" fmla="*/ 0 h 1753"/>
                  <a:gd name="T64" fmla="*/ 0 w 1103"/>
                  <a:gd name="T65" fmla="*/ 0 h 1753"/>
                  <a:gd name="T66" fmla="*/ 0 w 1103"/>
                  <a:gd name="T67" fmla="*/ 0 h 1753"/>
                  <a:gd name="T68" fmla="*/ 0 w 1103"/>
                  <a:gd name="T69" fmla="*/ 0 h 1753"/>
                  <a:gd name="T70" fmla="*/ 0 w 1103"/>
                  <a:gd name="T71" fmla="*/ 0 h 1753"/>
                  <a:gd name="T72" fmla="*/ 0 w 1103"/>
                  <a:gd name="T73" fmla="*/ 0 h 1753"/>
                  <a:gd name="T74" fmla="*/ 0 w 1103"/>
                  <a:gd name="T75" fmla="*/ 0 h 1753"/>
                  <a:gd name="T76" fmla="*/ 0 w 1103"/>
                  <a:gd name="T77" fmla="*/ 0 h 1753"/>
                  <a:gd name="T78" fmla="*/ 0 w 1103"/>
                  <a:gd name="T79" fmla="*/ 0 h 1753"/>
                  <a:gd name="T80" fmla="*/ 0 w 1103"/>
                  <a:gd name="T81" fmla="*/ 0 h 1753"/>
                  <a:gd name="T82" fmla="*/ 0 w 1103"/>
                  <a:gd name="T83" fmla="*/ 0 h 1753"/>
                  <a:gd name="T84" fmla="*/ 0 w 1103"/>
                  <a:gd name="T85" fmla="*/ 0 h 1753"/>
                  <a:gd name="T86" fmla="*/ 0 w 1103"/>
                  <a:gd name="T87" fmla="*/ 0 h 1753"/>
                  <a:gd name="T88" fmla="*/ 0 w 1103"/>
                  <a:gd name="T89" fmla="*/ 0 h 1753"/>
                  <a:gd name="T90" fmla="*/ 0 w 1103"/>
                  <a:gd name="T91" fmla="*/ 0 h 1753"/>
                  <a:gd name="T92" fmla="*/ 0 w 1103"/>
                  <a:gd name="T93" fmla="*/ 0 h 1753"/>
                  <a:gd name="T94" fmla="*/ 0 w 1103"/>
                  <a:gd name="T95" fmla="*/ 0 h 1753"/>
                  <a:gd name="T96" fmla="*/ 0 w 1103"/>
                  <a:gd name="T97" fmla="*/ 0 h 1753"/>
                  <a:gd name="T98" fmla="*/ 0 w 1103"/>
                  <a:gd name="T99" fmla="*/ 0 h 1753"/>
                  <a:gd name="T100" fmla="*/ 0 w 1103"/>
                  <a:gd name="T101" fmla="*/ 0 h 1753"/>
                  <a:gd name="T102" fmla="*/ 0 w 1103"/>
                  <a:gd name="T103" fmla="*/ 0 h 1753"/>
                  <a:gd name="T104" fmla="*/ 0 w 1103"/>
                  <a:gd name="T105" fmla="*/ 0 h 1753"/>
                  <a:gd name="T106" fmla="*/ 0 w 1103"/>
                  <a:gd name="T107" fmla="*/ 0 h 17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03"/>
                  <a:gd name="T163" fmla="*/ 0 h 1753"/>
                  <a:gd name="T164" fmla="*/ 1103 w 1103"/>
                  <a:gd name="T165" fmla="*/ 1753 h 17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03" h="1753">
                    <a:moveTo>
                      <a:pt x="0" y="1753"/>
                    </a:moveTo>
                    <a:lnTo>
                      <a:pt x="313" y="1753"/>
                    </a:lnTo>
                    <a:lnTo>
                      <a:pt x="313" y="1164"/>
                    </a:lnTo>
                    <a:lnTo>
                      <a:pt x="313" y="1134"/>
                    </a:lnTo>
                    <a:lnTo>
                      <a:pt x="315" y="1102"/>
                    </a:lnTo>
                    <a:lnTo>
                      <a:pt x="319" y="1069"/>
                    </a:lnTo>
                    <a:lnTo>
                      <a:pt x="323" y="1037"/>
                    </a:lnTo>
                    <a:lnTo>
                      <a:pt x="331" y="1003"/>
                    </a:lnTo>
                    <a:lnTo>
                      <a:pt x="339" y="970"/>
                    </a:lnTo>
                    <a:lnTo>
                      <a:pt x="345" y="953"/>
                    </a:lnTo>
                    <a:lnTo>
                      <a:pt x="351" y="937"/>
                    </a:lnTo>
                    <a:lnTo>
                      <a:pt x="357" y="921"/>
                    </a:lnTo>
                    <a:lnTo>
                      <a:pt x="365" y="905"/>
                    </a:lnTo>
                    <a:lnTo>
                      <a:pt x="373" y="891"/>
                    </a:lnTo>
                    <a:lnTo>
                      <a:pt x="382" y="876"/>
                    </a:lnTo>
                    <a:lnTo>
                      <a:pt x="391" y="863"/>
                    </a:lnTo>
                    <a:lnTo>
                      <a:pt x="401" y="850"/>
                    </a:lnTo>
                    <a:lnTo>
                      <a:pt x="412" y="837"/>
                    </a:lnTo>
                    <a:lnTo>
                      <a:pt x="423" y="825"/>
                    </a:lnTo>
                    <a:lnTo>
                      <a:pt x="436" y="814"/>
                    </a:lnTo>
                    <a:lnTo>
                      <a:pt x="449" y="805"/>
                    </a:lnTo>
                    <a:lnTo>
                      <a:pt x="463" y="796"/>
                    </a:lnTo>
                    <a:lnTo>
                      <a:pt x="478" y="788"/>
                    </a:lnTo>
                    <a:lnTo>
                      <a:pt x="494" y="780"/>
                    </a:lnTo>
                    <a:lnTo>
                      <a:pt x="511" y="774"/>
                    </a:lnTo>
                    <a:lnTo>
                      <a:pt x="528" y="771"/>
                    </a:lnTo>
                    <a:lnTo>
                      <a:pt x="547" y="767"/>
                    </a:lnTo>
                    <a:lnTo>
                      <a:pt x="567" y="765"/>
                    </a:lnTo>
                    <a:lnTo>
                      <a:pt x="587" y="765"/>
                    </a:lnTo>
                    <a:lnTo>
                      <a:pt x="606" y="765"/>
                    </a:lnTo>
                    <a:lnTo>
                      <a:pt x="623" y="766"/>
                    </a:lnTo>
                    <a:lnTo>
                      <a:pt x="638" y="769"/>
                    </a:lnTo>
                    <a:lnTo>
                      <a:pt x="654" y="773"/>
                    </a:lnTo>
                    <a:lnTo>
                      <a:pt x="667" y="778"/>
                    </a:lnTo>
                    <a:lnTo>
                      <a:pt x="681" y="783"/>
                    </a:lnTo>
                    <a:lnTo>
                      <a:pt x="693" y="790"/>
                    </a:lnTo>
                    <a:lnTo>
                      <a:pt x="704" y="797"/>
                    </a:lnTo>
                    <a:lnTo>
                      <a:pt x="713" y="806"/>
                    </a:lnTo>
                    <a:lnTo>
                      <a:pt x="723" y="814"/>
                    </a:lnTo>
                    <a:lnTo>
                      <a:pt x="732" y="824"/>
                    </a:lnTo>
                    <a:lnTo>
                      <a:pt x="740" y="835"/>
                    </a:lnTo>
                    <a:lnTo>
                      <a:pt x="747" y="846"/>
                    </a:lnTo>
                    <a:lnTo>
                      <a:pt x="753" y="857"/>
                    </a:lnTo>
                    <a:lnTo>
                      <a:pt x="759" y="869"/>
                    </a:lnTo>
                    <a:lnTo>
                      <a:pt x="764" y="882"/>
                    </a:lnTo>
                    <a:lnTo>
                      <a:pt x="773" y="908"/>
                    </a:lnTo>
                    <a:lnTo>
                      <a:pt x="779" y="936"/>
                    </a:lnTo>
                    <a:lnTo>
                      <a:pt x="784" y="965"/>
                    </a:lnTo>
                    <a:lnTo>
                      <a:pt x="787" y="994"/>
                    </a:lnTo>
                    <a:lnTo>
                      <a:pt x="789" y="1023"/>
                    </a:lnTo>
                    <a:lnTo>
                      <a:pt x="790" y="1052"/>
                    </a:lnTo>
                    <a:lnTo>
                      <a:pt x="790" y="1082"/>
                    </a:lnTo>
                    <a:lnTo>
                      <a:pt x="790" y="1109"/>
                    </a:lnTo>
                    <a:lnTo>
                      <a:pt x="790" y="1753"/>
                    </a:lnTo>
                    <a:lnTo>
                      <a:pt x="1103" y="1753"/>
                    </a:lnTo>
                    <a:lnTo>
                      <a:pt x="1103" y="993"/>
                    </a:lnTo>
                    <a:lnTo>
                      <a:pt x="1102" y="967"/>
                    </a:lnTo>
                    <a:lnTo>
                      <a:pt x="1101" y="943"/>
                    </a:lnTo>
                    <a:lnTo>
                      <a:pt x="1100" y="919"/>
                    </a:lnTo>
                    <a:lnTo>
                      <a:pt x="1097" y="895"/>
                    </a:lnTo>
                    <a:lnTo>
                      <a:pt x="1094" y="871"/>
                    </a:lnTo>
                    <a:lnTo>
                      <a:pt x="1090" y="848"/>
                    </a:lnTo>
                    <a:lnTo>
                      <a:pt x="1085" y="827"/>
                    </a:lnTo>
                    <a:lnTo>
                      <a:pt x="1079" y="805"/>
                    </a:lnTo>
                    <a:lnTo>
                      <a:pt x="1073" y="784"/>
                    </a:lnTo>
                    <a:lnTo>
                      <a:pt x="1066" y="763"/>
                    </a:lnTo>
                    <a:lnTo>
                      <a:pt x="1057" y="744"/>
                    </a:lnTo>
                    <a:lnTo>
                      <a:pt x="1049" y="725"/>
                    </a:lnTo>
                    <a:lnTo>
                      <a:pt x="1039" y="706"/>
                    </a:lnTo>
                    <a:lnTo>
                      <a:pt x="1028" y="688"/>
                    </a:lnTo>
                    <a:lnTo>
                      <a:pt x="1017" y="671"/>
                    </a:lnTo>
                    <a:lnTo>
                      <a:pt x="1005" y="655"/>
                    </a:lnTo>
                    <a:lnTo>
                      <a:pt x="993" y="639"/>
                    </a:lnTo>
                    <a:lnTo>
                      <a:pt x="979" y="625"/>
                    </a:lnTo>
                    <a:lnTo>
                      <a:pt x="964" y="612"/>
                    </a:lnTo>
                    <a:lnTo>
                      <a:pt x="948" y="598"/>
                    </a:lnTo>
                    <a:lnTo>
                      <a:pt x="933" y="587"/>
                    </a:lnTo>
                    <a:lnTo>
                      <a:pt x="916" y="575"/>
                    </a:lnTo>
                    <a:lnTo>
                      <a:pt x="898" y="565"/>
                    </a:lnTo>
                    <a:lnTo>
                      <a:pt x="878" y="557"/>
                    </a:lnTo>
                    <a:lnTo>
                      <a:pt x="859" y="548"/>
                    </a:lnTo>
                    <a:lnTo>
                      <a:pt x="838" y="541"/>
                    </a:lnTo>
                    <a:lnTo>
                      <a:pt x="816" y="535"/>
                    </a:lnTo>
                    <a:lnTo>
                      <a:pt x="793" y="530"/>
                    </a:lnTo>
                    <a:lnTo>
                      <a:pt x="770" y="525"/>
                    </a:lnTo>
                    <a:lnTo>
                      <a:pt x="746" y="523"/>
                    </a:lnTo>
                    <a:lnTo>
                      <a:pt x="721" y="522"/>
                    </a:lnTo>
                    <a:lnTo>
                      <a:pt x="695" y="520"/>
                    </a:lnTo>
                    <a:lnTo>
                      <a:pt x="665" y="522"/>
                    </a:lnTo>
                    <a:lnTo>
                      <a:pt x="635" y="524"/>
                    </a:lnTo>
                    <a:lnTo>
                      <a:pt x="606" y="529"/>
                    </a:lnTo>
                    <a:lnTo>
                      <a:pt x="578" y="534"/>
                    </a:lnTo>
                    <a:lnTo>
                      <a:pt x="551" y="541"/>
                    </a:lnTo>
                    <a:lnTo>
                      <a:pt x="524" y="551"/>
                    </a:lnTo>
                    <a:lnTo>
                      <a:pt x="499" y="561"/>
                    </a:lnTo>
                    <a:lnTo>
                      <a:pt x="475" y="573"/>
                    </a:lnTo>
                    <a:lnTo>
                      <a:pt x="451" y="586"/>
                    </a:lnTo>
                    <a:lnTo>
                      <a:pt x="428" y="601"/>
                    </a:lnTo>
                    <a:lnTo>
                      <a:pt x="407" y="616"/>
                    </a:lnTo>
                    <a:lnTo>
                      <a:pt x="386" y="633"/>
                    </a:lnTo>
                    <a:lnTo>
                      <a:pt x="367" y="652"/>
                    </a:lnTo>
                    <a:lnTo>
                      <a:pt x="349" y="671"/>
                    </a:lnTo>
                    <a:lnTo>
                      <a:pt x="332" y="690"/>
                    </a:lnTo>
                    <a:lnTo>
                      <a:pt x="317" y="712"/>
                    </a:lnTo>
                    <a:lnTo>
                      <a:pt x="313" y="712"/>
                    </a:lnTo>
                    <a:lnTo>
                      <a:pt x="313" y="0"/>
                    </a:lnTo>
                    <a:lnTo>
                      <a:pt x="0" y="0"/>
                    </a:lnTo>
                    <a:lnTo>
                      <a:pt x="0" y="1753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" name="Freeform 47"/>
              <p:cNvSpPr>
                <a:spLocks noEditPoints="1"/>
              </p:cNvSpPr>
              <p:nvPr/>
            </p:nvSpPr>
            <p:spPr bwMode="gray">
              <a:xfrm>
                <a:off x="2685" y="1184"/>
                <a:ext cx="225" cy="254"/>
              </a:xfrm>
              <a:custGeom>
                <a:avLst/>
                <a:gdLst>
                  <a:gd name="T0" fmla="*/ 0 w 1129"/>
                  <a:gd name="T1" fmla="*/ 0 h 1261"/>
                  <a:gd name="T2" fmla="*/ 0 w 1129"/>
                  <a:gd name="T3" fmla="*/ 0 h 1261"/>
                  <a:gd name="T4" fmla="*/ 0 w 1129"/>
                  <a:gd name="T5" fmla="*/ 0 h 1261"/>
                  <a:gd name="T6" fmla="*/ 0 w 1129"/>
                  <a:gd name="T7" fmla="*/ 0 h 1261"/>
                  <a:gd name="T8" fmla="*/ 0 w 1129"/>
                  <a:gd name="T9" fmla="*/ 0 h 1261"/>
                  <a:gd name="T10" fmla="*/ 0 w 1129"/>
                  <a:gd name="T11" fmla="*/ 0 h 1261"/>
                  <a:gd name="T12" fmla="*/ 0 w 1129"/>
                  <a:gd name="T13" fmla="*/ 0 h 1261"/>
                  <a:gd name="T14" fmla="*/ 0 w 1129"/>
                  <a:gd name="T15" fmla="*/ 0 h 1261"/>
                  <a:gd name="T16" fmla="*/ 0 w 1129"/>
                  <a:gd name="T17" fmla="*/ 0 h 1261"/>
                  <a:gd name="T18" fmla="*/ 0 w 1129"/>
                  <a:gd name="T19" fmla="*/ 0 h 1261"/>
                  <a:gd name="T20" fmla="*/ 0 w 1129"/>
                  <a:gd name="T21" fmla="*/ 0 h 1261"/>
                  <a:gd name="T22" fmla="*/ 0 w 1129"/>
                  <a:gd name="T23" fmla="*/ 0 h 1261"/>
                  <a:gd name="T24" fmla="*/ 0 w 1129"/>
                  <a:gd name="T25" fmla="*/ 0 h 1261"/>
                  <a:gd name="T26" fmla="*/ 0 w 1129"/>
                  <a:gd name="T27" fmla="*/ 0 h 1261"/>
                  <a:gd name="T28" fmla="*/ 0 w 1129"/>
                  <a:gd name="T29" fmla="*/ 0 h 1261"/>
                  <a:gd name="T30" fmla="*/ 0 w 1129"/>
                  <a:gd name="T31" fmla="*/ 0 h 1261"/>
                  <a:gd name="T32" fmla="*/ 0 w 1129"/>
                  <a:gd name="T33" fmla="*/ 0 h 1261"/>
                  <a:gd name="T34" fmla="*/ 0 w 1129"/>
                  <a:gd name="T35" fmla="*/ 0 h 1261"/>
                  <a:gd name="T36" fmla="*/ 0 w 1129"/>
                  <a:gd name="T37" fmla="*/ 0 h 1261"/>
                  <a:gd name="T38" fmla="*/ 0 w 1129"/>
                  <a:gd name="T39" fmla="*/ 0 h 1261"/>
                  <a:gd name="T40" fmla="*/ 0 w 1129"/>
                  <a:gd name="T41" fmla="*/ 0 h 1261"/>
                  <a:gd name="T42" fmla="*/ 0 w 1129"/>
                  <a:gd name="T43" fmla="*/ 0 h 1261"/>
                  <a:gd name="T44" fmla="*/ 0 w 1129"/>
                  <a:gd name="T45" fmla="*/ 0 h 1261"/>
                  <a:gd name="T46" fmla="*/ 0 w 1129"/>
                  <a:gd name="T47" fmla="*/ 0 h 1261"/>
                  <a:gd name="T48" fmla="*/ 0 w 1129"/>
                  <a:gd name="T49" fmla="*/ 0 h 1261"/>
                  <a:gd name="T50" fmla="*/ 0 w 1129"/>
                  <a:gd name="T51" fmla="*/ 0 h 1261"/>
                  <a:gd name="T52" fmla="*/ 0 w 1129"/>
                  <a:gd name="T53" fmla="*/ 0 h 1261"/>
                  <a:gd name="T54" fmla="*/ 0 w 1129"/>
                  <a:gd name="T55" fmla="*/ 0 h 1261"/>
                  <a:gd name="T56" fmla="*/ 0 w 1129"/>
                  <a:gd name="T57" fmla="*/ 0 h 1261"/>
                  <a:gd name="T58" fmla="*/ 0 w 1129"/>
                  <a:gd name="T59" fmla="*/ 0 h 1261"/>
                  <a:gd name="T60" fmla="*/ 0 w 1129"/>
                  <a:gd name="T61" fmla="*/ 0 h 1261"/>
                  <a:gd name="T62" fmla="*/ 0 w 1129"/>
                  <a:gd name="T63" fmla="*/ 0 h 1261"/>
                  <a:gd name="T64" fmla="*/ 0 w 1129"/>
                  <a:gd name="T65" fmla="*/ 0 h 1261"/>
                  <a:gd name="T66" fmla="*/ 0 w 1129"/>
                  <a:gd name="T67" fmla="*/ 0 h 1261"/>
                  <a:gd name="T68" fmla="*/ 0 w 1129"/>
                  <a:gd name="T69" fmla="*/ 0 h 1261"/>
                  <a:gd name="T70" fmla="*/ 0 w 1129"/>
                  <a:gd name="T71" fmla="*/ 0 h 1261"/>
                  <a:gd name="T72" fmla="*/ 0 w 1129"/>
                  <a:gd name="T73" fmla="*/ 0 h 1261"/>
                  <a:gd name="T74" fmla="*/ 0 w 1129"/>
                  <a:gd name="T75" fmla="*/ 0 h 1261"/>
                  <a:gd name="T76" fmla="*/ 0 w 1129"/>
                  <a:gd name="T77" fmla="*/ 0 h 1261"/>
                  <a:gd name="T78" fmla="*/ 0 w 1129"/>
                  <a:gd name="T79" fmla="*/ 0 h 1261"/>
                  <a:gd name="T80" fmla="*/ 0 w 1129"/>
                  <a:gd name="T81" fmla="*/ 0 h 1261"/>
                  <a:gd name="T82" fmla="*/ 0 w 1129"/>
                  <a:gd name="T83" fmla="*/ 0 h 1261"/>
                  <a:gd name="T84" fmla="*/ 0 w 1129"/>
                  <a:gd name="T85" fmla="*/ 0 h 1261"/>
                  <a:gd name="T86" fmla="*/ 0 w 1129"/>
                  <a:gd name="T87" fmla="*/ 0 h 1261"/>
                  <a:gd name="T88" fmla="*/ 0 w 1129"/>
                  <a:gd name="T89" fmla="*/ 0 h 1261"/>
                  <a:gd name="T90" fmla="*/ 0 w 1129"/>
                  <a:gd name="T91" fmla="*/ 0 h 1261"/>
                  <a:gd name="T92" fmla="*/ 0 w 1129"/>
                  <a:gd name="T93" fmla="*/ 0 h 1261"/>
                  <a:gd name="T94" fmla="*/ 0 w 1129"/>
                  <a:gd name="T95" fmla="*/ 0 h 1261"/>
                  <a:gd name="T96" fmla="*/ 0 w 1129"/>
                  <a:gd name="T97" fmla="*/ 0 h 1261"/>
                  <a:gd name="T98" fmla="*/ 0 w 1129"/>
                  <a:gd name="T99" fmla="*/ 0 h 1261"/>
                  <a:gd name="T100" fmla="*/ 0 w 1129"/>
                  <a:gd name="T101" fmla="*/ 0 h 1261"/>
                  <a:gd name="T102" fmla="*/ 0 w 1129"/>
                  <a:gd name="T103" fmla="*/ 0 h 1261"/>
                  <a:gd name="T104" fmla="*/ 0 w 1129"/>
                  <a:gd name="T105" fmla="*/ 0 h 12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129"/>
                  <a:gd name="T160" fmla="*/ 0 h 1261"/>
                  <a:gd name="T161" fmla="*/ 1129 w 1129"/>
                  <a:gd name="T162" fmla="*/ 1261 h 12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129" h="1261">
                    <a:moveTo>
                      <a:pt x="299" y="513"/>
                    </a:moveTo>
                    <a:lnTo>
                      <a:pt x="302" y="483"/>
                    </a:lnTo>
                    <a:lnTo>
                      <a:pt x="307" y="455"/>
                    </a:lnTo>
                    <a:lnTo>
                      <a:pt x="315" y="427"/>
                    </a:lnTo>
                    <a:lnTo>
                      <a:pt x="323" y="400"/>
                    </a:lnTo>
                    <a:lnTo>
                      <a:pt x="334" y="376"/>
                    </a:lnTo>
                    <a:lnTo>
                      <a:pt x="346" y="353"/>
                    </a:lnTo>
                    <a:lnTo>
                      <a:pt x="353" y="342"/>
                    </a:lnTo>
                    <a:lnTo>
                      <a:pt x="361" y="331"/>
                    </a:lnTo>
                    <a:lnTo>
                      <a:pt x="369" y="321"/>
                    </a:lnTo>
                    <a:lnTo>
                      <a:pt x="378" y="311"/>
                    </a:lnTo>
                    <a:lnTo>
                      <a:pt x="386" y="302"/>
                    </a:lnTo>
                    <a:lnTo>
                      <a:pt x="396" y="293"/>
                    </a:lnTo>
                    <a:lnTo>
                      <a:pt x="405" y="285"/>
                    </a:lnTo>
                    <a:lnTo>
                      <a:pt x="415" y="277"/>
                    </a:lnTo>
                    <a:lnTo>
                      <a:pt x="426" y="270"/>
                    </a:lnTo>
                    <a:lnTo>
                      <a:pt x="437" y="263"/>
                    </a:lnTo>
                    <a:lnTo>
                      <a:pt x="449" y="257"/>
                    </a:lnTo>
                    <a:lnTo>
                      <a:pt x="461" y="252"/>
                    </a:lnTo>
                    <a:lnTo>
                      <a:pt x="473" y="247"/>
                    </a:lnTo>
                    <a:lnTo>
                      <a:pt x="487" y="242"/>
                    </a:lnTo>
                    <a:lnTo>
                      <a:pt x="500" y="239"/>
                    </a:lnTo>
                    <a:lnTo>
                      <a:pt x="514" y="235"/>
                    </a:lnTo>
                    <a:lnTo>
                      <a:pt x="529" y="234"/>
                    </a:lnTo>
                    <a:lnTo>
                      <a:pt x="545" y="231"/>
                    </a:lnTo>
                    <a:lnTo>
                      <a:pt x="560" y="230"/>
                    </a:lnTo>
                    <a:lnTo>
                      <a:pt x="576" y="230"/>
                    </a:lnTo>
                    <a:lnTo>
                      <a:pt x="592" y="230"/>
                    </a:lnTo>
                    <a:lnTo>
                      <a:pt x="608" y="231"/>
                    </a:lnTo>
                    <a:lnTo>
                      <a:pt x="622" y="234"/>
                    </a:lnTo>
                    <a:lnTo>
                      <a:pt x="637" y="236"/>
                    </a:lnTo>
                    <a:lnTo>
                      <a:pt x="650" y="239"/>
                    </a:lnTo>
                    <a:lnTo>
                      <a:pt x="663" y="243"/>
                    </a:lnTo>
                    <a:lnTo>
                      <a:pt x="677" y="247"/>
                    </a:lnTo>
                    <a:lnTo>
                      <a:pt x="689" y="253"/>
                    </a:lnTo>
                    <a:lnTo>
                      <a:pt x="700" y="259"/>
                    </a:lnTo>
                    <a:lnTo>
                      <a:pt x="711" y="265"/>
                    </a:lnTo>
                    <a:lnTo>
                      <a:pt x="722" y="271"/>
                    </a:lnTo>
                    <a:lnTo>
                      <a:pt x="731" y="280"/>
                    </a:lnTo>
                    <a:lnTo>
                      <a:pt x="741" y="287"/>
                    </a:lnTo>
                    <a:lnTo>
                      <a:pt x="749" y="296"/>
                    </a:lnTo>
                    <a:lnTo>
                      <a:pt x="758" y="305"/>
                    </a:lnTo>
                    <a:lnTo>
                      <a:pt x="765" y="315"/>
                    </a:lnTo>
                    <a:lnTo>
                      <a:pt x="772" y="325"/>
                    </a:lnTo>
                    <a:lnTo>
                      <a:pt x="780" y="334"/>
                    </a:lnTo>
                    <a:lnTo>
                      <a:pt x="786" y="345"/>
                    </a:lnTo>
                    <a:lnTo>
                      <a:pt x="792" y="356"/>
                    </a:lnTo>
                    <a:lnTo>
                      <a:pt x="803" y="379"/>
                    </a:lnTo>
                    <a:lnTo>
                      <a:pt x="811" y="405"/>
                    </a:lnTo>
                    <a:lnTo>
                      <a:pt x="818" y="430"/>
                    </a:lnTo>
                    <a:lnTo>
                      <a:pt x="825" y="457"/>
                    </a:lnTo>
                    <a:lnTo>
                      <a:pt x="828" y="485"/>
                    </a:lnTo>
                    <a:lnTo>
                      <a:pt x="831" y="513"/>
                    </a:lnTo>
                    <a:lnTo>
                      <a:pt x="299" y="513"/>
                    </a:lnTo>
                    <a:close/>
                    <a:moveTo>
                      <a:pt x="1040" y="910"/>
                    </a:moveTo>
                    <a:lnTo>
                      <a:pt x="997" y="934"/>
                    </a:lnTo>
                    <a:lnTo>
                      <a:pt x="950" y="957"/>
                    </a:lnTo>
                    <a:lnTo>
                      <a:pt x="926" y="967"/>
                    </a:lnTo>
                    <a:lnTo>
                      <a:pt x="903" y="978"/>
                    </a:lnTo>
                    <a:lnTo>
                      <a:pt x="879" y="987"/>
                    </a:lnTo>
                    <a:lnTo>
                      <a:pt x="854" y="996"/>
                    </a:lnTo>
                    <a:lnTo>
                      <a:pt x="829" y="1004"/>
                    </a:lnTo>
                    <a:lnTo>
                      <a:pt x="804" y="1011"/>
                    </a:lnTo>
                    <a:lnTo>
                      <a:pt x="777" y="1017"/>
                    </a:lnTo>
                    <a:lnTo>
                      <a:pt x="752" y="1022"/>
                    </a:lnTo>
                    <a:lnTo>
                      <a:pt x="725" y="1027"/>
                    </a:lnTo>
                    <a:lnTo>
                      <a:pt x="697" y="1029"/>
                    </a:lnTo>
                    <a:lnTo>
                      <a:pt x="669" y="1032"/>
                    </a:lnTo>
                    <a:lnTo>
                      <a:pt x="642" y="1032"/>
                    </a:lnTo>
                    <a:lnTo>
                      <a:pt x="623" y="1032"/>
                    </a:lnTo>
                    <a:lnTo>
                      <a:pt x="606" y="1030"/>
                    </a:lnTo>
                    <a:lnTo>
                      <a:pt x="588" y="1029"/>
                    </a:lnTo>
                    <a:lnTo>
                      <a:pt x="571" y="1027"/>
                    </a:lnTo>
                    <a:lnTo>
                      <a:pt x="556" y="1024"/>
                    </a:lnTo>
                    <a:lnTo>
                      <a:pt x="539" y="1021"/>
                    </a:lnTo>
                    <a:lnTo>
                      <a:pt x="523" y="1017"/>
                    </a:lnTo>
                    <a:lnTo>
                      <a:pt x="508" y="1012"/>
                    </a:lnTo>
                    <a:lnTo>
                      <a:pt x="494" y="1006"/>
                    </a:lnTo>
                    <a:lnTo>
                      <a:pt x="479" y="1001"/>
                    </a:lnTo>
                    <a:lnTo>
                      <a:pt x="465" y="994"/>
                    </a:lnTo>
                    <a:lnTo>
                      <a:pt x="451" y="987"/>
                    </a:lnTo>
                    <a:lnTo>
                      <a:pt x="438" y="979"/>
                    </a:lnTo>
                    <a:lnTo>
                      <a:pt x="426" y="971"/>
                    </a:lnTo>
                    <a:lnTo>
                      <a:pt x="414" y="962"/>
                    </a:lnTo>
                    <a:lnTo>
                      <a:pt x="403" y="953"/>
                    </a:lnTo>
                    <a:lnTo>
                      <a:pt x="392" y="943"/>
                    </a:lnTo>
                    <a:lnTo>
                      <a:pt x="381" y="932"/>
                    </a:lnTo>
                    <a:lnTo>
                      <a:pt x="372" y="921"/>
                    </a:lnTo>
                    <a:lnTo>
                      <a:pt x="362" y="910"/>
                    </a:lnTo>
                    <a:lnTo>
                      <a:pt x="353" y="898"/>
                    </a:lnTo>
                    <a:lnTo>
                      <a:pt x="345" y="885"/>
                    </a:lnTo>
                    <a:lnTo>
                      <a:pt x="338" y="871"/>
                    </a:lnTo>
                    <a:lnTo>
                      <a:pt x="330" y="858"/>
                    </a:lnTo>
                    <a:lnTo>
                      <a:pt x="324" y="843"/>
                    </a:lnTo>
                    <a:lnTo>
                      <a:pt x="319" y="829"/>
                    </a:lnTo>
                    <a:lnTo>
                      <a:pt x="313" y="813"/>
                    </a:lnTo>
                    <a:lnTo>
                      <a:pt x="310" y="797"/>
                    </a:lnTo>
                    <a:lnTo>
                      <a:pt x="306" y="780"/>
                    </a:lnTo>
                    <a:lnTo>
                      <a:pt x="302" y="763"/>
                    </a:lnTo>
                    <a:lnTo>
                      <a:pt x="300" y="746"/>
                    </a:lnTo>
                    <a:lnTo>
                      <a:pt x="299" y="728"/>
                    </a:lnTo>
                    <a:lnTo>
                      <a:pt x="1129" y="728"/>
                    </a:lnTo>
                    <a:lnTo>
                      <a:pt x="1129" y="689"/>
                    </a:lnTo>
                    <a:lnTo>
                      <a:pt x="1127" y="650"/>
                    </a:lnTo>
                    <a:lnTo>
                      <a:pt x="1125" y="613"/>
                    </a:lnTo>
                    <a:lnTo>
                      <a:pt x="1122" y="576"/>
                    </a:lnTo>
                    <a:lnTo>
                      <a:pt x="1119" y="540"/>
                    </a:lnTo>
                    <a:lnTo>
                      <a:pt x="1114" y="504"/>
                    </a:lnTo>
                    <a:lnTo>
                      <a:pt x="1109" y="470"/>
                    </a:lnTo>
                    <a:lnTo>
                      <a:pt x="1102" y="436"/>
                    </a:lnTo>
                    <a:lnTo>
                      <a:pt x="1095" y="405"/>
                    </a:lnTo>
                    <a:lnTo>
                      <a:pt x="1086" y="373"/>
                    </a:lnTo>
                    <a:lnTo>
                      <a:pt x="1076" y="343"/>
                    </a:lnTo>
                    <a:lnTo>
                      <a:pt x="1066" y="313"/>
                    </a:lnTo>
                    <a:lnTo>
                      <a:pt x="1053" y="285"/>
                    </a:lnTo>
                    <a:lnTo>
                      <a:pt x="1040" y="258"/>
                    </a:lnTo>
                    <a:lnTo>
                      <a:pt x="1026" y="231"/>
                    </a:lnTo>
                    <a:lnTo>
                      <a:pt x="1010" y="207"/>
                    </a:lnTo>
                    <a:lnTo>
                      <a:pt x="993" y="183"/>
                    </a:lnTo>
                    <a:lnTo>
                      <a:pt x="975" y="161"/>
                    </a:lnTo>
                    <a:lnTo>
                      <a:pt x="955" y="140"/>
                    </a:lnTo>
                    <a:lnTo>
                      <a:pt x="934" y="119"/>
                    </a:lnTo>
                    <a:lnTo>
                      <a:pt x="912" y="101"/>
                    </a:lnTo>
                    <a:lnTo>
                      <a:pt x="888" y="84"/>
                    </a:lnTo>
                    <a:lnTo>
                      <a:pt x="862" y="70"/>
                    </a:lnTo>
                    <a:lnTo>
                      <a:pt x="834" y="55"/>
                    </a:lnTo>
                    <a:lnTo>
                      <a:pt x="806" y="43"/>
                    </a:lnTo>
                    <a:lnTo>
                      <a:pt x="776" y="32"/>
                    </a:lnTo>
                    <a:lnTo>
                      <a:pt x="743" y="22"/>
                    </a:lnTo>
                    <a:lnTo>
                      <a:pt x="709" y="15"/>
                    </a:lnTo>
                    <a:lnTo>
                      <a:pt x="674" y="9"/>
                    </a:lnTo>
                    <a:lnTo>
                      <a:pt x="637" y="4"/>
                    </a:lnTo>
                    <a:lnTo>
                      <a:pt x="598" y="2"/>
                    </a:lnTo>
                    <a:lnTo>
                      <a:pt x="558" y="0"/>
                    </a:lnTo>
                    <a:lnTo>
                      <a:pt x="523" y="2"/>
                    </a:lnTo>
                    <a:lnTo>
                      <a:pt x="490" y="4"/>
                    </a:lnTo>
                    <a:lnTo>
                      <a:pt x="458" y="8"/>
                    </a:lnTo>
                    <a:lnTo>
                      <a:pt x="426" y="14"/>
                    </a:lnTo>
                    <a:lnTo>
                      <a:pt x="397" y="21"/>
                    </a:lnTo>
                    <a:lnTo>
                      <a:pt x="368" y="30"/>
                    </a:lnTo>
                    <a:lnTo>
                      <a:pt x="340" y="39"/>
                    </a:lnTo>
                    <a:lnTo>
                      <a:pt x="313" y="51"/>
                    </a:lnTo>
                    <a:lnTo>
                      <a:pt x="288" y="64"/>
                    </a:lnTo>
                    <a:lnTo>
                      <a:pt x="262" y="78"/>
                    </a:lnTo>
                    <a:lnTo>
                      <a:pt x="239" y="94"/>
                    </a:lnTo>
                    <a:lnTo>
                      <a:pt x="218" y="110"/>
                    </a:lnTo>
                    <a:lnTo>
                      <a:pt x="196" y="128"/>
                    </a:lnTo>
                    <a:lnTo>
                      <a:pt x="175" y="147"/>
                    </a:lnTo>
                    <a:lnTo>
                      <a:pt x="157" y="167"/>
                    </a:lnTo>
                    <a:lnTo>
                      <a:pt x="139" y="188"/>
                    </a:lnTo>
                    <a:lnTo>
                      <a:pt x="122" y="211"/>
                    </a:lnTo>
                    <a:lnTo>
                      <a:pt x="106" y="234"/>
                    </a:lnTo>
                    <a:lnTo>
                      <a:pt x="92" y="258"/>
                    </a:lnTo>
                    <a:lnTo>
                      <a:pt x="78" y="282"/>
                    </a:lnTo>
                    <a:lnTo>
                      <a:pt x="65" y="308"/>
                    </a:lnTo>
                    <a:lnTo>
                      <a:pt x="54" y="334"/>
                    </a:lnTo>
                    <a:lnTo>
                      <a:pt x="44" y="362"/>
                    </a:lnTo>
                    <a:lnTo>
                      <a:pt x="35" y="390"/>
                    </a:lnTo>
                    <a:lnTo>
                      <a:pt x="26" y="419"/>
                    </a:lnTo>
                    <a:lnTo>
                      <a:pt x="19" y="449"/>
                    </a:lnTo>
                    <a:lnTo>
                      <a:pt x="13" y="479"/>
                    </a:lnTo>
                    <a:lnTo>
                      <a:pt x="8" y="509"/>
                    </a:lnTo>
                    <a:lnTo>
                      <a:pt x="4" y="541"/>
                    </a:lnTo>
                    <a:lnTo>
                      <a:pt x="2" y="572"/>
                    </a:lnTo>
                    <a:lnTo>
                      <a:pt x="1" y="604"/>
                    </a:lnTo>
                    <a:lnTo>
                      <a:pt x="0" y="637"/>
                    </a:lnTo>
                    <a:lnTo>
                      <a:pt x="1" y="673"/>
                    </a:lnTo>
                    <a:lnTo>
                      <a:pt x="3" y="708"/>
                    </a:lnTo>
                    <a:lnTo>
                      <a:pt x="6" y="744"/>
                    </a:lnTo>
                    <a:lnTo>
                      <a:pt x="11" y="778"/>
                    </a:lnTo>
                    <a:lnTo>
                      <a:pt x="17" y="809"/>
                    </a:lnTo>
                    <a:lnTo>
                      <a:pt x="24" y="841"/>
                    </a:lnTo>
                    <a:lnTo>
                      <a:pt x="32" y="871"/>
                    </a:lnTo>
                    <a:lnTo>
                      <a:pt x="42" y="902"/>
                    </a:lnTo>
                    <a:lnTo>
                      <a:pt x="53" y="929"/>
                    </a:lnTo>
                    <a:lnTo>
                      <a:pt x="66" y="956"/>
                    </a:lnTo>
                    <a:lnTo>
                      <a:pt x="80" y="983"/>
                    </a:lnTo>
                    <a:lnTo>
                      <a:pt x="94" y="1008"/>
                    </a:lnTo>
                    <a:lnTo>
                      <a:pt x="110" y="1032"/>
                    </a:lnTo>
                    <a:lnTo>
                      <a:pt x="127" y="1055"/>
                    </a:lnTo>
                    <a:lnTo>
                      <a:pt x="145" y="1076"/>
                    </a:lnTo>
                    <a:lnTo>
                      <a:pt x="166" y="1097"/>
                    </a:lnTo>
                    <a:lnTo>
                      <a:pt x="186" y="1117"/>
                    </a:lnTo>
                    <a:lnTo>
                      <a:pt x="208" y="1135"/>
                    </a:lnTo>
                    <a:lnTo>
                      <a:pt x="231" y="1152"/>
                    </a:lnTo>
                    <a:lnTo>
                      <a:pt x="255" y="1168"/>
                    </a:lnTo>
                    <a:lnTo>
                      <a:pt x="279" y="1182"/>
                    </a:lnTo>
                    <a:lnTo>
                      <a:pt x="306" y="1195"/>
                    </a:lnTo>
                    <a:lnTo>
                      <a:pt x="334" y="1209"/>
                    </a:lnTo>
                    <a:lnTo>
                      <a:pt x="362" y="1220"/>
                    </a:lnTo>
                    <a:lnTo>
                      <a:pt x="392" y="1229"/>
                    </a:lnTo>
                    <a:lnTo>
                      <a:pt x="422" y="1238"/>
                    </a:lnTo>
                    <a:lnTo>
                      <a:pt x="454" y="1245"/>
                    </a:lnTo>
                    <a:lnTo>
                      <a:pt x="487" y="1250"/>
                    </a:lnTo>
                    <a:lnTo>
                      <a:pt x="520" y="1255"/>
                    </a:lnTo>
                    <a:lnTo>
                      <a:pt x="556" y="1259"/>
                    </a:lnTo>
                    <a:lnTo>
                      <a:pt x="591" y="1261"/>
                    </a:lnTo>
                    <a:lnTo>
                      <a:pt x="627" y="1261"/>
                    </a:lnTo>
                    <a:lnTo>
                      <a:pt x="659" y="1261"/>
                    </a:lnTo>
                    <a:lnTo>
                      <a:pt x="689" y="1260"/>
                    </a:lnTo>
                    <a:lnTo>
                      <a:pt x="718" y="1257"/>
                    </a:lnTo>
                    <a:lnTo>
                      <a:pt x="747" y="1255"/>
                    </a:lnTo>
                    <a:lnTo>
                      <a:pt x="775" y="1251"/>
                    </a:lnTo>
                    <a:lnTo>
                      <a:pt x="802" y="1248"/>
                    </a:lnTo>
                    <a:lnTo>
                      <a:pt x="828" y="1243"/>
                    </a:lnTo>
                    <a:lnTo>
                      <a:pt x="854" y="1237"/>
                    </a:lnTo>
                    <a:lnTo>
                      <a:pt x="879" y="1231"/>
                    </a:lnTo>
                    <a:lnTo>
                      <a:pt x="903" y="1223"/>
                    </a:lnTo>
                    <a:lnTo>
                      <a:pt x="927" y="1216"/>
                    </a:lnTo>
                    <a:lnTo>
                      <a:pt x="952" y="1208"/>
                    </a:lnTo>
                    <a:lnTo>
                      <a:pt x="975" y="1198"/>
                    </a:lnTo>
                    <a:lnTo>
                      <a:pt x="997" y="1188"/>
                    </a:lnTo>
                    <a:lnTo>
                      <a:pt x="1018" y="1177"/>
                    </a:lnTo>
                    <a:lnTo>
                      <a:pt x="1040" y="1165"/>
                    </a:lnTo>
                    <a:lnTo>
                      <a:pt x="1040" y="91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" name="Freeform 48"/>
              <p:cNvSpPr>
                <a:spLocks noEditPoints="1"/>
              </p:cNvSpPr>
              <p:nvPr/>
            </p:nvSpPr>
            <p:spPr bwMode="gray">
              <a:xfrm>
                <a:off x="3046" y="1106"/>
                <a:ext cx="218" cy="326"/>
              </a:xfrm>
              <a:custGeom>
                <a:avLst/>
                <a:gdLst>
                  <a:gd name="T0" fmla="*/ 0 w 1091"/>
                  <a:gd name="T1" fmla="*/ 0 h 1632"/>
                  <a:gd name="T2" fmla="*/ 0 w 1091"/>
                  <a:gd name="T3" fmla="*/ 0 h 1632"/>
                  <a:gd name="T4" fmla="*/ 0 w 1091"/>
                  <a:gd name="T5" fmla="*/ 0 h 1632"/>
                  <a:gd name="T6" fmla="*/ 0 w 1091"/>
                  <a:gd name="T7" fmla="*/ 0 h 1632"/>
                  <a:gd name="T8" fmla="*/ 0 w 1091"/>
                  <a:gd name="T9" fmla="*/ 0 h 1632"/>
                  <a:gd name="T10" fmla="*/ 0 w 1091"/>
                  <a:gd name="T11" fmla="*/ 0 h 1632"/>
                  <a:gd name="T12" fmla="*/ 0 w 1091"/>
                  <a:gd name="T13" fmla="*/ 0 h 1632"/>
                  <a:gd name="T14" fmla="*/ 0 w 1091"/>
                  <a:gd name="T15" fmla="*/ 0 h 1632"/>
                  <a:gd name="T16" fmla="*/ 0 w 1091"/>
                  <a:gd name="T17" fmla="*/ 0 h 1632"/>
                  <a:gd name="T18" fmla="*/ 0 w 1091"/>
                  <a:gd name="T19" fmla="*/ 0 h 1632"/>
                  <a:gd name="T20" fmla="*/ 0 w 1091"/>
                  <a:gd name="T21" fmla="*/ 0 h 1632"/>
                  <a:gd name="T22" fmla="*/ 0 w 1091"/>
                  <a:gd name="T23" fmla="*/ 0 h 1632"/>
                  <a:gd name="T24" fmla="*/ 0 w 1091"/>
                  <a:gd name="T25" fmla="*/ 0 h 1632"/>
                  <a:gd name="T26" fmla="*/ 0 w 1091"/>
                  <a:gd name="T27" fmla="*/ 0 h 1632"/>
                  <a:gd name="T28" fmla="*/ 0 w 1091"/>
                  <a:gd name="T29" fmla="*/ 0 h 1632"/>
                  <a:gd name="T30" fmla="*/ 0 w 1091"/>
                  <a:gd name="T31" fmla="*/ 0 h 1632"/>
                  <a:gd name="T32" fmla="*/ 0 w 1091"/>
                  <a:gd name="T33" fmla="*/ 0 h 1632"/>
                  <a:gd name="T34" fmla="*/ 0 w 1091"/>
                  <a:gd name="T35" fmla="*/ 0 h 1632"/>
                  <a:gd name="T36" fmla="*/ 0 w 1091"/>
                  <a:gd name="T37" fmla="*/ 0 h 1632"/>
                  <a:gd name="T38" fmla="*/ 0 w 1091"/>
                  <a:gd name="T39" fmla="*/ 0 h 1632"/>
                  <a:gd name="T40" fmla="*/ 0 w 1091"/>
                  <a:gd name="T41" fmla="*/ 0 h 1632"/>
                  <a:gd name="T42" fmla="*/ 0 w 1091"/>
                  <a:gd name="T43" fmla="*/ 0 h 1632"/>
                  <a:gd name="T44" fmla="*/ 0 w 1091"/>
                  <a:gd name="T45" fmla="*/ 0 h 1632"/>
                  <a:gd name="T46" fmla="*/ 0 w 1091"/>
                  <a:gd name="T47" fmla="*/ 0 h 1632"/>
                  <a:gd name="T48" fmla="*/ 0 w 1091"/>
                  <a:gd name="T49" fmla="*/ 0 h 1632"/>
                  <a:gd name="T50" fmla="*/ 0 w 1091"/>
                  <a:gd name="T51" fmla="*/ 0 h 1632"/>
                  <a:gd name="T52" fmla="*/ 0 w 1091"/>
                  <a:gd name="T53" fmla="*/ 0 h 1632"/>
                  <a:gd name="T54" fmla="*/ 0 w 1091"/>
                  <a:gd name="T55" fmla="*/ 0 h 1632"/>
                  <a:gd name="T56" fmla="*/ 0 w 1091"/>
                  <a:gd name="T57" fmla="*/ 0 h 1632"/>
                  <a:gd name="T58" fmla="*/ 0 w 1091"/>
                  <a:gd name="T59" fmla="*/ 0 h 1632"/>
                  <a:gd name="T60" fmla="*/ 0 w 1091"/>
                  <a:gd name="T61" fmla="*/ 0 h 1632"/>
                  <a:gd name="T62" fmla="*/ 0 w 1091"/>
                  <a:gd name="T63" fmla="*/ 0 h 1632"/>
                  <a:gd name="T64" fmla="*/ 0 w 1091"/>
                  <a:gd name="T65" fmla="*/ 0 h 1632"/>
                  <a:gd name="T66" fmla="*/ 0 w 1091"/>
                  <a:gd name="T67" fmla="*/ 0 h 1632"/>
                  <a:gd name="T68" fmla="*/ 0 w 1091"/>
                  <a:gd name="T69" fmla="*/ 0 h 1632"/>
                  <a:gd name="T70" fmla="*/ 0 w 1091"/>
                  <a:gd name="T71" fmla="*/ 0 h 1632"/>
                  <a:gd name="T72" fmla="*/ 0 w 1091"/>
                  <a:gd name="T73" fmla="*/ 0 h 1632"/>
                  <a:gd name="T74" fmla="*/ 0 w 1091"/>
                  <a:gd name="T75" fmla="*/ 0 h 1632"/>
                  <a:gd name="T76" fmla="*/ 0 w 1091"/>
                  <a:gd name="T77" fmla="*/ 0 h 1632"/>
                  <a:gd name="T78" fmla="*/ 0 w 1091"/>
                  <a:gd name="T79" fmla="*/ 0 h 1632"/>
                  <a:gd name="T80" fmla="*/ 0 w 1091"/>
                  <a:gd name="T81" fmla="*/ 0 h 1632"/>
                  <a:gd name="T82" fmla="*/ 0 w 1091"/>
                  <a:gd name="T83" fmla="*/ 0 h 1632"/>
                  <a:gd name="T84" fmla="*/ 0 w 1091"/>
                  <a:gd name="T85" fmla="*/ 0 h 1632"/>
                  <a:gd name="T86" fmla="*/ 0 w 1091"/>
                  <a:gd name="T87" fmla="*/ 0 h 1632"/>
                  <a:gd name="T88" fmla="*/ 0 w 1091"/>
                  <a:gd name="T89" fmla="*/ 0 h 1632"/>
                  <a:gd name="T90" fmla="*/ 0 w 1091"/>
                  <a:gd name="T91" fmla="*/ 0 h 1632"/>
                  <a:gd name="T92" fmla="*/ 0 w 1091"/>
                  <a:gd name="T93" fmla="*/ 0 h 1632"/>
                  <a:gd name="T94" fmla="*/ 0 w 1091"/>
                  <a:gd name="T95" fmla="*/ 0 h 1632"/>
                  <a:gd name="T96" fmla="*/ 0 w 1091"/>
                  <a:gd name="T97" fmla="*/ 0 h 1632"/>
                  <a:gd name="T98" fmla="*/ 0 w 1091"/>
                  <a:gd name="T99" fmla="*/ 0 h 1632"/>
                  <a:gd name="T100" fmla="*/ 0 w 1091"/>
                  <a:gd name="T101" fmla="*/ 0 h 1632"/>
                  <a:gd name="T102" fmla="*/ 0 w 1091"/>
                  <a:gd name="T103" fmla="*/ 0 h 1632"/>
                  <a:gd name="T104" fmla="*/ 0 w 1091"/>
                  <a:gd name="T105" fmla="*/ 0 h 1632"/>
                  <a:gd name="T106" fmla="*/ 0 w 1091"/>
                  <a:gd name="T107" fmla="*/ 0 h 1632"/>
                  <a:gd name="T108" fmla="*/ 0 w 1091"/>
                  <a:gd name="T109" fmla="*/ 0 h 1632"/>
                  <a:gd name="T110" fmla="*/ 0 w 1091"/>
                  <a:gd name="T111" fmla="*/ 0 h 1632"/>
                  <a:gd name="T112" fmla="*/ 0 w 1091"/>
                  <a:gd name="T113" fmla="*/ 0 h 1632"/>
                  <a:gd name="T114" fmla="*/ 0 w 1091"/>
                  <a:gd name="T115" fmla="*/ 0 h 1632"/>
                  <a:gd name="T116" fmla="*/ 0 w 1091"/>
                  <a:gd name="T117" fmla="*/ 0 h 1632"/>
                  <a:gd name="T118" fmla="*/ 0 w 1091"/>
                  <a:gd name="T119" fmla="*/ 0 h 1632"/>
                  <a:gd name="T120" fmla="*/ 0 w 1091"/>
                  <a:gd name="T121" fmla="*/ 0 h 1632"/>
                  <a:gd name="T122" fmla="*/ 0 w 1091"/>
                  <a:gd name="T123" fmla="*/ 0 h 1632"/>
                  <a:gd name="T124" fmla="*/ 0 w 1091"/>
                  <a:gd name="T125" fmla="*/ 0 h 16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91"/>
                  <a:gd name="T190" fmla="*/ 0 h 1632"/>
                  <a:gd name="T191" fmla="*/ 1091 w 1091"/>
                  <a:gd name="T192" fmla="*/ 1632 h 163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91" h="1632">
                    <a:moveTo>
                      <a:pt x="326" y="257"/>
                    </a:moveTo>
                    <a:lnTo>
                      <a:pt x="441" y="257"/>
                    </a:lnTo>
                    <a:lnTo>
                      <a:pt x="471" y="257"/>
                    </a:lnTo>
                    <a:lnTo>
                      <a:pt x="503" y="260"/>
                    </a:lnTo>
                    <a:lnTo>
                      <a:pt x="532" y="265"/>
                    </a:lnTo>
                    <a:lnTo>
                      <a:pt x="559" y="271"/>
                    </a:lnTo>
                    <a:lnTo>
                      <a:pt x="587" y="278"/>
                    </a:lnTo>
                    <a:lnTo>
                      <a:pt x="613" y="288"/>
                    </a:lnTo>
                    <a:lnTo>
                      <a:pt x="625" y="294"/>
                    </a:lnTo>
                    <a:lnTo>
                      <a:pt x="636" y="300"/>
                    </a:lnTo>
                    <a:lnTo>
                      <a:pt x="648" y="306"/>
                    </a:lnTo>
                    <a:lnTo>
                      <a:pt x="659" y="313"/>
                    </a:lnTo>
                    <a:lnTo>
                      <a:pt x="669" y="322"/>
                    </a:lnTo>
                    <a:lnTo>
                      <a:pt x="678" y="330"/>
                    </a:lnTo>
                    <a:lnTo>
                      <a:pt x="688" y="339"/>
                    </a:lnTo>
                    <a:lnTo>
                      <a:pt x="696" y="348"/>
                    </a:lnTo>
                    <a:lnTo>
                      <a:pt x="705" y="358"/>
                    </a:lnTo>
                    <a:lnTo>
                      <a:pt x="712" y="369"/>
                    </a:lnTo>
                    <a:lnTo>
                      <a:pt x="719" y="380"/>
                    </a:lnTo>
                    <a:lnTo>
                      <a:pt x="725" y="392"/>
                    </a:lnTo>
                    <a:lnTo>
                      <a:pt x="731" y="404"/>
                    </a:lnTo>
                    <a:lnTo>
                      <a:pt x="736" y="418"/>
                    </a:lnTo>
                    <a:lnTo>
                      <a:pt x="741" y="432"/>
                    </a:lnTo>
                    <a:lnTo>
                      <a:pt x="745" y="447"/>
                    </a:lnTo>
                    <a:lnTo>
                      <a:pt x="747" y="461"/>
                    </a:lnTo>
                    <a:lnTo>
                      <a:pt x="750" y="478"/>
                    </a:lnTo>
                    <a:lnTo>
                      <a:pt x="751" y="494"/>
                    </a:lnTo>
                    <a:lnTo>
                      <a:pt x="751" y="512"/>
                    </a:lnTo>
                    <a:lnTo>
                      <a:pt x="751" y="529"/>
                    </a:lnTo>
                    <a:lnTo>
                      <a:pt x="748" y="546"/>
                    </a:lnTo>
                    <a:lnTo>
                      <a:pt x="747" y="562"/>
                    </a:lnTo>
                    <a:lnTo>
                      <a:pt x="744" y="577"/>
                    </a:lnTo>
                    <a:lnTo>
                      <a:pt x="740" y="591"/>
                    </a:lnTo>
                    <a:lnTo>
                      <a:pt x="736" y="605"/>
                    </a:lnTo>
                    <a:lnTo>
                      <a:pt x="731" y="618"/>
                    </a:lnTo>
                    <a:lnTo>
                      <a:pt x="725" y="630"/>
                    </a:lnTo>
                    <a:lnTo>
                      <a:pt x="718" y="641"/>
                    </a:lnTo>
                    <a:lnTo>
                      <a:pt x="712" y="652"/>
                    </a:lnTo>
                    <a:lnTo>
                      <a:pt x="704" y="663"/>
                    </a:lnTo>
                    <a:lnTo>
                      <a:pt x="695" y="673"/>
                    </a:lnTo>
                    <a:lnTo>
                      <a:pt x="687" y="681"/>
                    </a:lnTo>
                    <a:lnTo>
                      <a:pt x="677" y="690"/>
                    </a:lnTo>
                    <a:lnTo>
                      <a:pt x="667" y="697"/>
                    </a:lnTo>
                    <a:lnTo>
                      <a:pt x="656" y="704"/>
                    </a:lnTo>
                    <a:lnTo>
                      <a:pt x="645" y="712"/>
                    </a:lnTo>
                    <a:lnTo>
                      <a:pt x="635" y="718"/>
                    </a:lnTo>
                    <a:lnTo>
                      <a:pt x="622" y="723"/>
                    </a:lnTo>
                    <a:lnTo>
                      <a:pt x="610" y="729"/>
                    </a:lnTo>
                    <a:lnTo>
                      <a:pt x="585" y="737"/>
                    </a:lnTo>
                    <a:lnTo>
                      <a:pt x="558" y="744"/>
                    </a:lnTo>
                    <a:lnTo>
                      <a:pt x="529" y="749"/>
                    </a:lnTo>
                    <a:lnTo>
                      <a:pt x="500" y="753"/>
                    </a:lnTo>
                    <a:lnTo>
                      <a:pt x="471" y="754"/>
                    </a:lnTo>
                    <a:lnTo>
                      <a:pt x="441" y="755"/>
                    </a:lnTo>
                    <a:lnTo>
                      <a:pt x="326" y="755"/>
                    </a:lnTo>
                    <a:lnTo>
                      <a:pt x="326" y="257"/>
                    </a:lnTo>
                    <a:close/>
                    <a:moveTo>
                      <a:pt x="0" y="1632"/>
                    </a:moveTo>
                    <a:lnTo>
                      <a:pt x="326" y="1632"/>
                    </a:lnTo>
                    <a:lnTo>
                      <a:pt x="326" y="1013"/>
                    </a:lnTo>
                    <a:lnTo>
                      <a:pt x="464" y="1013"/>
                    </a:lnTo>
                    <a:lnTo>
                      <a:pt x="497" y="1012"/>
                    </a:lnTo>
                    <a:lnTo>
                      <a:pt x="528" y="1010"/>
                    </a:lnTo>
                    <a:lnTo>
                      <a:pt x="559" y="1009"/>
                    </a:lnTo>
                    <a:lnTo>
                      <a:pt x="591" y="1005"/>
                    </a:lnTo>
                    <a:lnTo>
                      <a:pt x="621" y="1002"/>
                    </a:lnTo>
                    <a:lnTo>
                      <a:pt x="652" y="997"/>
                    </a:lnTo>
                    <a:lnTo>
                      <a:pt x="681" y="992"/>
                    </a:lnTo>
                    <a:lnTo>
                      <a:pt x="710" y="985"/>
                    </a:lnTo>
                    <a:lnTo>
                      <a:pt x="738" y="978"/>
                    </a:lnTo>
                    <a:lnTo>
                      <a:pt x="764" y="969"/>
                    </a:lnTo>
                    <a:lnTo>
                      <a:pt x="791" y="959"/>
                    </a:lnTo>
                    <a:lnTo>
                      <a:pt x="816" y="948"/>
                    </a:lnTo>
                    <a:lnTo>
                      <a:pt x="841" y="937"/>
                    </a:lnTo>
                    <a:lnTo>
                      <a:pt x="865" y="924"/>
                    </a:lnTo>
                    <a:lnTo>
                      <a:pt x="887" y="911"/>
                    </a:lnTo>
                    <a:lnTo>
                      <a:pt x="908" y="896"/>
                    </a:lnTo>
                    <a:lnTo>
                      <a:pt x="929" y="880"/>
                    </a:lnTo>
                    <a:lnTo>
                      <a:pt x="950" y="862"/>
                    </a:lnTo>
                    <a:lnTo>
                      <a:pt x="968" y="844"/>
                    </a:lnTo>
                    <a:lnTo>
                      <a:pt x="985" y="825"/>
                    </a:lnTo>
                    <a:lnTo>
                      <a:pt x="1002" y="804"/>
                    </a:lnTo>
                    <a:lnTo>
                      <a:pt x="1016" y="783"/>
                    </a:lnTo>
                    <a:lnTo>
                      <a:pt x="1029" y="760"/>
                    </a:lnTo>
                    <a:lnTo>
                      <a:pt x="1043" y="735"/>
                    </a:lnTo>
                    <a:lnTo>
                      <a:pt x="1054" y="709"/>
                    </a:lnTo>
                    <a:lnTo>
                      <a:pt x="1063" y="682"/>
                    </a:lnTo>
                    <a:lnTo>
                      <a:pt x="1072" y="655"/>
                    </a:lnTo>
                    <a:lnTo>
                      <a:pt x="1079" y="625"/>
                    </a:lnTo>
                    <a:lnTo>
                      <a:pt x="1084" y="594"/>
                    </a:lnTo>
                    <a:lnTo>
                      <a:pt x="1088" y="562"/>
                    </a:lnTo>
                    <a:lnTo>
                      <a:pt x="1090" y="528"/>
                    </a:lnTo>
                    <a:lnTo>
                      <a:pt x="1091" y="493"/>
                    </a:lnTo>
                    <a:lnTo>
                      <a:pt x="1090" y="458"/>
                    </a:lnTo>
                    <a:lnTo>
                      <a:pt x="1088" y="424"/>
                    </a:lnTo>
                    <a:lnTo>
                      <a:pt x="1083" y="391"/>
                    </a:lnTo>
                    <a:lnTo>
                      <a:pt x="1077" y="359"/>
                    </a:lnTo>
                    <a:lnTo>
                      <a:pt x="1068" y="330"/>
                    </a:lnTo>
                    <a:lnTo>
                      <a:pt x="1059" y="302"/>
                    </a:lnTo>
                    <a:lnTo>
                      <a:pt x="1048" y="277"/>
                    </a:lnTo>
                    <a:lnTo>
                      <a:pt x="1036" y="251"/>
                    </a:lnTo>
                    <a:lnTo>
                      <a:pt x="1021" y="228"/>
                    </a:lnTo>
                    <a:lnTo>
                      <a:pt x="1005" y="205"/>
                    </a:lnTo>
                    <a:lnTo>
                      <a:pt x="988" y="185"/>
                    </a:lnTo>
                    <a:lnTo>
                      <a:pt x="970" y="165"/>
                    </a:lnTo>
                    <a:lnTo>
                      <a:pt x="951" y="147"/>
                    </a:lnTo>
                    <a:lnTo>
                      <a:pt x="930" y="130"/>
                    </a:lnTo>
                    <a:lnTo>
                      <a:pt x="908" y="114"/>
                    </a:lnTo>
                    <a:lnTo>
                      <a:pt x="885" y="100"/>
                    </a:lnTo>
                    <a:lnTo>
                      <a:pt x="861" y="86"/>
                    </a:lnTo>
                    <a:lnTo>
                      <a:pt x="836" y="74"/>
                    </a:lnTo>
                    <a:lnTo>
                      <a:pt x="810" y="63"/>
                    </a:lnTo>
                    <a:lnTo>
                      <a:pt x="784" y="53"/>
                    </a:lnTo>
                    <a:lnTo>
                      <a:pt x="756" y="44"/>
                    </a:lnTo>
                    <a:lnTo>
                      <a:pt x="727" y="35"/>
                    </a:lnTo>
                    <a:lnTo>
                      <a:pt x="698" y="28"/>
                    </a:lnTo>
                    <a:lnTo>
                      <a:pt x="669" y="22"/>
                    </a:lnTo>
                    <a:lnTo>
                      <a:pt x="638" y="17"/>
                    </a:lnTo>
                    <a:lnTo>
                      <a:pt x="607" y="12"/>
                    </a:lnTo>
                    <a:lnTo>
                      <a:pt x="575" y="8"/>
                    </a:lnTo>
                    <a:lnTo>
                      <a:pt x="544" y="5"/>
                    </a:lnTo>
                    <a:lnTo>
                      <a:pt x="511" y="2"/>
                    </a:lnTo>
                    <a:lnTo>
                      <a:pt x="478" y="1"/>
                    </a:lnTo>
                    <a:lnTo>
                      <a:pt x="446" y="0"/>
                    </a:lnTo>
                    <a:lnTo>
                      <a:pt x="413" y="0"/>
                    </a:lnTo>
                    <a:lnTo>
                      <a:pt x="0" y="0"/>
                    </a:lnTo>
                    <a:lnTo>
                      <a:pt x="0" y="163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" name="Freeform 49"/>
              <p:cNvSpPr>
                <a:spLocks noEditPoints="1"/>
              </p:cNvSpPr>
              <p:nvPr/>
            </p:nvSpPr>
            <p:spPr bwMode="gray">
              <a:xfrm>
                <a:off x="3263" y="1184"/>
                <a:ext cx="250" cy="254"/>
              </a:xfrm>
              <a:custGeom>
                <a:avLst/>
                <a:gdLst>
                  <a:gd name="T0" fmla="*/ 0 w 1257"/>
                  <a:gd name="T1" fmla="*/ 0 h 1261"/>
                  <a:gd name="T2" fmla="*/ 0 w 1257"/>
                  <a:gd name="T3" fmla="*/ 0 h 1261"/>
                  <a:gd name="T4" fmla="*/ 0 w 1257"/>
                  <a:gd name="T5" fmla="*/ 0 h 1261"/>
                  <a:gd name="T6" fmla="*/ 0 w 1257"/>
                  <a:gd name="T7" fmla="*/ 0 h 1261"/>
                  <a:gd name="T8" fmla="*/ 0 w 1257"/>
                  <a:gd name="T9" fmla="*/ 0 h 1261"/>
                  <a:gd name="T10" fmla="*/ 0 w 1257"/>
                  <a:gd name="T11" fmla="*/ 0 h 1261"/>
                  <a:gd name="T12" fmla="*/ 0 w 1257"/>
                  <a:gd name="T13" fmla="*/ 0 h 1261"/>
                  <a:gd name="T14" fmla="*/ 0 w 1257"/>
                  <a:gd name="T15" fmla="*/ 0 h 1261"/>
                  <a:gd name="T16" fmla="*/ 0 w 1257"/>
                  <a:gd name="T17" fmla="*/ 0 h 1261"/>
                  <a:gd name="T18" fmla="*/ 0 w 1257"/>
                  <a:gd name="T19" fmla="*/ 0 h 1261"/>
                  <a:gd name="T20" fmla="*/ 0 w 1257"/>
                  <a:gd name="T21" fmla="*/ 0 h 1261"/>
                  <a:gd name="T22" fmla="*/ 0 w 1257"/>
                  <a:gd name="T23" fmla="*/ 0 h 1261"/>
                  <a:gd name="T24" fmla="*/ 0 w 1257"/>
                  <a:gd name="T25" fmla="*/ 0 h 1261"/>
                  <a:gd name="T26" fmla="*/ 0 w 1257"/>
                  <a:gd name="T27" fmla="*/ 0 h 1261"/>
                  <a:gd name="T28" fmla="*/ 0 w 1257"/>
                  <a:gd name="T29" fmla="*/ 0 h 1261"/>
                  <a:gd name="T30" fmla="*/ 0 w 1257"/>
                  <a:gd name="T31" fmla="*/ 0 h 1261"/>
                  <a:gd name="T32" fmla="*/ 0 w 1257"/>
                  <a:gd name="T33" fmla="*/ 0 h 1261"/>
                  <a:gd name="T34" fmla="*/ 0 w 1257"/>
                  <a:gd name="T35" fmla="*/ 0 h 1261"/>
                  <a:gd name="T36" fmla="*/ 0 w 1257"/>
                  <a:gd name="T37" fmla="*/ 0 h 1261"/>
                  <a:gd name="T38" fmla="*/ 0 w 1257"/>
                  <a:gd name="T39" fmla="*/ 0 h 1261"/>
                  <a:gd name="T40" fmla="*/ 0 w 1257"/>
                  <a:gd name="T41" fmla="*/ 0 h 1261"/>
                  <a:gd name="T42" fmla="*/ 0 w 1257"/>
                  <a:gd name="T43" fmla="*/ 0 h 1261"/>
                  <a:gd name="T44" fmla="*/ 0 w 1257"/>
                  <a:gd name="T45" fmla="*/ 0 h 1261"/>
                  <a:gd name="T46" fmla="*/ 0 w 1257"/>
                  <a:gd name="T47" fmla="*/ 0 h 1261"/>
                  <a:gd name="T48" fmla="*/ 0 w 1257"/>
                  <a:gd name="T49" fmla="*/ 0 h 1261"/>
                  <a:gd name="T50" fmla="*/ 0 w 1257"/>
                  <a:gd name="T51" fmla="*/ 0 h 1261"/>
                  <a:gd name="T52" fmla="*/ 0 w 1257"/>
                  <a:gd name="T53" fmla="*/ 0 h 1261"/>
                  <a:gd name="T54" fmla="*/ 0 w 1257"/>
                  <a:gd name="T55" fmla="*/ 0 h 1261"/>
                  <a:gd name="T56" fmla="*/ 0 w 1257"/>
                  <a:gd name="T57" fmla="*/ 0 h 1261"/>
                  <a:gd name="T58" fmla="*/ 0 w 1257"/>
                  <a:gd name="T59" fmla="*/ 0 h 1261"/>
                  <a:gd name="T60" fmla="*/ 0 w 1257"/>
                  <a:gd name="T61" fmla="*/ 0 h 1261"/>
                  <a:gd name="T62" fmla="*/ 0 w 1257"/>
                  <a:gd name="T63" fmla="*/ 0 h 1261"/>
                  <a:gd name="T64" fmla="*/ 0 w 1257"/>
                  <a:gd name="T65" fmla="*/ 0 h 1261"/>
                  <a:gd name="T66" fmla="*/ 0 w 1257"/>
                  <a:gd name="T67" fmla="*/ 0 h 1261"/>
                  <a:gd name="T68" fmla="*/ 0 w 1257"/>
                  <a:gd name="T69" fmla="*/ 0 h 1261"/>
                  <a:gd name="T70" fmla="*/ 0 w 1257"/>
                  <a:gd name="T71" fmla="*/ 0 h 1261"/>
                  <a:gd name="T72" fmla="*/ 0 w 1257"/>
                  <a:gd name="T73" fmla="*/ 0 h 1261"/>
                  <a:gd name="T74" fmla="*/ 0 w 1257"/>
                  <a:gd name="T75" fmla="*/ 0 h 1261"/>
                  <a:gd name="T76" fmla="*/ 0 w 1257"/>
                  <a:gd name="T77" fmla="*/ 0 h 1261"/>
                  <a:gd name="T78" fmla="*/ 0 w 1257"/>
                  <a:gd name="T79" fmla="*/ 0 h 1261"/>
                  <a:gd name="T80" fmla="*/ 0 w 1257"/>
                  <a:gd name="T81" fmla="*/ 0 h 1261"/>
                  <a:gd name="T82" fmla="*/ 0 w 1257"/>
                  <a:gd name="T83" fmla="*/ 0 h 1261"/>
                  <a:gd name="T84" fmla="*/ 0 w 1257"/>
                  <a:gd name="T85" fmla="*/ 0 h 1261"/>
                  <a:gd name="T86" fmla="*/ 0 w 1257"/>
                  <a:gd name="T87" fmla="*/ 0 h 1261"/>
                  <a:gd name="T88" fmla="*/ 0 w 1257"/>
                  <a:gd name="T89" fmla="*/ 0 h 1261"/>
                  <a:gd name="T90" fmla="*/ 0 w 1257"/>
                  <a:gd name="T91" fmla="*/ 0 h 1261"/>
                  <a:gd name="T92" fmla="*/ 0 w 1257"/>
                  <a:gd name="T93" fmla="*/ 0 h 1261"/>
                  <a:gd name="T94" fmla="*/ 0 w 1257"/>
                  <a:gd name="T95" fmla="*/ 0 h 1261"/>
                  <a:gd name="T96" fmla="*/ 0 w 1257"/>
                  <a:gd name="T97" fmla="*/ 0 h 1261"/>
                  <a:gd name="T98" fmla="*/ 0 w 1257"/>
                  <a:gd name="T99" fmla="*/ 0 h 1261"/>
                  <a:gd name="T100" fmla="*/ 0 w 1257"/>
                  <a:gd name="T101" fmla="*/ 0 h 1261"/>
                  <a:gd name="T102" fmla="*/ 0 w 1257"/>
                  <a:gd name="T103" fmla="*/ 0 h 1261"/>
                  <a:gd name="T104" fmla="*/ 0 w 1257"/>
                  <a:gd name="T105" fmla="*/ 0 h 1261"/>
                  <a:gd name="T106" fmla="*/ 0 w 1257"/>
                  <a:gd name="T107" fmla="*/ 0 h 1261"/>
                  <a:gd name="T108" fmla="*/ 0 w 1257"/>
                  <a:gd name="T109" fmla="*/ 0 h 1261"/>
                  <a:gd name="T110" fmla="*/ 0 w 1257"/>
                  <a:gd name="T111" fmla="*/ 0 h 1261"/>
                  <a:gd name="T112" fmla="*/ 0 w 1257"/>
                  <a:gd name="T113" fmla="*/ 0 h 1261"/>
                  <a:gd name="T114" fmla="*/ 0 w 1257"/>
                  <a:gd name="T115" fmla="*/ 0 h 1261"/>
                  <a:gd name="T116" fmla="*/ 0 w 1257"/>
                  <a:gd name="T117" fmla="*/ 0 h 1261"/>
                  <a:gd name="T118" fmla="*/ 0 w 1257"/>
                  <a:gd name="T119" fmla="*/ 0 h 1261"/>
                  <a:gd name="T120" fmla="*/ 0 w 1257"/>
                  <a:gd name="T121" fmla="*/ 0 h 126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257"/>
                  <a:gd name="T184" fmla="*/ 0 h 1261"/>
                  <a:gd name="T185" fmla="*/ 1257 w 1257"/>
                  <a:gd name="T186" fmla="*/ 1261 h 126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257" h="1261">
                    <a:moveTo>
                      <a:pt x="0" y="639"/>
                    </a:moveTo>
                    <a:lnTo>
                      <a:pt x="1" y="672"/>
                    </a:lnTo>
                    <a:lnTo>
                      <a:pt x="3" y="704"/>
                    </a:lnTo>
                    <a:lnTo>
                      <a:pt x="6" y="734"/>
                    </a:lnTo>
                    <a:lnTo>
                      <a:pt x="11" y="766"/>
                    </a:lnTo>
                    <a:lnTo>
                      <a:pt x="17" y="796"/>
                    </a:lnTo>
                    <a:lnTo>
                      <a:pt x="24" y="825"/>
                    </a:lnTo>
                    <a:lnTo>
                      <a:pt x="33" y="854"/>
                    </a:lnTo>
                    <a:lnTo>
                      <a:pt x="42" y="882"/>
                    </a:lnTo>
                    <a:lnTo>
                      <a:pt x="53" y="910"/>
                    </a:lnTo>
                    <a:lnTo>
                      <a:pt x="66" y="937"/>
                    </a:lnTo>
                    <a:lnTo>
                      <a:pt x="80" y="963"/>
                    </a:lnTo>
                    <a:lnTo>
                      <a:pt x="94" y="988"/>
                    </a:lnTo>
                    <a:lnTo>
                      <a:pt x="110" y="1012"/>
                    </a:lnTo>
                    <a:lnTo>
                      <a:pt x="127" y="1036"/>
                    </a:lnTo>
                    <a:lnTo>
                      <a:pt x="145" y="1058"/>
                    </a:lnTo>
                    <a:lnTo>
                      <a:pt x="166" y="1080"/>
                    </a:lnTo>
                    <a:lnTo>
                      <a:pt x="186" y="1101"/>
                    </a:lnTo>
                    <a:lnTo>
                      <a:pt x="208" y="1120"/>
                    </a:lnTo>
                    <a:lnTo>
                      <a:pt x="231" y="1138"/>
                    </a:lnTo>
                    <a:lnTo>
                      <a:pt x="255" y="1155"/>
                    </a:lnTo>
                    <a:lnTo>
                      <a:pt x="280" y="1172"/>
                    </a:lnTo>
                    <a:lnTo>
                      <a:pt x="306" y="1187"/>
                    </a:lnTo>
                    <a:lnTo>
                      <a:pt x="334" y="1200"/>
                    </a:lnTo>
                    <a:lnTo>
                      <a:pt x="362" y="1212"/>
                    </a:lnTo>
                    <a:lnTo>
                      <a:pt x="392" y="1223"/>
                    </a:lnTo>
                    <a:lnTo>
                      <a:pt x="423" y="1233"/>
                    </a:lnTo>
                    <a:lnTo>
                      <a:pt x="454" y="1242"/>
                    </a:lnTo>
                    <a:lnTo>
                      <a:pt x="487" y="1249"/>
                    </a:lnTo>
                    <a:lnTo>
                      <a:pt x="521" y="1254"/>
                    </a:lnTo>
                    <a:lnTo>
                      <a:pt x="556" y="1259"/>
                    </a:lnTo>
                    <a:lnTo>
                      <a:pt x="591" y="1261"/>
                    </a:lnTo>
                    <a:lnTo>
                      <a:pt x="627" y="1261"/>
                    </a:lnTo>
                    <a:lnTo>
                      <a:pt x="665" y="1261"/>
                    </a:lnTo>
                    <a:lnTo>
                      <a:pt x="700" y="1259"/>
                    </a:lnTo>
                    <a:lnTo>
                      <a:pt x="735" y="1254"/>
                    </a:lnTo>
                    <a:lnTo>
                      <a:pt x="769" y="1249"/>
                    </a:lnTo>
                    <a:lnTo>
                      <a:pt x="802" y="1242"/>
                    </a:lnTo>
                    <a:lnTo>
                      <a:pt x="834" y="1233"/>
                    </a:lnTo>
                    <a:lnTo>
                      <a:pt x="865" y="1223"/>
                    </a:lnTo>
                    <a:lnTo>
                      <a:pt x="894" y="1212"/>
                    </a:lnTo>
                    <a:lnTo>
                      <a:pt x="923" y="1200"/>
                    </a:lnTo>
                    <a:lnTo>
                      <a:pt x="951" y="1187"/>
                    </a:lnTo>
                    <a:lnTo>
                      <a:pt x="977" y="1172"/>
                    </a:lnTo>
                    <a:lnTo>
                      <a:pt x="1003" y="1155"/>
                    </a:lnTo>
                    <a:lnTo>
                      <a:pt x="1026" y="1138"/>
                    </a:lnTo>
                    <a:lnTo>
                      <a:pt x="1050" y="1120"/>
                    </a:lnTo>
                    <a:lnTo>
                      <a:pt x="1072" y="1101"/>
                    </a:lnTo>
                    <a:lnTo>
                      <a:pt x="1092" y="1080"/>
                    </a:lnTo>
                    <a:lnTo>
                      <a:pt x="1112" y="1058"/>
                    </a:lnTo>
                    <a:lnTo>
                      <a:pt x="1130" y="1036"/>
                    </a:lnTo>
                    <a:lnTo>
                      <a:pt x="1147" y="1012"/>
                    </a:lnTo>
                    <a:lnTo>
                      <a:pt x="1164" y="988"/>
                    </a:lnTo>
                    <a:lnTo>
                      <a:pt x="1178" y="963"/>
                    </a:lnTo>
                    <a:lnTo>
                      <a:pt x="1192" y="937"/>
                    </a:lnTo>
                    <a:lnTo>
                      <a:pt x="1204" y="910"/>
                    </a:lnTo>
                    <a:lnTo>
                      <a:pt x="1215" y="882"/>
                    </a:lnTo>
                    <a:lnTo>
                      <a:pt x="1224" y="854"/>
                    </a:lnTo>
                    <a:lnTo>
                      <a:pt x="1233" y="825"/>
                    </a:lnTo>
                    <a:lnTo>
                      <a:pt x="1240" y="796"/>
                    </a:lnTo>
                    <a:lnTo>
                      <a:pt x="1246" y="766"/>
                    </a:lnTo>
                    <a:lnTo>
                      <a:pt x="1251" y="734"/>
                    </a:lnTo>
                    <a:lnTo>
                      <a:pt x="1255" y="704"/>
                    </a:lnTo>
                    <a:lnTo>
                      <a:pt x="1257" y="672"/>
                    </a:lnTo>
                    <a:lnTo>
                      <a:pt x="1257" y="639"/>
                    </a:lnTo>
                    <a:lnTo>
                      <a:pt x="1257" y="603"/>
                    </a:lnTo>
                    <a:lnTo>
                      <a:pt x="1255" y="566"/>
                    </a:lnTo>
                    <a:lnTo>
                      <a:pt x="1250" y="531"/>
                    </a:lnTo>
                    <a:lnTo>
                      <a:pt x="1245" y="497"/>
                    </a:lnTo>
                    <a:lnTo>
                      <a:pt x="1238" y="464"/>
                    </a:lnTo>
                    <a:lnTo>
                      <a:pt x="1229" y="433"/>
                    </a:lnTo>
                    <a:lnTo>
                      <a:pt x="1221" y="401"/>
                    </a:lnTo>
                    <a:lnTo>
                      <a:pt x="1209" y="372"/>
                    </a:lnTo>
                    <a:lnTo>
                      <a:pt x="1197" y="343"/>
                    </a:lnTo>
                    <a:lnTo>
                      <a:pt x="1183" y="315"/>
                    </a:lnTo>
                    <a:lnTo>
                      <a:pt x="1169" y="288"/>
                    </a:lnTo>
                    <a:lnTo>
                      <a:pt x="1152" y="263"/>
                    </a:lnTo>
                    <a:lnTo>
                      <a:pt x="1135" y="237"/>
                    </a:lnTo>
                    <a:lnTo>
                      <a:pt x="1117" y="214"/>
                    </a:lnTo>
                    <a:lnTo>
                      <a:pt x="1097" y="192"/>
                    </a:lnTo>
                    <a:lnTo>
                      <a:pt x="1077" y="170"/>
                    </a:lnTo>
                    <a:lnTo>
                      <a:pt x="1055" y="151"/>
                    </a:lnTo>
                    <a:lnTo>
                      <a:pt x="1032" y="132"/>
                    </a:lnTo>
                    <a:lnTo>
                      <a:pt x="1009" y="115"/>
                    </a:lnTo>
                    <a:lnTo>
                      <a:pt x="983" y="98"/>
                    </a:lnTo>
                    <a:lnTo>
                      <a:pt x="958" y="83"/>
                    </a:lnTo>
                    <a:lnTo>
                      <a:pt x="931" y="68"/>
                    </a:lnTo>
                    <a:lnTo>
                      <a:pt x="905" y="56"/>
                    </a:lnTo>
                    <a:lnTo>
                      <a:pt x="877" y="44"/>
                    </a:lnTo>
                    <a:lnTo>
                      <a:pt x="848" y="34"/>
                    </a:lnTo>
                    <a:lnTo>
                      <a:pt x="819" y="26"/>
                    </a:lnTo>
                    <a:lnTo>
                      <a:pt x="788" y="17"/>
                    </a:lnTo>
                    <a:lnTo>
                      <a:pt x="757" y="11"/>
                    </a:lnTo>
                    <a:lnTo>
                      <a:pt x="725" y="7"/>
                    </a:lnTo>
                    <a:lnTo>
                      <a:pt x="694" y="4"/>
                    </a:lnTo>
                    <a:lnTo>
                      <a:pt x="661" y="2"/>
                    </a:lnTo>
                    <a:lnTo>
                      <a:pt x="627" y="0"/>
                    </a:lnTo>
                    <a:lnTo>
                      <a:pt x="595" y="2"/>
                    </a:lnTo>
                    <a:lnTo>
                      <a:pt x="562" y="4"/>
                    </a:lnTo>
                    <a:lnTo>
                      <a:pt x="530" y="7"/>
                    </a:lnTo>
                    <a:lnTo>
                      <a:pt x="499" y="11"/>
                    </a:lnTo>
                    <a:lnTo>
                      <a:pt x="469" y="17"/>
                    </a:lnTo>
                    <a:lnTo>
                      <a:pt x="438" y="26"/>
                    </a:lnTo>
                    <a:lnTo>
                      <a:pt x="409" y="34"/>
                    </a:lnTo>
                    <a:lnTo>
                      <a:pt x="380" y="44"/>
                    </a:lnTo>
                    <a:lnTo>
                      <a:pt x="352" y="56"/>
                    </a:lnTo>
                    <a:lnTo>
                      <a:pt x="324" y="68"/>
                    </a:lnTo>
                    <a:lnTo>
                      <a:pt x="299" y="83"/>
                    </a:lnTo>
                    <a:lnTo>
                      <a:pt x="274" y="98"/>
                    </a:lnTo>
                    <a:lnTo>
                      <a:pt x="249" y="115"/>
                    </a:lnTo>
                    <a:lnTo>
                      <a:pt x="225" y="132"/>
                    </a:lnTo>
                    <a:lnTo>
                      <a:pt x="202" y="151"/>
                    </a:lnTo>
                    <a:lnTo>
                      <a:pt x="181" y="170"/>
                    </a:lnTo>
                    <a:lnTo>
                      <a:pt x="161" y="192"/>
                    </a:lnTo>
                    <a:lnTo>
                      <a:pt x="140" y="214"/>
                    </a:lnTo>
                    <a:lnTo>
                      <a:pt x="122" y="237"/>
                    </a:lnTo>
                    <a:lnTo>
                      <a:pt x="105" y="263"/>
                    </a:lnTo>
                    <a:lnTo>
                      <a:pt x="89" y="288"/>
                    </a:lnTo>
                    <a:lnTo>
                      <a:pt x="74" y="315"/>
                    </a:lnTo>
                    <a:lnTo>
                      <a:pt x="60" y="343"/>
                    </a:lnTo>
                    <a:lnTo>
                      <a:pt x="48" y="372"/>
                    </a:lnTo>
                    <a:lnTo>
                      <a:pt x="37" y="401"/>
                    </a:lnTo>
                    <a:lnTo>
                      <a:pt x="28" y="433"/>
                    </a:lnTo>
                    <a:lnTo>
                      <a:pt x="19" y="464"/>
                    </a:lnTo>
                    <a:lnTo>
                      <a:pt x="13" y="497"/>
                    </a:lnTo>
                    <a:lnTo>
                      <a:pt x="7" y="531"/>
                    </a:lnTo>
                    <a:lnTo>
                      <a:pt x="3" y="566"/>
                    </a:lnTo>
                    <a:lnTo>
                      <a:pt x="1" y="603"/>
                    </a:lnTo>
                    <a:lnTo>
                      <a:pt x="0" y="639"/>
                    </a:lnTo>
                    <a:close/>
                    <a:moveTo>
                      <a:pt x="327" y="602"/>
                    </a:moveTo>
                    <a:lnTo>
                      <a:pt x="328" y="568"/>
                    </a:lnTo>
                    <a:lnTo>
                      <a:pt x="332" y="535"/>
                    </a:lnTo>
                    <a:lnTo>
                      <a:pt x="334" y="518"/>
                    </a:lnTo>
                    <a:lnTo>
                      <a:pt x="337" y="502"/>
                    </a:lnTo>
                    <a:lnTo>
                      <a:pt x="341" y="486"/>
                    </a:lnTo>
                    <a:lnTo>
                      <a:pt x="345" y="470"/>
                    </a:lnTo>
                    <a:lnTo>
                      <a:pt x="350" y="455"/>
                    </a:lnTo>
                    <a:lnTo>
                      <a:pt x="356" y="439"/>
                    </a:lnTo>
                    <a:lnTo>
                      <a:pt x="362" y="424"/>
                    </a:lnTo>
                    <a:lnTo>
                      <a:pt x="368" y="410"/>
                    </a:lnTo>
                    <a:lnTo>
                      <a:pt x="375" y="395"/>
                    </a:lnTo>
                    <a:lnTo>
                      <a:pt x="384" y="382"/>
                    </a:lnTo>
                    <a:lnTo>
                      <a:pt x="392" y="368"/>
                    </a:lnTo>
                    <a:lnTo>
                      <a:pt x="401" y="355"/>
                    </a:lnTo>
                    <a:lnTo>
                      <a:pt x="410" y="343"/>
                    </a:lnTo>
                    <a:lnTo>
                      <a:pt x="421" y="331"/>
                    </a:lnTo>
                    <a:lnTo>
                      <a:pt x="432" y="320"/>
                    </a:lnTo>
                    <a:lnTo>
                      <a:pt x="443" y="310"/>
                    </a:lnTo>
                    <a:lnTo>
                      <a:pt x="455" y="300"/>
                    </a:lnTo>
                    <a:lnTo>
                      <a:pt x="467" y="291"/>
                    </a:lnTo>
                    <a:lnTo>
                      <a:pt x="481" y="282"/>
                    </a:lnTo>
                    <a:lnTo>
                      <a:pt x="495" y="275"/>
                    </a:lnTo>
                    <a:lnTo>
                      <a:pt x="510" y="268"/>
                    </a:lnTo>
                    <a:lnTo>
                      <a:pt x="524" y="262"/>
                    </a:lnTo>
                    <a:lnTo>
                      <a:pt x="540" y="257"/>
                    </a:lnTo>
                    <a:lnTo>
                      <a:pt x="557" y="252"/>
                    </a:lnTo>
                    <a:lnTo>
                      <a:pt x="573" y="248"/>
                    </a:lnTo>
                    <a:lnTo>
                      <a:pt x="591" y="246"/>
                    </a:lnTo>
                    <a:lnTo>
                      <a:pt x="609" y="245"/>
                    </a:lnTo>
                    <a:lnTo>
                      <a:pt x="627" y="245"/>
                    </a:lnTo>
                    <a:lnTo>
                      <a:pt x="647" y="245"/>
                    </a:lnTo>
                    <a:lnTo>
                      <a:pt x="665" y="246"/>
                    </a:lnTo>
                    <a:lnTo>
                      <a:pt x="683" y="248"/>
                    </a:lnTo>
                    <a:lnTo>
                      <a:pt x="700" y="252"/>
                    </a:lnTo>
                    <a:lnTo>
                      <a:pt x="716" y="256"/>
                    </a:lnTo>
                    <a:lnTo>
                      <a:pt x="731" y="262"/>
                    </a:lnTo>
                    <a:lnTo>
                      <a:pt x="747" y="268"/>
                    </a:lnTo>
                    <a:lnTo>
                      <a:pt x="762" y="274"/>
                    </a:lnTo>
                    <a:lnTo>
                      <a:pt x="775" y="281"/>
                    </a:lnTo>
                    <a:lnTo>
                      <a:pt x="788" y="290"/>
                    </a:lnTo>
                    <a:lnTo>
                      <a:pt x="802" y="299"/>
                    </a:lnTo>
                    <a:lnTo>
                      <a:pt x="814" y="309"/>
                    </a:lnTo>
                    <a:lnTo>
                      <a:pt x="826" y="319"/>
                    </a:lnTo>
                    <a:lnTo>
                      <a:pt x="837" y="330"/>
                    </a:lnTo>
                    <a:lnTo>
                      <a:pt x="846" y="342"/>
                    </a:lnTo>
                    <a:lnTo>
                      <a:pt x="856" y="354"/>
                    </a:lnTo>
                    <a:lnTo>
                      <a:pt x="866" y="366"/>
                    </a:lnTo>
                    <a:lnTo>
                      <a:pt x="874" y="379"/>
                    </a:lnTo>
                    <a:lnTo>
                      <a:pt x="882" y="393"/>
                    </a:lnTo>
                    <a:lnTo>
                      <a:pt x="889" y="407"/>
                    </a:lnTo>
                    <a:lnTo>
                      <a:pt x="896" y="422"/>
                    </a:lnTo>
                    <a:lnTo>
                      <a:pt x="902" y="436"/>
                    </a:lnTo>
                    <a:lnTo>
                      <a:pt x="907" y="452"/>
                    </a:lnTo>
                    <a:lnTo>
                      <a:pt x="912" y="468"/>
                    </a:lnTo>
                    <a:lnTo>
                      <a:pt x="917" y="484"/>
                    </a:lnTo>
                    <a:lnTo>
                      <a:pt x="920" y="500"/>
                    </a:lnTo>
                    <a:lnTo>
                      <a:pt x="924" y="517"/>
                    </a:lnTo>
                    <a:lnTo>
                      <a:pt x="926" y="534"/>
                    </a:lnTo>
                    <a:lnTo>
                      <a:pt x="930" y="568"/>
                    </a:lnTo>
                    <a:lnTo>
                      <a:pt x="931" y="602"/>
                    </a:lnTo>
                    <a:lnTo>
                      <a:pt x="930" y="639"/>
                    </a:lnTo>
                    <a:lnTo>
                      <a:pt x="928" y="677"/>
                    </a:lnTo>
                    <a:lnTo>
                      <a:pt x="924" y="715"/>
                    </a:lnTo>
                    <a:lnTo>
                      <a:pt x="917" y="752"/>
                    </a:lnTo>
                    <a:lnTo>
                      <a:pt x="913" y="769"/>
                    </a:lnTo>
                    <a:lnTo>
                      <a:pt x="909" y="787"/>
                    </a:lnTo>
                    <a:lnTo>
                      <a:pt x="903" y="804"/>
                    </a:lnTo>
                    <a:lnTo>
                      <a:pt x="899" y="821"/>
                    </a:lnTo>
                    <a:lnTo>
                      <a:pt x="893" y="838"/>
                    </a:lnTo>
                    <a:lnTo>
                      <a:pt x="885" y="854"/>
                    </a:lnTo>
                    <a:lnTo>
                      <a:pt x="878" y="870"/>
                    </a:lnTo>
                    <a:lnTo>
                      <a:pt x="869" y="886"/>
                    </a:lnTo>
                    <a:lnTo>
                      <a:pt x="861" y="900"/>
                    </a:lnTo>
                    <a:lnTo>
                      <a:pt x="851" y="914"/>
                    </a:lnTo>
                    <a:lnTo>
                      <a:pt x="840" y="927"/>
                    </a:lnTo>
                    <a:lnTo>
                      <a:pt x="830" y="939"/>
                    </a:lnTo>
                    <a:lnTo>
                      <a:pt x="817" y="951"/>
                    </a:lnTo>
                    <a:lnTo>
                      <a:pt x="804" y="962"/>
                    </a:lnTo>
                    <a:lnTo>
                      <a:pt x="791" y="972"/>
                    </a:lnTo>
                    <a:lnTo>
                      <a:pt x="776" y="982"/>
                    </a:lnTo>
                    <a:lnTo>
                      <a:pt x="760" y="989"/>
                    </a:lnTo>
                    <a:lnTo>
                      <a:pt x="745" y="996"/>
                    </a:lnTo>
                    <a:lnTo>
                      <a:pt x="728" y="1004"/>
                    </a:lnTo>
                    <a:lnTo>
                      <a:pt x="710" y="1008"/>
                    </a:lnTo>
                    <a:lnTo>
                      <a:pt x="690" y="1012"/>
                    </a:lnTo>
                    <a:lnTo>
                      <a:pt x="671" y="1016"/>
                    </a:lnTo>
                    <a:lnTo>
                      <a:pt x="649" y="1017"/>
                    </a:lnTo>
                    <a:lnTo>
                      <a:pt x="627" y="1018"/>
                    </a:lnTo>
                    <a:lnTo>
                      <a:pt x="605" y="1017"/>
                    </a:lnTo>
                    <a:lnTo>
                      <a:pt x="585" y="1016"/>
                    </a:lnTo>
                    <a:lnTo>
                      <a:pt x="565" y="1012"/>
                    </a:lnTo>
                    <a:lnTo>
                      <a:pt x="546" y="1008"/>
                    </a:lnTo>
                    <a:lnTo>
                      <a:pt x="528" y="1004"/>
                    </a:lnTo>
                    <a:lnTo>
                      <a:pt x="511" y="996"/>
                    </a:lnTo>
                    <a:lnTo>
                      <a:pt x="495" y="989"/>
                    </a:lnTo>
                    <a:lnTo>
                      <a:pt x="481" y="980"/>
                    </a:lnTo>
                    <a:lnTo>
                      <a:pt x="466" y="972"/>
                    </a:lnTo>
                    <a:lnTo>
                      <a:pt x="453" y="961"/>
                    </a:lnTo>
                    <a:lnTo>
                      <a:pt x="439" y="950"/>
                    </a:lnTo>
                    <a:lnTo>
                      <a:pt x="427" y="939"/>
                    </a:lnTo>
                    <a:lnTo>
                      <a:pt x="416" y="926"/>
                    </a:lnTo>
                    <a:lnTo>
                      <a:pt x="407" y="912"/>
                    </a:lnTo>
                    <a:lnTo>
                      <a:pt x="397" y="899"/>
                    </a:lnTo>
                    <a:lnTo>
                      <a:pt x="387" y="885"/>
                    </a:lnTo>
                    <a:lnTo>
                      <a:pt x="380" y="869"/>
                    </a:lnTo>
                    <a:lnTo>
                      <a:pt x="373" y="854"/>
                    </a:lnTo>
                    <a:lnTo>
                      <a:pt x="366" y="837"/>
                    </a:lnTo>
                    <a:lnTo>
                      <a:pt x="360" y="821"/>
                    </a:lnTo>
                    <a:lnTo>
                      <a:pt x="353" y="804"/>
                    </a:lnTo>
                    <a:lnTo>
                      <a:pt x="349" y="786"/>
                    </a:lnTo>
                    <a:lnTo>
                      <a:pt x="344" y="769"/>
                    </a:lnTo>
                    <a:lnTo>
                      <a:pt x="340" y="751"/>
                    </a:lnTo>
                    <a:lnTo>
                      <a:pt x="334" y="715"/>
                    </a:lnTo>
                    <a:lnTo>
                      <a:pt x="330" y="677"/>
                    </a:lnTo>
                    <a:lnTo>
                      <a:pt x="328" y="639"/>
                    </a:lnTo>
                    <a:lnTo>
                      <a:pt x="327" y="60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" name="Freeform 50"/>
              <p:cNvSpPr>
                <a:spLocks/>
              </p:cNvSpPr>
              <p:nvPr/>
            </p:nvSpPr>
            <p:spPr bwMode="gray">
              <a:xfrm>
                <a:off x="3542" y="1184"/>
                <a:ext cx="175" cy="254"/>
              </a:xfrm>
              <a:custGeom>
                <a:avLst/>
                <a:gdLst>
                  <a:gd name="T0" fmla="*/ 0 w 870"/>
                  <a:gd name="T1" fmla="*/ 0 h 1261"/>
                  <a:gd name="T2" fmla="*/ 0 w 870"/>
                  <a:gd name="T3" fmla="*/ 0 h 1261"/>
                  <a:gd name="T4" fmla="*/ 0 w 870"/>
                  <a:gd name="T5" fmla="*/ 0 h 1261"/>
                  <a:gd name="T6" fmla="*/ 0 w 870"/>
                  <a:gd name="T7" fmla="*/ 0 h 1261"/>
                  <a:gd name="T8" fmla="*/ 0 w 870"/>
                  <a:gd name="T9" fmla="*/ 0 h 1261"/>
                  <a:gd name="T10" fmla="*/ 0 w 870"/>
                  <a:gd name="T11" fmla="*/ 0 h 1261"/>
                  <a:gd name="T12" fmla="*/ 0 w 870"/>
                  <a:gd name="T13" fmla="*/ 0 h 1261"/>
                  <a:gd name="T14" fmla="*/ 0 w 870"/>
                  <a:gd name="T15" fmla="*/ 0 h 1261"/>
                  <a:gd name="T16" fmla="*/ 0 w 870"/>
                  <a:gd name="T17" fmla="*/ 0 h 1261"/>
                  <a:gd name="T18" fmla="*/ 0 w 870"/>
                  <a:gd name="T19" fmla="*/ 0 h 1261"/>
                  <a:gd name="T20" fmla="*/ 0 w 870"/>
                  <a:gd name="T21" fmla="*/ 0 h 1261"/>
                  <a:gd name="T22" fmla="*/ 0 w 870"/>
                  <a:gd name="T23" fmla="*/ 0 h 1261"/>
                  <a:gd name="T24" fmla="*/ 0 w 870"/>
                  <a:gd name="T25" fmla="*/ 0 h 1261"/>
                  <a:gd name="T26" fmla="*/ 0 w 870"/>
                  <a:gd name="T27" fmla="*/ 0 h 1261"/>
                  <a:gd name="T28" fmla="*/ 0 w 870"/>
                  <a:gd name="T29" fmla="*/ 0 h 1261"/>
                  <a:gd name="T30" fmla="*/ 0 w 870"/>
                  <a:gd name="T31" fmla="*/ 0 h 1261"/>
                  <a:gd name="T32" fmla="*/ 0 w 870"/>
                  <a:gd name="T33" fmla="*/ 0 h 1261"/>
                  <a:gd name="T34" fmla="*/ 0 w 870"/>
                  <a:gd name="T35" fmla="*/ 0 h 1261"/>
                  <a:gd name="T36" fmla="*/ 0 w 870"/>
                  <a:gd name="T37" fmla="*/ 0 h 1261"/>
                  <a:gd name="T38" fmla="*/ 0 w 870"/>
                  <a:gd name="T39" fmla="*/ 0 h 1261"/>
                  <a:gd name="T40" fmla="*/ 0 w 870"/>
                  <a:gd name="T41" fmla="*/ 0 h 1261"/>
                  <a:gd name="T42" fmla="*/ 0 w 870"/>
                  <a:gd name="T43" fmla="*/ 0 h 1261"/>
                  <a:gd name="T44" fmla="*/ 0 w 870"/>
                  <a:gd name="T45" fmla="*/ 0 h 1261"/>
                  <a:gd name="T46" fmla="*/ 0 w 870"/>
                  <a:gd name="T47" fmla="*/ 0 h 1261"/>
                  <a:gd name="T48" fmla="*/ 0 w 870"/>
                  <a:gd name="T49" fmla="*/ 0 h 1261"/>
                  <a:gd name="T50" fmla="*/ 0 w 870"/>
                  <a:gd name="T51" fmla="*/ 0 h 1261"/>
                  <a:gd name="T52" fmla="*/ 0 w 870"/>
                  <a:gd name="T53" fmla="*/ 0 h 1261"/>
                  <a:gd name="T54" fmla="*/ 0 w 870"/>
                  <a:gd name="T55" fmla="*/ 0 h 1261"/>
                  <a:gd name="T56" fmla="*/ 0 w 870"/>
                  <a:gd name="T57" fmla="*/ 0 h 1261"/>
                  <a:gd name="T58" fmla="*/ 0 w 870"/>
                  <a:gd name="T59" fmla="*/ 0 h 1261"/>
                  <a:gd name="T60" fmla="*/ 0 w 870"/>
                  <a:gd name="T61" fmla="*/ 0 h 1261"/>
                  <a:gd name="T62" fmla="*/ 0 w 870"/>
                  <a:gd name="T63" fmla="*/ 0 h 1261"/>
                  <a:gd name="T64" fmla="*/ 0 w 870"/>
                  <a:gd name="T65" fmla="*/ 0 h 1261"/>
                  <a:gd name="T66" fmla="*/ 0 w 870"/>
                  <a:gd name="T67" fmla="*/ 0 h 1261"/>
                  <a:gd name="T68" fmla="*/ 0 w 870"/>
                  <a:gd name="T69" fmla="*/ 0 h 1261"/>
                  <a:gd name="T70" fmla="*/ 0 w 870"/>
                  <a:gd name="T71" fmla="*/ 0 h 1261"/>
                  <a:gd name="T72" fmla="*/ 0 w 870"/>
                  <a:gd name="T73" fmla="*/ 0 h 1261"/>
                  <a:gd name="T74" fmla="*/ 0 w 870"/>
                  <a:gd name="T75" fmla="*/ 0 h 1261"/>
                  <a:gd name="T76" fmla="*/ 0 w 870"/>
                  <a:gd name="T77" fmla="*/ 0 h 1261"/>
                  <a:gd name="T78" fmla="*/ 0 w 870"/>
                  <a:gd name="T79" fmla="*/ 0 h 1261"/>
                  <a:gd name="T80" fmla="*/ 0 w 870"/>
                  <a:gd name="T81" fmla="*/ 0 h 1261"/>
                  <a:gd name="T82" fmla="*/ 0 w 870"/>
                  <a:gd name="T83" fmla="*/ 0 h 1261"/>
                  <a:gd name="T84" fmla="*/ 0 w 870"/>
                  <a:gd name="T85" fmla="*/ 0 h 1261"/>
                  <a:gd name="T86" fmla="*/ 0 w 870"/>
                  <a:gd name="T87" fmla="*/ 0 h 1261"/>
                  <a:gd name="T88" fmla="*/ 0 w 870"/>
                  <a:gd name="T89" fmla="*/ 0 h 1261"/>
                  <a:gd name="T90" fmla="*/ 0 w 870"/>
                  <a:gd name="T91" fmla="*/ 0 h 1261"/>
                  <a:gd name="T92" fmla="*/ 0 w 870"/>
                  <a:gd name="T93" fmla="*/ 0 h 1261"/>
                  <a:gd name="T94" fmla="*/ 0 w 870"/>
                  <a:gd name="T95" fmla="*/ 0 h 1261"/>
                  <a:gd name="T96" fmla="*/ 0 w 870"/>
                  <a:gd name="T97" fmla="*/ 0 h 12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870"/>
                  <a:gd name="T148" fmla="*/ 0 h 1261"/>
                  <a:gd name="T149" fmla="*/ 870 w 870"/>
                  <a:gd name="T150" fmla="*/ 1261 h 126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870" h="1261">
                    <a:moveTo>
                      <a:pt x="811" y="45"/>
                    </a:moveTo>
                    <a:lnTo>
                      <a:pt x="775" y="37"/>
                    </a:lnTo>
                    <a:lnTo>
                      <a:pt x="738" y="30"/>
                    </a:lnTo>
                    <a:lnTo>
                      <a:pt x="699" y="22"/>
                    </a:lnTo>
                    <a:lnTo>
                      <a:pt x="659" y="15"/>
                    </a:lnTo>
                    <a:lnTo>
                      <a:pt x="618" y="9"/>
                    </a:lnTo>
                    <a:lnTo>
                      <a:pt x="572" y="4"/>
                    </a:lnTo>
                    <a:lnTo>
                      <a:pt x="523" y="2"/>
                    </a:lnTo>
                    <a:lnTo>
                      <a:pt x="471" y="0"/>
                    </a:lnTo>
                    <a:lnTo>
                      <a:pt x="448" y="0"/>
                    </a:lnTo>
                    <a:lnTo>
                      <a:pt x="425" y="2"/>
                    </a:lnTo>
                    <a:lnTo>
                      <a:pt x="402" y="4"/>
                    </a:lnTo>
                    <a:lnTo>
                      <a:pt x="380" y="7"/>
                    </a:lnTo>
                    <a:lnTo>
                      <a:pt x="358" y="9"/>
                    </a:lnTo>
                    <a:lnTo>
                      <a:pt x="337" y="13"/>
                    </a:lnTo>
                    <a:lnTo>
                      <a:pt x="315" y="17"/>
                    </a:lnTo>
                    <a:lnTo>
                      <a:pt x="294" y="22"/>
                    </a:lnTo>
                    <a:lnTo>
                      <a:pt x="274" y="28"/>
                    </a:lnTo>
                    <a:lnTo>
                      <a:pt x="253" y="36"/>
                    </a:lnTo>
                    <a:lnTo>
                      <a:pt x="234" y="43"/>
                    </a:lnTo>
                    <a:lnTo>
                      <a:pt x="214" y="50"/>
                    </a:lnTo>
                    <a:lnTo>
                      <a:pt x="195" y="60"/>
                    </a:lnTo>
                    <a:lnTo>
                      <a:pt x="178" y="70"/>
                    </a:lnTo>
                    <a:lnTo>
                      <a:pt x="160" y="79"/>
                    </a:lnTo>
                    <a:lnTo>
                      <a:pt x="143" y="90"/>
                    </a:lnTo>
                    <a:lnTo>
                      <a:pt x="127" y="102"/>
                    </a:lnTo>
                    <a:lnTo>
                      <a:pt x="113" y="115"/>
                    </a:lnTo>
                    <a:lnTo>
                      <a:pt x="98" y="128"/>
                    </a:lnTo>
                    <a:lnTo>
                      <a:pt x="83" y="143"/>
                    </a:lnTo>
                    <a:lnTo>
                      <a:pt x="71" y="157"/>
                    </a:lnTo>
                    <a:lnTo>
                      <a:pt x="59" y="173"/>
                    </a:lnTo>
                    <a:lnTo>
                      <a:pt x="48" y="190"/>
                    </a:lnTo>
                    <a:lnTo>
                      <a:pt x="39" y="207"/>
                    </a:lnTo>
                    <a:lnTo>
                      <a:pt x="30" y="225"/>
                    </a:lnTo>
                    <a:lnTo>
                      <a:pt x="22" y="245"/>
                    </a:lnTo>
                    <a:lnTo>
                      <a:pt x="16" y="264"/>
                    </a:lnTo>
                    <a:lnTo>
                      <a:pt x="10" y="285"/>
                    </a:lnTo>
                    <a:lnTo>
                      <a:pt x="6" y="305"/>
                    </a:lnTo>
                    <a:lnTo>
                      <a:pt x="2" y="328"/>
                    </a:lnTo>
                    <a:lnTo>
                      <a:pt x="0" y="351"/>
                    </a:lnTo>
                    <a:lnTo>
                      <a:pt x="0" y="375"/>
                    </a:lnTo>
                    <a:lnTo>
                      <a:pt x="1" y="415"/>
                    </a:lnTo>
                    <a:lnTo>
                      <a:pt x="6" y="450"/>
                    </a:lnTo>
                    <a:lnTo>
                      <a:pt x="13" y="483"/>
                    </a:lnTo>
                    <a:lnTo>
                      <a:pt x="23" y="512"/>
                    </a:lnTo>
                    <a:lnTo>
                      <a:pt x="35" y="538"/>
                    </a:lnTo>
                    <a:lnTo>
                      <a:pt x="50" y="563"/>
                    </a:lnTo>
                    <a:lnTo>
                      <a:pt x="67" y="585"/>
                    </a:lnTo>
                    <a:lnTo>
                      <a:pt x="85" y="605"/>
                    </a:lnTo>
                    <a:lnTo>
                      <a:pt x="104" y="622"/>
                    </a:lnTo>
                    <a:lnTo>
                      <a:pt x="126" y="638"/>
                    </a:lnTo>
                    <a:lnTo>
                      <a:pt x="148" y="653"/>
                    </a:lnTo>
                    <a:lnTo>
                      <a:pt x="172" y="665"/>
                    </a:lnTo>
                    <a:lnTo>
                      <a:pt x="196" y="677"/>
                    </a:lnTo>
                    <a:lnTo>
                      <a:pt x="220" y="687"/>
                    </a:lnTo>
                    <a:lnTo>
                      <a:pt x="246" y="696"/>
                    </a:lnTo>
                    <a:lnTo>
                      <a:pt x="271" y="705"/>
                    </a:lnTo>
                    <a:lnTo>
                      <a:pt x="322" y="719"/>
                    </a:lnTo>
                    <a:lnTo>
                      <a:pt x="371" y="734"/>
                    </a:lnTo>
                    <a:lnTo>
                      <a:pt x="395" y="741"/>
                    </a:lnTo>
                    <a:lnTo>
                      <a:pt x="417" y="750"/>
                    </a:lnTo>
                    <a:lnTo>
                      <a:pt x="438" y="758"/>
                    </a:lnTo>
                    <a:lnTo>
                      <a:pt x="458" y="767"/>
                    </a:lnTo>
                    <a:lnTo>
                      <a:pt x="476" y="776"/>
                    </a:lnTo>
                    <a:lnTo>
                      <a:pt x="493" y="787"/>
                    </a:lnTo>
                    <a:lnTo>
                      <a:pt x="507" y="800"/>
                    </a:lnTo>
                    <a:lnTo>
                      <a:pt x="520" y="813"/>
                    </a:lnTo>
                    <a:lnTo>
                      <a:pt x="529" y="827"/>
                    </a:lnTo>
                    <a:lnTo>
                      <a:pt x="536" y="844"/>
                    </a:lnTo>
                    <a:lnTo>
                      <a:pt x="541" y="864"/>
                    </a:lnTo>
                    <a:lnTo>
                      <a:pt x="543" y="885"/>
                    </a:lnTo>
                    <a:lnTo>
                      <a:pt x="543" y="895"/>
                    </a:lnTo>
                    <a:lnTo>
                      <a:pt x="541" y="905"/>
                    </a:lnTo>
                    <a:lnTo>
                      <a:pt x="540" y="915"/>
                    </a:lnTo>
                    <a:lnTo>
                      <a:pt x="538" y="925"/>
                    </a:lnTo>
                    <a:lnTo>
                      <a:pt x="534" y="933"/>
                    </a:lnTo>
                    <a:lnTo>
                      <a:pt x="530" y="942"/>
                    </a:lnTo>
                    <a:lnTo>
                      <a:pt x="527" y="950"/>
                    </a:lnTo>
                    <a:lnTo>
                      <a:pt x="522" y="957"/>
                    </a:lnTo>
                    <a:lnTo>
                      <a:pt x="511" y="971"/>
                    </a:lnTo>
                    <a:lnTo>
                      <a:pt x="499" y="983"/>
                    </a:lnTo>
                    <a:lnTo>
                      <a:pt x="486" y="993"/>
                    </a:lnTo>
                    <a:lnTo>
                      <a:pt x="470" y="1002"/>
                    </a:lnTo>
                    <a:lnTo>
                      <a:pt x="454" y="1010"/>
                    </a:lnTo>
                    <a:lnTo>
                      <a:pt x="437" y="1016"/>
                    </a:lnTo>
                    <a:lnTo>
                      <a:pt x="420" y="1022"/>
                    </a:lnTo>
                    <a:lnTo>
                      <a:pt x="403" y="1025"/>
                    </a:lnTo>
                    <a:lnTo>
                      <a:pt x="386" y="1029"/>
                    </a:lnTo>
                    <a:lnTo>
                      <a:pt x="369" y="1030"/>
                    </a:lnTo>
                    <a:lnTo>
                      <a:pt x="354" y="1032"/>
                    </a:lnTo>
                    <a:lnTo>
                      <a:pt x="338" y="1032"/>
                    </a:lnTo>
                    <a:lnTo>
                      <a:pt x="317" y="1032"/>
                    </a:lnTo>
                    <a:lnTo>
                      <a:pt x="298" y="1030"/>
                    </a:lnTo>
                    <a:lnTo>
                      <a:pt x="278" y="1029"/>
                    </a:lnTo>
                    <a:lnTo>
                      <a:pt x="258" y="1027"/>
                    </a:lnTo>
                    <a:lnTo>
                      <a:pt x="239" y="1023"/>
                    </a:lnTo>
                    <a:lnTo>
                      <a:pt x="219" y="1019"/>
                    </a:lnTo>
                    <a:lnTo>
                      <a:pt x="200" y="1016"/>
                    </a:lnTo>
                    <a:lnTo>
                      <a:pt x="180" y="1011"/>
                    </a:lnTo>
                    <a:lnTo>
                      <a:pt x="142" y="999"/>
                    </a:lnTo>
                    <a:lnTo>
                      <a:pt x="104" y="985"/>
                    </a:lnTo>
                    <a:lnTo>
                      <a:pt x="67" y="970"/>
                    </a:lnTo>
                    <a:lnTo>
                      <a:pt x="30" y="953"/>
                    </a:lnTo>
                    <a:lnTo>
                      <a:pt x="11" y="1210"/>
                    </a:lnTo>
                    <a:lnTo>
                      <a:pt x="54" y="1221"/>
                    </a:lnTo>
                    <a:lnTo>
                      <a:pt x="98" y="1231"/>
                    </a:lnTo>
                    <a:lnTo>
                      <a:pt x="143" y="1239"/>
                    </a:lnTo>
                    <a:lnTo>
                      <a:pt x="186" y="1246"/>
                    </a:lnTo>
                    <a:lnTo>
                      <a:pt x="231" y="1253"/>
                    </a:lnTo>
                    <a:lnTo>
                      <a:pt x="276" y="1257"/>
                    </a:lnTo>
                    <a:lnTo>
                      <a:pt x="321" y="1260"/>
                    </a:lnTo>
                    <a:lnTo>
                      <a:pt x="366" y="1261"/>
                    </a:lnTo>
                    <a:lnTo>
                      <a:pt x="390" y="1261"/>
                    </a:lnTo>
                    <a:lnTo>
                      <a:pt x="413" y="1260"/>
                    </a:lnTo>
                    <a:lnTo>
                      <a:pt x="437" y="1259"/>
                    </a:lnTo>
                    <a:lnTo>
                      <a:pt x="460" y="1256"/>
                    </a:lnTo>
                    <a:lnTo>
                      <a:pt x="483" y="1253"/>
                    </a:lnTo>
                    <a:lnTo>
                      <a:pt x="506" y="1249"/>
                    </a:lnTo>
                    <a:lnTo>
                      <a:pt x="529" y="1244"/>
                    </a:lnTo>
                    <a:lnTo>
                      <a:pt x="552" y="1239"/>
                    </a:lnTo>
                    <a:lnTo>
                      <a:pt x="574" y="1233"/>
                    </a:lnTo>
                    <a:lnTo>
                      <a:pt x="596" y="1227"/>
                    </a:lnTo>
                    <a:lnTo>
                      <a:pt x="616" y="1220"/>
                    </a:lnTo>
                    <a:lnTo>
                      <a:pt x="637" y="1211"/>
                    </a:lnTo>
                    <a:lnTo>
                      <a:pt x="656" y="1202"/>
                    </a:lnTo>
                    <a:lnTo>
                      <a:pt x="676" y="1192"/>
                    </a:lnTo>
                    <a:lnTo>
                      <a:pt x="695" y="1182"/>
                    </a:lnTo>
                    <a:lnTo>
                      <a:pt x="713" y="1170"/>
                    </a:lnTo>
                    <a:lnTo>
                      <a:pt x="730" y="1158"/>
                    </a:lnTo>
                    <a:lnTo>
                      <a:pt x="747" y="1144"/>
                    </a:lnTo>
                    <a:lnTo>
                      <a:pt x="763" y="1131"/>
                    </a:lnTo>
                    <a:lnTo>
                      <a:pt x="778" y="1117"/>
                    </a:lnTo>
                    <a:lnTo>
                      <a:pt x="791" y="1101"/>
                    </a:lnTo>
                    <a:lnTo>
                      <a:pt x="804" y="1084"/>
                    </a:lnTo>
                    <a:lnTo>
                      <a:pt x="816" y="1067"/>
                    </a:lnTo>
                    <a:lnTo>
                      <a:pt x="827" y="1049"/>
                    </a:lnTo>
                    <a:lnTo>
                      <a:pt x="837" y="1029"/>
                    </a:lnTo>
                    <a:lnTo>
                      <a:pt x="845" y="1008"/>
                    </a:lnTo>
                    <a:lnTo>
                      <a:pt x="853" y="988"/>
                    </a:lnTo>
                    <a:lnTo>
                      <a:pt x="859" y="966"/>
                    </a:lnTo>
                    <a:lnTo>
                      <a:pt x="864" y="943"/>
                    </a:lnTo>
                    <a:lnTo>
                      <a:pt x="867" y="919"/>
                    </a:lnTo>
                    <a:lnTo>
                      <a:pt x="868" y="894"/>
                    </a:lnTo>
                    <a:lnTo>
                      <a:pt x="870" y="869"/>
                    </a:lnTo>
                    <a:lnTo>
                      <a:pt x="868" y="829"/>
                    </a:lnTo>
                    <a:lnTo>
                      <a:pt x="864" y="793"/>
                    </a:lnTo>
                    <a:lnTo>
                      <a:pt x="856" y="759"/>
                    </a:lnTo>
                    <a:lnTo>
                      <a:pt x="847" y="729"/>
                    </a:lnTo>
                    <a:lnTo>
                      <a:pt x="834" y="702"/>
                    </a:lnTo>
                    <a:lnTo>
                      <a:pt x="820" y="677"/>
                    </a:lnTo>
                    <a:lnTo>
                      <a:pt x="803" y="654"/>
                    </a:lnTo>
                    <a:lnTo>
                      <a:pt x="785" y="633"/>
                    </a:lnTo>
                    <a:lnTo>
                      <a:pt x="765" y="614"/>
                    </a:lnTo>
                    <a:lnTo>
                      <a:pt x="744" y="597"/>
                    </a:lnTo>
                    <a:lnTo>
                      <a:pt x="721" y="582"/>
                    </a:lnTo>
                    <a:lnTo>
                      <a:pt x="698" y="568"/>
                    </a:lnTo>
                    <a:lnTo>
                      <a:pt x="673" y="555"/>
                    </a:lnTo>
                    <a:lnTo>
                      <a:pt x="649" y="545"/>
                    </a:lnTo>
                    <a:lnTo>
                      <a:pt x="624" y="534"/>
                    </a:lnTo>
                    <a:lnTo>
                      <a:pt x="598" y="525"/>
                    </a:lnTo>
                    <a:lnTo>
                      <a:pt x="547" y="508"/>
                    </a:lnTo>
                    <a:lnTo>
                      <a:pt x="498" y="492"/>
                    </a:lnTo>
                    <a:lnTo>
                      <a:pt x="475" y="485"/>
                    </a:lnTo>
                    <a:lnTo>
                      <a:pt x="452" y="478"/>
                    </a:lnTo>
                    <a:lnTo>
                      <a:pt x="431" y="470"/>
                    </a:lnTo>
                    <a:lnTo>
                      <a:pt x="411" y="462"/>
                    </a:lnTo>
                    <a:lnTo>
                      <a:pt x="392" y="453"/>
                    </a:lnTo>
                    <a:lnTo>
                      <a:pt x="377" y="444"/>
                    </a:lnTo>
                    <a:lnTo>
                      <a:pt x="362" y="434"/>
                    </a:lnTo>
                    <a:lnTo>
                      <a:pt x="350" y="422"/>
                    </a:lnTo>
                    <a:lnTo>
                      <a:pt x="339" y="410"/>
                    </a:lnTo>
                    <a:lnTo>
                      <a:pt x="332" y="395"/>
                    </a:lnTo>
                    <a:lnTo>
                      <a:pt x="328" y="381"/>
                    </a:lnTo>
                    <a:lnTo>
                      <a:pt x="326" y="364"/>
                    </a:lnTo>
                    <a:lnTo>
                      <a:pt x="327" y="345"/>
                    </a:lnTo>
                    <a:lnTo>
                      <a:pt x="331" y="328"/>
                    </a:lnTo>
                    <a:lnTo>
                      <a:pt x="335" y="313"/>
                    </a:lnTo>
                    <a:lnTo>
                      <a:pt x="343" y="299"/>
                    </a:lnTo>
                    <a:lnTo>
                      <a:pt x="352" y="287"/>
                    </a:lnTo>
                    <a:lnTo>
                      <a:pt x="362" y="276"/>
                    </a:lnTo>
                    <a:lnTo>
                      <a:pt x="374" y="266"/>
                    </a:lnTo>
                    <a:lnTo>
                      <a:pt x="386" y="258"/>
                    </a:lnTo>
                    <a:lnTo>
                      <a:pt x="401" y="251"/>
                    </a:lnTo>
                    <a:lnTo>
                      <a:pt x="415" y="245"/>
                    </a:lnTo>
                    <a:lnTo>
                      <a:pt x="430" y="240"/>
                    </a:lnTo>
                    <a:lnTo>
                      <a:pt x="446" y="236"/>
                    </a:lnTo>
                    <a:lnTo>
                      <a:pt x="463" y="234"/>
                    </a:lnTo>
                    <a:lnTo>
                      <a:pt x="478" y="231"/>
                    </a:lnTo>
                    <a:lnTo>
                      <a:pt x="494" y="230"/>
                    </a:lnTo>
                    <a:lnTo>
                      <a:pt x="510" y="230"/>
                    </a:lnTo>
                    <a:lnTo>
                      <a:pt x="551" y="231"/>
                    </a:lnTo>
                    <a:lnTo>
                      <a:pt x="589" y="234"/>
                    </a:lnTo>
                    <a:lnTo>
                      <a:pt x="624" y="237"/>
                    </a:lnTo>
                    <a:lnTo>
                      <a:pt x="658" y="243"/>
                    </a:lnTo>
                    <a:lnTo>
                      <a:pt x="690" y="251"/>
                    </a:lnTo>
                    <a:lnTo>
                      <a:pt x="722" y="259"/>
                    </a:lnTo>
                    <a:lnTo>
                      <a:pt x="756" y="270"/>
                    </a:lnTo>
                    <a:lnTo>
                      <a:pt x="791" y="281"/>
                    </a:lnTo>
                    <a:lnTo>
                      <a:pt x="811" y="4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3" name="Freeform 51"/>
              <p:cNvSpPr>
                <a:spLocks/>
              </p:cNvSpPr>
              <p:nvPr/>
            </p:nvSpPr>
            <p:spPr bwMode="gray">
              <a:xfrm>
                <a:off x="3739" y="1124"/>
                <a:ext cx="168" cy="315"/>
              </a:xfrm>
              <a:custGeom>
                <a:avLst/>
                <a:gdLst>
                  <a:gd name="T0" fmla="*/ 0 w 843"/>
                  <a:gd name="T1" fmla="*/ 0 h 1574"/>
                  <a:gd name="T2" fmla="*/ 0 w 843"/>
                  <a:gd name="T3" fmla="*/ 0 h 1574"/>
                  <a:gd name="T4" fmla="*/ 0 w 843"/>
                  <a:gd name="T5" fmla="*/ 0 h 1574"/>
                  <a:gd name="T6" fmla="*/ 0 w 843"/>
                  <a:gd name="T7" fmla="*/ 0 h 1574"/>
                  <a:gd name="T8" fmla="*/ 0 w 843"/>
                  <a:gd name="T9" fmla="*/ 0 h 1574"/>
                  <a:gd name="T10" fmla="*/ 0 w 843"/>
                  <a:gd name="T11" fmla="*/ 0 h 1574"/>
                  <a:gd name="T12" fmla="*/ 0 w 843"/>
                  <a:gd name="T13" fmla="*/ 0 h 1574"/>
                  <a:gd name="T14" fmla="*/ 0 w 843"/>
                  <a:gd name="T15" fmla="*/ 0 h 1574"/>
                  <a:gd name="T16" fmla="*/ 0 w 843"/>
                  <a:gd name="T17" fmla="*/ 0 h 1574"/>
                  <a:gd name="T18" fmla="*/ 0 w 843"/>
                  <a:gd name="T19" fmla="*/ 0 h 1574"/>
                  <a:gd name="T20" fmla="*/ 0 w 843"/>
                  <a:gd name="T21" fmla="*/ 0 h 1574"/>
                  <a:gd name="T22" fmla="*/ 0 w 843"/>
                  <a:gd name="T23" fmla="*/ 0 h 1574"/>
                  <a:gd name="T24" fmla="*/ 0 w 843"/>
                  <a:gd name="T25" fmla="*/ 0 h 1574"/>
                  <a:gd name="T26" fmla="*/ 0 w 843"/>
                  <a:gd name="T27" fmla="*/ 0 h 1574"/>
                  <a:gd name="T28" fmla="*/ 0 w 843"/>
                  <a:gd name="T29" fmla="*/ 0 h 1574"/>
                  <a:gd name="T30" fmla="*/ 0 w 843"/>
                  <a:gd name="T31" fmla="*/ 0 h 1574"/>
                  <a:gd name="T32" fmla="*/ 0 w 843"/>
                  <a:gd name="T33" fmla="*/ 0 h 1574"/>
                  <a:gd name="T34" fmla="*/ 0 w 843"/>
                  <a:gd name="T35" fmla="*/ 0 h 1574"/>
                  <a:gd name="T36" fmla="*/ 0 w 843"/>
                  <a:gd name="T37" fmla="*/ 0 h 1574"/>
                  <a:gd name="T38" fmla="*/ 0 w 843"/>
                  <a:gd name="T39" fmla="*/ 0 h 1574"/>
                  <a:gd name="T40" fmla="*/ 0 w 843"/>
                  <a:gd name="T41" fmla="*/ 0 h 1574"/>
                  <a:gd name="T42" fmla="*/ 0 w 843"/>
                  <a:gd name="T43" fmla="*/ 0 h 1574"/>
                  <a:gd name="T44" fmla="*/ 0 w 843"/>
                  <a:gd name="T45" fmla="*/ 0 h 1574"/>
                  <a:gd name="T46" fmla="*/ 0 w 843"/>
                  <a:gd name="T47" fmla="*/ 0 h 1574"/>
                  <a:gd name="T48" fmla="*/ 0 w 843"/>
                  <a:gd name="T49" fmla="*/ 0 h 1574"/>
                  <a:gd name="T50" fmla="*/ 0 w 843"/>
                  <a:gd name="T51" fmla="*/ 0 h 1574"/>
                  <a:gd name="T52" fmla="*/ 0 w 843"/>
                  <a:gd name="T53" fmla="*/ 0 h 1574"/>
                  <a:gd name="T54" fmla="*/ 0 w 843"/>
                  <a:gd name="T55" fmla="*/ 0 h 1574"/>
                  <a:gd name="T56" fmla="*/ 0 w 843"/>
                  <a:gd name="T57" fmla="*/ 0 h 1574"/>
                  <a:gd name="T58" fmla="*/ 0 w 843"/>
                  <a:gd name="T59" fmla="*/ 0 h 1574"/>
                  <a:gd name="T60" fmla="*/ 0 w 843"/>
                  <a:gd name="T61" fmla="*/ 0 h 1574"/>
                  <a:gd name="T62" fmla="*/ 0 w 843"/>
                  <a:gd name="T63" fmla="*/ 0 h 1574"/>
                  <a:gd name="T64" fmla="*/ 0 w 843"/>
                  <a:gd name="T65" fmla="*/ 0 h 1574"/>
                  <a:gd name="T66" fmla="*/ 0 w 843"/>
                  <a:gd name="T67" fmla="*/ 0 h 1574"/>
                  <a:gd name="T68" fmla="*/ 0 w 843"/>
                  <a:gd name="T69" fmla="*/ 0 h 1574"/>
                  <a:gd name="T70" fmla="*/ 0 w 843"/>
                  <a:gd name="T71" fmla="*/ 0 h 1574"/>
                  <a:gd name="T72" fmla="*/ 0 w 843"/>
                  <a:gd name="T73" fmla="*/ 0 h 1574"/>
                  <a:gd name="T74" fmla="*/ 0 w 843"/>
                  <a:gd name="T75" fmla="*/ 0 h 157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843"/>
                  <a:gd name="T115" fmla="*/ 0 h 1574"/>
                  <a:gd name="T116" fmla="*/ 843 w 843"/>
                  <a:gd name="T117" fmla="*/ 1574 h 157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843" h="1574">
                    <a:moveTo>
                      <a:pt x="231" y="1184"/>
                    </a:moveTo>
                    <a:lnTo>
                      <a:pt x="231" y="1206"/>
                    </a:lnTo>
                    <a:lnTo>
                      <a:pt x="233" y="1228"/>
                    </a:lnTo>
                    <a:lnTo>
                      <a:pt x="235" y="1249"/>
                    </a:lnTo>
                    <a:lnTo>
                      <a:pt x="237" y="1269"/>
                    </a:lnTo>
                    <a:lnTo>
                      <a:pt x="241" y="1289"/>
                    </a:lnTo>
                    <a:lnTo>
                      <a:pt x="246" y="1308"/>
                    </a:lnTo>
                    <a:lnTo>
                      <a:pt x="251" y="1328"/>
                    </a:lnTo>
                    <a:lnTo>
                      <a:pt x="257" y="1346"/>
                    </a:lnTo>
                    <a:lnTo>
                      <a:pt x="263" y="1363"/>
                    </a:lnTo>
                    <a:lnTo>
                      <a:pt x="270" y="1380"/>
                    </a:lnTo>
                    <a:lnTo>
                      <a:pt x="279" y="1397"/>
                    </a:lnTo>
                    <a:lnTo>
                      <a:pt x="287" y="1413"/>
                    </a:lnTo>
                    <a:lnTo>
                      <a:pt x="297" y="1427"/>
                    </a:lnTo>
                    <a:lnTo>
                      <a:pt x="306" y="1442"/>
                    </a:lnTo>
                    <a:lnTo>
                      <a:pt x="319" y="1455"/>
                    </a:lnTo>
                    <a:lnTo>
                      <a:pt x="329" y="1468"/>
                    </a:lnTo>
                    <a:lnTo>
                      <a:pt x="342" y="1481"/>
                    </a:lnTo>
                    <a:lnTo>
                      <a:pt x="355" y="1493"/>
                    </a:lnTo>
                    <a:lnTo>
                      <a:pt x="369" y="1504"/>
                    </a:lnTo>
                    <a:lnTo>
                      <a:pt x="384" y="1513"/>
                    </a:lnTo>
                    <a:lnTo>
                      <a:pt x="398" y="1523"/>
                    </a:lnTo>
                    <a:lnTo>
                      <a:pt x="415" y="1532"/>
                    </a:lnTo>
                    <a:lnTo>
                      <a:pt x="431" y="1540"/>
                    </a:lnTo>
                    <a:lnTo>
                      <a:pt x="449" y="1547"/>
                    </a:lnTo>
                    <a:lnTo>
                      <a:pt x="466" y="1553"/>
                    </a:lnTo>
                    <a:lnTo>
                      <a:pt x="486" y="1558"/>
                    </a:lnTo>
                    <a:lnTo>
                      <a:pt x="505" y="1563"/>
                    </a:lnTo>
                    <a:lnTo>
                      <a:pt x="524" y="1567"/>
                    </a:lnTo>
                    <a:lnTo>
                      <a:pt x="546" y="1570"/>
                    </a:lnTo>
                    <a:lnTo>
                      <a:pt x="567" y="1573"/>
                    </a:lnTo>
                    <a:lnTo>
                      <a:pt x="589" y="1574"/>
                    </a:lnTo>
                    <a:lnTo>
                      <a:pt x="612" y="1574"/>
                    </a:lnTo>
                    <a:lnTo>
                      <a:pt x="646" y="1574"/>
                    </a:lnTo>
                    <a:lnTo>
                      <a:pt x="678" y="1573"/>
                    </a:lnTo>
                    <a:lnTo>
                      <a:pt x="709" y="1570"/>
                    </a:lnTo>
                    <a:lnTo>
                      <a:pt x="738" y="1567"/>
                    </a:lnTo>
                    <a:lnTo>
                      <a:pt x="765" y="1563"/>
                    </a:lnTo>
                    <a:lnTo>
                      <a:pt x="792" y="1558"/>
                    </a:lnTo>
                    <a:lnTo>
                      <a:pt x="818" y="1553"/>
                    </a:lnTo>
                    <a:lnTo>
                      <a:pt x="843" y="1546"/>
                    </a:lnTo>
                    <a:lnTo>
                      <a:pt x="833" y="1298"/>
                    </a:lnTo>
                    <a:lnTo>
                      <a:pt x="820" y="1306"/>
                    </a:lnTo>
                    <a:lnTo>
                      <a:pt x="805" y="1312"/>
                    </a:lnTo>
                    <a:lnTo>
                      <a:pt x="788" y="1318"/>
                    </a:lnTo>
                    <a:lnTo>
                      <a:pt x="770" y="1323"/>
                    </a:lnTo>
                    <a:lnTo>
                      <a:pt x="752" y="1326"/>
                    </a:lnTo>
                    <a:lnTo>
                      <a:pt x="732" y="1329"/>
                    </a:lnTo>
                    <a:lnTo>
                      <a:pt x="712" y="1330"/>
                    </a:lnTo>
                    <a:lnTo>
                      <a:pt x="690" y="1331"/>
                    </a:lnTo>
                    <a:lnTo>
                      <a:pt x="670" y="1330"/>
                    </a:lnTo>
                    <a:lnTo>
                      <a:pt x="650" y="1326"/>
                    </a:lnTo>
                    <a:lnTo>
                      <a:pt x="633" y="1321"/>
                    </a:lnTo>
                    <a:lnTo>
                      <a:pt x="618" y="1314"/>
                    </a:lnTo>
                    <a:lnTo>
                      <a:pt x="604" y="1306"/>
                    </a:lnTo>
                    <a:lnTo>
                      <a:pt x="592" y="1295"/>
                    </a:lnTo>
                    <a:lnTo>
                      <a:pt x="581" y="1284"/>
                    </a:lnTo>
                    <a:lnTo>
                      <a:pt x="573" y="1270"/>
                    </a:lnTo>
                    <a:lnTo>
                      <a:pt x="566" y="1256"/>
                    </a:lnTo>
                    <a:lnTo>
                      <a:pt x="560" y="1240"/>
                    </a:lnTo>
                    <a:lnTo>
                      <a:pt x="553" y="1224"/>
                    </a:lnTo>
                    <a:lnTo>
                      <a:pt x="550" y="1207"/>
                    </a:lnTo>
                    <a:lnTo>
                      <a:pt x="547" y="1189"/>
                    </a:lnTo>
                    <a:lnTo>
                      <a:pt x="545" y="1171"/>
                    </a:lnTo>
                    <a:lnTo>
                      <a:pt x="544" y="1151"/>
                    </a:lnTo>
                    <a:lnTo>
                      <a:pt x="544" y="1132"/>
                    </a:lnTo>
                    <a:lnTo>
                      <a:pt x="544" y="571"/>
                    </a:lnTo>
                    <a:lnTo>
                      <a:pt x="821" y="571"/>
                    </a:lnTo>
                    <a:lnTo>
                      <a:pt x="821" y="341"/>
                    </a:lnTo>
                    <a:lnTo>
                      <a:pt x="544" y="341"/>
                    </a:lnTo>
                    <a:lnTo>
                      <a:pt x="544" y="0"/>
                    </a:lnTo>
                    <a:lnTo>
                      <a:pt x="231" y="101"/>
                    </a:lnTo>
                    <a:lnTo>
                      <a:pt x="231" y="341"/>
                    </a:lnTo>
                    <a:lnTo>
                      <a:pt x="0" y="341"/>
                    </a:lnTo>
                    <a:lnTo>
                      <a:pt x="0" y="571"/>
                    </a:lnTo>
                    <a:lnTo>
                      <a:pt x="231" y="571"/>
                    </a:lnTo>
                    <a:lnTo>
                      <a:pt x="231" y="118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</p:grpSp>
      <p:pic>
        <p:nvPicPr>
          <p:cNvPr id="130" name="Grafik 3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5848" y="1609054"/>
            <a:ext cx="2092305" cy="678101"/>
          </a:xfrm>
          <a:prstGeom prst="rect">
            <a:avLst/>
          </a:prstGeom>
        </p:spPr>
      </p:pic>
      <p:sp>
        <p:nvSpPr>
          <p:cNvPr id="10" name="Footer Placeholder 9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4" name="Rectangle 46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95363">
              <a:lnSpc>
                <a:spcPct val="90000"/>
              </a:lnSpc>
              <a:buFont typeface="Arial" charset="0"/>
              <a:buNone/>
            </a:pPr>
            <a:r>
              <a:rPr lang="en-US" sz="1000" dirty="0">
                <a:solidFill>
                  <a:srgbClr val="000000"/>
                </a:solidFill>
                <a:sym typeface="Arial" charset="0"/>
              </a:rPr>
              <a:t>0</a:t>
            </a:r>
          </a:p>
        </p:txBody>
      </p:sp>
      <p:sp>
        <p:nvSpPr>
          <p:cNvPr id="14345" name="Rectangle 227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  <a:sym typeface="Arial" charset="0"/>
              </a:rPr>
              <a:t>The industry leader</a:t>
            </a:r>
            <a:endParaRPr lang="en-US" dirty="0">
              <a:latin typeface="Arial" charset="0"/>
              <a:ea typeface="ＭＳ Ｐゴシック" charset="0"/>
              <a:cs typeface="ＭＳ Ｐゴシック" charset="0"/>
              <a:sym typeface="Arial" charset="0"/>
            </a:endParaRPr>
          </a:p>
        </p:txBody>
      </p:sp>
      <p:pic>
        <p:nvPicPr>
          <p:cNvPr id="49" name="Picture 1" descr="Worldwide_SSA-map.png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5875" y="1234543"/>
            <a:ext cx="9144000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0" name="Group 51"/>
          <p:cNvGrpSpPr>
            <a:grpSpLocks/>
          </p:cNvGrpSpPr>
          <p:nvPr/>
        </p:nvGrpSpPr>
        <p:grpSpPr bwMode="auto">
          <a:xfrm>
            <a:off x="427033" y="4547125"/>
            <a:ext cx="750887" cy="1117600"/>
            <a:chOff x="-908" y="2538"/>
            <a:chExt cx="473" cy="704"/>
          </a:xfrm>
        </p:grpSpPr>
        <p:sp>
          <p:nvSpPr>
            <p:cNvPr id="51" name="Text Box 437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-790" y="2676"/>
              <a:ext cx="346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buFont typeface="Arial" charset="0"/>
                <a:buNone/>
              </a:pPr>
              <a:r>
                <a:rPr lang="en-US" altLang="en-US" sz="1000">
                  <a:solidFill>
                    <a:srgbClr val="000000"/>
                  </a:solidFill>
                  <a:sym typeface="Arial" charset="0"/>
                </a:rPr>
                <a:t>FedEx</a:t>
              </a:r>
            </a:p>
          </p:txBody>
        </p:sp>
        <p:sp>
          <p:nvSpPr>
            <p:cNvPr id="52" name="Text Box 439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-790" y="2813"/>
              <a:ext cx="280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buFont typeface="Arial" charset="0"/>
                <a:buNone/>
              </a:pPr>
              <a:r>
                <a:rPr lang="en-US" altLang="en-US" sz="1000">
                  <a:solidFill>
                    <a:srgbClr val="000000"/>
                  </a:solidFill>
                  <a:sym typeface="Arial" charset="0"/>
                </a:rPr>
                <a:t>UPS</a:t>
              </a:r>
            </a:p>
          </p:txBody>
        </p:sp>
        <p:sp>
          <p:nvSpPr>
            <p:cNvPr id="53" name="Text Box 441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-790" y="2951"/>
              <a:ext cx="272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buFont typeface="Arial" charset="0"/>
                <a:buNone/>
              </a:pPr>
              <a:r>
                <a:rPr lang="en-US" altLang="en-US" sz="1000">
                  <a:solidFill>
                    <a:srgbClr val="000000"/>
                  </a:solidFill>
                  <a:sym typeface="Arial" charset="0"/>
                </a:rPr>
                <a:t>TNT</a:t>
              </a:r>
            </a:p>
          </p:txBody>
        </p:sp>
        <p:sp>
          <p:nvSpPr>
            <p:cNvPr id="54" name="Text Box 443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-790" y="3088"/>
              <a:ext cx="355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buFont typeface="Arial" charset="0"/>
                <a:buNone/>
              </a:pPr>
              <a:r>
                <a:rPr lang="en-US" altLang="en-US" sz="1000">
                  <a:solidFill>
                    <a:srgbClr val="000000"/>
                  </a:solidFill>
                  <a:sym typeface="Arial" charset="0"/>
                </a:rPr>
                <a:t>Others</a:t>
              </a:r>
            </a:p>
          </p:txBody>
        </p:sp>
        <p:sp>
          <p:nvSpPr>
            <p:cNvPr id="55" name="Text Box 445"/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-790" y="2538"/>
              <a:ext cx="276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buFont typeface="Arial" charset="0"/>
                <a:buNone/>
              </a:pPr>
              <a:r>
                <a:rPr lang="en-US" altLang="en-US" sz="1000">
                  <a:solidFill>
                    <a:srgbClr val="000000"/>
                  </a:solidFill>
                  <a:sym typeface="Arial" charset="0"/>
                </a:rPr>
                <a:t>DHL</a:t>
              </a:r>
            </a:p>
          </p:txBody>
        </p:sp>
        <p:grpSp>
          <p:nvGrpSpPr>
            <p:cNvPr id="56" name="Group 50"/>
            <p:cNvGrpSpPr>
              <a:grpSpLocks/>
            </p:cNvGrpSpPr>
            <p:nvPr/>
          </p:nvGrpSpPr>
          <p:grpSpPr bwMode="auto">
            <a:xfrm>
              <a:off x="-908" y="2560"/>
              <a:ext cx="114" cy="662"/>
              <a:chOff x="-924" y="2544"/>
              <a:chExt cx="130" cy="758"/>
            </a:xfrm>
          </p:grpSpPr>
          <p:sp>
            <p:nvSpPr>
              <p:cNvPr id="57" name="Rectangle 440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-924" y="3013"/>
                <a:ext cx="130" cy="134"/>
              </a:xfrm>
              <a:prstGeom prst="rect">
                <a:avLst/>
              </a:prstGeom>
              <a:solidFill>
                <a:srgbClr val="FF6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 sz="4400"/>
              </a:p>
            </p:txBody>
          </p:sp>
          <p:sp>
            <p:nvSpPr>
              <p:cNvPr id="58" name="Rectangle 442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-924" y="3168"/>
                <a:ext cx="130" cy="134"/>
              </a:xfrm>
              <a:prstGeom prst="rect">
                <a:avLst/>
              </a:pr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 sz="4400"/>
              </a:p>
            </p:txBody>
          </p:sp>
          <p:sp>
            <p:nvSpPr>
              <p:cNvPr id="59" name="Rectangle 444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-924" y="2544"/>
                <a:ext cx="130" cy="132"/>
              </a:xfrm>
              <a:prstGeom prst="rect">
                <a:avLst/>
              </a:prstGeom>
              <a:solidFill>
                <a:srgbClr val="FF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 sz="4400"/>
              </a:p>
            </p:txBody>
          </p:sp>
          <p:sp>
            <p:nvSpPr>
              <p:cNvPr id="60" name="Rectangle 482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-924" y="2699"/>
                <a:ext cx="130" cy="133"/>
              </a:xfrm>
              <a:prstGeom prst="rect">
                <a:avLst/>
              </a:prstGeom>
              <a:solidFill>
                <a:srgbClr val="6600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 sz="4400"/>
              </a:p>
            </p:txBody>
          </p:sp>
          <p:sp>
            <p:nvSpPr>
              <p:cNvPr id="61" name="Rectangle 483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-924" y="2856"/>
                <a:ext cx="130" cy="133"/>
              </a:xfrm>
              <a:prstGeom prst="rect">
                <a:avLst/>
              </a:prstGeom>
              <a:solidFill>
                <a:srgbClr val="3A1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 sz="4400"/>
              </a:p>
            </p:txBody>
          </p:sp>
        </p:grpSp>
      </p:grpSp>
      <p:grpSp>
        <p:nvGrpSpPr>
          <p:cNvPr id="62" name="Group 2"/>
          <p:cNvGrpSpPr>
            <a:grpSpLocks/>
          </p:cNvGrpSpPr>
          <p:nvPr/>
        </p:nvGrpSpPr>
        <p:grpSpPr bwMode="auto">
          <a:xfrm>
            <a:off x="3995738" y="1355193"/>
            <a:ext cx="1689100" cy="1885950"/>
            <a:chOff x="3995738" y="1766888"/>
            <a:chExt cx="1689100" cy="1885950"/>
          </a:xfrm>
        </p:grpSpPr>
        <p:graphicFrame>
          <p:nvGraphicFramePr>
            <p:cNvPr id="63" name="Object 53"/>
            <p:cNvGraphicFramePr>
              <a:graphicFrameLocks/>
            </p:cNvGraphicFramePr>
            <p:nvPr/>
          </p:nvGraphicFramePr>
          <p:xfrm>
            <a:off x="3995738" y="1963738"/>
            <a:ext cx="1689100" cy="16891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644" name="Chart" r:id="rId41" imgW="1685900" imgH="1685880" progId="MSGraph.Chart.8">
                    <p:embed followColorScheme="full"/>
                  </p:oleObj>
                </mc:Choice>
                <mc:Fallback>
                  <p:oleObj name="Chart" r:id="rId41" imgW="1685900" imgH="168588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995738" y="1963738"/>
                          <a:ext cx="1689100" cy="168910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8097" dir="2700000" algn="ctr" rotWithShape="0">
                                  <a:srgbClr val="000000">
                                    <a:alpha val="74997"/>
                                  </a:srgb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64" name="Rectangle 53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268788" y="3136900"/>
              <a:ext cx="287337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2A25048A-3516-42B5-8BB3-E969977AEDF5}" type="datetime'''''''''''''''''''''2''''''''''5''''''''''''''%''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25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65" name="Rectangle 52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175125" y="2470150"/>
              <a:ext cx="287338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buFont typeface="Arial" charset="0"/>
                <a:buNone/>
              </a:pPr>
              <a:fld id="{407D20BB-4FA9-4352-AFAD-6F02A2D0DC2C}" type="datetime'''''''''''''''''''''1''''''''''5''''''''''''''''%''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buFont typeface="Arial" charset="0"/>
                  <a:buNone/>
                </a:pPr>
                <a:t>15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66" name="Rectangle 53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578350" y="2130425"/>
              <a:ext cx="287338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buFont typeface="Arial" charset="0"/>
                <a:buNone/>
              </a:pPr>
              <a:fld id="{48EDEDE8-EFFC-42B5-B688-3220260CFF73}" type="datetime'''''''''''''''''''10''''''''''''''''''''%'''''">
                <a:rPr lang="en-US" altLang="en-US" sz="1000">
                  <a:solidFill>
                    <a:srgbClr val="000000"/>
                  </a:solidFill>
                  <a:sym typeface="Arial" charset="0"/>
                </a:rPr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buFont typeface="Arial" charset="0"/>
                  <a:buNone/>
                </a:pPr>
                <a:t>10%</a:t>
              </a:fld>
              <a:endParaRPr lang="en-US" altLang="en-US" sz="1000">
                <a:solidFill>
                  <a:srgbClr val="000000"/>
                </a:solidFill>
                <a:sym typeface="Arial" charset="0"/>
              </a:endParaRPr>
            </a:p>
          </p:txBody>
        </p:sp>
        <p:sp>
          <p:nvSpPr>
            <p:cNvPr id="67" name="Rectangle 533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778375" y="3303588"/>
              <a:ext cx="287338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759AC88A-4088-4C73-95A6-E3C27E983D2F}" type="datetime'1''''''''''0''''''%''''''''''''''''''''''''''''''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10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68" name="Rectangle 53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5233988" y="2546350"/>
              <a:ext cx="287337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7C348360-CBD0-4A69-9CAD-E6CAAEB8748B}" type="datetime'''''''''''''''''''''''''''''''''''''4''''''''''''''''''0%'''''">
                <a:rPr lang="en-US" altLang="en-US" sz="1000" b="1">
                  <a:solidFill>
                    <a:srgbClr val="000000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40%</a:t>
              </a:fld>
              <a:endParaRPr lang="en-US" altLang="en-US" sz="1000" b="1">
                <a:solidFill>
                  <a:srgbClr val="000000"/>
                </a:solidFill>
                <a:sym typeface="Arial" charset="0"/>
              </a:endParaRPr>
            </a:p>
          </p:txBody>
        </p:sp>
        <p:sp>
          <p:nvSpPr>
            <p:cNvPr id="69" name="Text Box 433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4452938" y="1766888"/>
              <a:ext cx="796925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r>
                <a:rPr lang="en-US" altLang="en-US" sz="1400" b="1">
                  <a:solidFill>
                    <a:srgbClr val="000000"/>
                  </a:solidFill>
                  <a:sym typeface="Arial" charset="0"/>
                </a:rPr>
                <a:t>Europe</a:t>
              </a:r>
            </a:p>
          </p:txBody>
        </p:sp>
      </p:grpSp>
      <p:grpSp>
        <p:nvGrpSpPr>
          <p:cNvPr id="70" name="Group 4"/>
          <p:cNvGrpSpPr>
            <a:grpSpLocks/>
          </p:cNvGrpSpPr>
          <p:nvPr/>
        </p:nvGrpSpPr>
        <p:grpSpPr bwMode="auto">
          <a:xfrm>
            <a:off x="4938713" y="2939518"/>
            <a:ext cx="1674812" cy="1874837"/>
            <a:chOff x="4938713" y="3351213"/>
            <a:chExt cx="1674812" cy="1874837"/>
          </a:xfrm>
        </p:grpSpPr>
        <p:graphicFrame>
          <p:nvGraphicFramePr>
            <p:cNvPr id="71" name="Object 54"/>
            <p:cNvGraphicFramePr>
              <a:graphicFrameLocks/>
            </p:cNvGraphicFramePr>
            <p:nvPr/>
          </p:nvGraphicFramePr>
          <p:xfrm>
            <a:off x="4938713" y="3552825"/>
            <a:ext cx="1674812" cy="16732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645" name="Chart" r:id="rId43" imgW="1685900" imgH="1685880" progId="MSGraph.Chart.8">
                    <p:embed followColorScheme="full"/>
                  </p:oleObj>
                </mc:Choice>
                <mc:Fallback>
                  <p:oleObj name="Chart" r:id="rId43" imgW="1685900" imgH="168588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938713" y="3552825"/>
                          <a:ext cx="1674812" cy="16732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8097" dir="2700000" algn="ctr" rotWithShape="0">
                                  <a:srgbClr val="000000">
                                    <a:alpha val="74997"/>
                                  </a:srgb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2" name="Rectangle 546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159500" y="4206875"/>
              <a:ext cx="287338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76F097C1-B487-4C95-9855-BAC93737DDBB}" type="datetime'''''''''4''5''%'''''''''''''''">
                <a:rPr lang="en-US" altLang="en-US" sz="1000" b="1">
                  <a:solidFill>
                    <a:srgbClr val="000000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45%</a:t>
              </a:fld>
              <a:endParaRPr lang="en-US" altLang="en-US" sz="1000" b="1">
                <a:solidFill>
                  <a:srgbClr val="000000"/>
                </a:solidFill>
                <a:sym typeface="Arial" charset="0"/>
              </a:endParaRPr>
            </a:p>
          </p:txBody>
        </p:sp>
        <p:sp>
          <p:nvSpPr>
            <p:cNvPr id="73" name="Rectangle 547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208588" y="3892550"/>
              <a:ext cx="287337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buFont typeface="Arial" charset="0"/>
                <a:buNone/>
              </a:pPr>
              <a:fld id="{50132374-A850-4032-BDCF-09906F5098A9}" type="datetime'''''''''2''5''''''''''''''%'''''''''''''''''''''''''">
                <a:rPr lang="en-US" altLang="en-US" sz="1000">
                  <a:solidFill>
                    <a:srgbClr val="000000"/>
                  </a:solidFill>
                  <a:sym typeface="Arial" charset="0"/>
                </a:rPr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buFont typeface="Arial" charset="0"/>
                  <a:buNone/>
                </a:pPr>
                <a:t>25%</a:t>
              </a:fld>
              <a:endParaRPr lang="en-US" altLang="en-US" sz="1000">
                <a:solidFill>
                  <a:srgbClr val="000000"/>
                </a:solidFill>
                <a:sym typeface="Arial" charset="0"/>
              </a:endParaRPr>
            </a:p>
          </p:txBody>
        </p:sp>
        <p:sp>
          <p:nvSpPr>
            <p:cNvPr id="74" name="Rectangle 54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5068888" y="4487863"/>
              <a:ext cx="287337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buFont typeface="Arial" charset="0"/>
                <a:buNone/>
              </a:pPr>
              <a:fld id="{CA907322-34B1-45D4-B51D-D6F8E0E54151}" type="datetime'''10''''''''''''''''''''''''''''%''''''''''''''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buFont typeface="Arial" charset="0"/>
                  <a:buNone/>
                </a:pPr>
                <a:t>10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75" name="Rectangle 54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5278438" y="4773613"/>
              <a:ext cx="287337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4573EC66-E953-4D27-9FE4-797B314DB081}" type="datetime'''''1''''''''''0''''''%''''''''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10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76" name="Rectangle 54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5622925" y="4937125"/>
              <a:ext cx="287338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600B5A60-AB3C-47AD-A4FD-D92EF456F88B}" type="datetime'''''''''''''''''''''''''''''''''''''''1''''''0''''''''''''%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10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77" name="Text Box 434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360988" y="3351213"/>
              <a:ext cx="815975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r>
                <a:rPr lang="en-US" altLang="en-US" sz="1400" b="1">
                  <a:solidFill>
                    <a:srgbClr val="000000"/>
                  </a:solidFill>
                  <a:sym typeface="Arial" charset="0"/>
                </a:rPr>
                <a:t>EEMEA</a:t>
              </a:r>
            </a:p>
          </p:txBody>
        </p:sp>
      </p:grpSp>
      <p:grpSp>
        <p:nvGrpSpPr>
          <p:cNvPr id="78" name="Group 5"/>
          <p:cNvGrpSpPr>
            <a:grpSpLocks/>
          </p:cNvGrpSpPr>
          <p:nvPr/>
        </p:nvGrpSpPr>
        <p:grpSpPr bwMode="auto">
          <a:xfrm>
            <a:off x="6643688" y="2477555"/>
            <a:ext cx="1690687" cy="1892300"/>
            <a:chOff x="6643688" y="2889250"/>
            <a:chExt cx="1690687" cy="1892300"/>
          </a:xfrm>
        </p:grpSpPr>
        <p:graphicFrame>
          <p:nvGraphicFramePr>
            <p:cNvPr id="79" name="Object 55"/>
            <p:cNvGraphicFramePr>
              <a:graphicFrameLocks/>
            </p:cNvGraphicFramePr>
            <p:nvPr/>
          </p:nvGraphicFramePr>
          <p:xfrm>
            <a:off x="6643688" y="3092450"/>
            <a:ext cx="1690687" cy="16891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646" name="Chart" r:id="rId45" imgW="1685900" imgH="1685880" progId="MSGraph.Chart.8">
                    <p:embed followColorScheme="full"/>
                  </p:oleObj>
                </mc:Choice>
                <mc:Fallback>
                  <p:oleObj name="Chart" r:id="rId45" imgW="1685900" imgH="168588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6643688" y="3092450"/>
                          <a:ext cx="1690687" cy="168910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8097" dir="2700000" algn="ctr" rotWithShape="0">
                                  <a:srgbClr val="000000">
                                    <a:alpha val="74997"/>
                                  </a:srgb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0" name="Rectangle 55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6854825" y="3533775"/>
              <a:ext cx="287338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buFont typeface="Arial" charset="0"/>
                <a:buNone/>
              </a:pPr>
              <a:fld id="{5B0480AC-89B4-46CD-B1B3-D0858A9AFF8F}" type="datetime'''3''''''''0''''''''''''''''''''''''''''''''%'''''''''''">
                <a:rPr lang="en-US" altLang="en-US" sz="1000">
                  <a:solidFill>
                    <a:srgbClr val="000000"/>
                  </a:solidFill>
                  <a:sym typeface="Arial" charset="0"/>
                </a:rPr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buFont typeface="Arial" charset="0"/>
                  <a:buNone/>
                </a:pPr>
                <a:t>30%</a:t>
              </a:fld>
              <a:endParaRPr lang="en-US" altLang="en-US" sz="1000">
                <a:solidFill>
                  <a:srgbClr val="000000"/>
                </a:solidFill>
                <a:sym typeface="Arial" charset="0"/>
              </a:endParaRPr>
            </a:p>
          </p:txBody>
        </p:sp>
        <p:sp>
          <p:nvSpPr>
            <p:cNvPr id="81" name="Rectangle 55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7513638" y="4427538"/>
              <a:ext cx="287337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C431F85C-402F-4864-A366-B278F318DDF7}" type="datetime'''2''''''''''''''0''''''''''''''''''''''''''%''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20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82" name="Rectangle 55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7842250" y="3605213"/>
              <a:ext cx="287338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B1E5DAAF-B23F-488A-80B5-91C94BE88965}" type="datetime'''''''''''''''3''''5''''''''''''''%'''''''''''''''''''''''''''">
                <a:rPr lang="en-US" altLang="en-US" sz="1000" b="1">
                  <a:solidFill>
                    <a:srgbClr val="000000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35%</a:t>
              </a:fld>
              <a:endParaRPr lang="en-US" altLang="en-US" sz="1000" b="1">
                <a:solidFill>
                  <a:srgbClr val="000000"/>
                </a:solidFill>
                <a:sym typeface="Arial" charset="0"/>
              </a:endParaRPr>
            </a:p>
          </p:txBody>
        </p:sp>
        <p:sp>
          <p:nvSpPr>
            <p:cNvPr id="83" name="Rectangle 55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815138" y="4141788"/>
              <a:ext cx="217487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buFont typeface="Arial" charset="0"/>
                <a:buNone/>
              </a:pPr>
              <a:fld id="{6412A9EB-5883-4D62-8B9B-0A86DF49D477}" type="datetime'''''''''''''''''''''''''''''''''''''''''''''5''''''''''''%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buFont typeface="Arial" charset="0"/>
                  <a:buNone/>
                </a:pPr>
                <a:t>5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84" name="Rectangle 55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981825" y="4324350"/>
              <a:ext cx="287338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6831CE9B-8511-4BF7-8F63-84D73A85543B}" type="datetime'''''1''''''0''''''''''''''''''''''''''%''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10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85" name="Text Box 435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918325" y="2889250"/>
              <a:ext cx="1181100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r>
                <a:rPr lang="en-US" altLang="en-US" sz="1400" b="1">
                  <a:solidFill>
                    <a:srgbClr val="000000"/>
                  </a:solidFill>
                  <a:sym typeface="Arial" charset="0"/>
                </a:rPr>
                <a:t>Asia Pacific</a:t>
              </a:r>
            </a:p>
          </p:txBody>
        </p:sp>
      </p:grpSp>
      <p:grpSp>
        <p:nvGrpSpPr>
          <p:cNvPr id="86" name="Group 3"/>
          <p:cNvGrpSpPr>
            <a:grpSpLocks/>
          </p:cNvGrpSpPr>
          <p:nvPr/>
        </p:nvGrpSpPr>
        <p:grpSpPr bwMode="auto">
          <a:xfrm>
            <a:off x="715963" y="1766355"/>
            <a:ext cx="1689100" cy="1882775"/>
            <a:chOff x="715963" y="2178050"/>
            <a:chExt cx="1689100" cy="1882775"/>
          </a:xfrm>
        </p:grpSpPr>
        <p:sp>
          <p:nvSpPr>
            <p:cNvPr id="87" name="Text Box 432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49338" y="2178050"/>
              <a:ext cx="1033462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r>
                <a:rPr lang="en-US" altLang="en-US" sz="1400" b="1">
                  <a:solidFill>
                    <a:srgbClr val="000000"/>
                  </a:solidFill>
                  <a:sym typeface="Arial" charset="0"/>
                </a:rPr>
                <a:t> Americas</a:t>
              </a:r>
            </a:p>
          </p:txBody>
        </p:sp>
        <p:graphicFrame>
          <p:nvGraphicFramePr>
            <p:cNvPr id="88" name="Object 56"/>
            <p:cNvGraphicFramePr>
              <a:graphicFrameLocks/>
            </p:cNvGraphicFramePr>
            <p:nvPr/>
          </p:nvGraphicFramePr>
          <p:xfrm>
            <a:off x="715963" y="2371725"/>
            <a:ext cx="1689100" cy="16891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647" name="Chart" r:id="rId47" imgW="1685900" imgH="1685880" progId="MSGraph.Chart.8">
                    <p:embed followColorScheme="full"/>
                  </p:oleObj>
                </mc:Choice>
                <mc:Fallback>
                  <p:oleObj name="Chart" r:id="rId47" imgW="1685900" imgH="168588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715963" y="2371725"/>
                          <a:ext cx="1689100" cy="168910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8097" dir="2700000" algn="ctr" rotWithShape="0">
                                  <a:srgbClr val="000000">
                                    <a:alpha val="74997"/>
                                  </a:srgb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9" name="Rectangle 52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338263" y="2505075"/>
              <a:ext cx="217487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7806B76A-6546-451B-9377-423470344FA9}" type="datetime'5''''''''''''''''''%'''''''''''''''''''''''''''''''''''''">
                <a:rPr lang="en-US" altLang="en-US" sz="1000">
                  <a:solidFill>
                    <a:srgbClr val="000000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5%</a:t>
              </a:fld>
              <a:endParaRPr lang="en-US" altLang="en-US" sz="1000">
                <a:solidFill>
                  <a:srgbClr val="000000"/>
                </a:solidFill>
                <a:sym typeface="Arial" charset="0"/>
              </a:endParaRPr>
            </a:p>
          </p:txBody>
        </p:sp>
        <p:sp>
          <p:nvSpPr>
            <p:cNvPr id="90" name="Rectangle 52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896938" y="2841625"/>
              <a:ext cx="287337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47C02D80-82E1-40EF-861C-2E02CB067A08}" type="datetime'''''''''''''''''''''''''''''''''''''''''''''''''25%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25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91" name="Rectangle 52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655763" y="3668713"/>
              <a:ext cx="287337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28B61431-D18E-4C53-A10B-411B69B2C526}" type="datetime'''''''''''6''0''''''''%'''''''">
                <a:rPr lang="en-US" altLang="en-US" sz="1000">
                  <a:solidFill>
                    <a:srgbClr val="FFFFFF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60%</a:t>
              </a:fld>
              <a:endParaRPr lang="en-US" altLang="en-US" sz="1000">
                <a:solidFill>
                  <a:srgbClr val="FFFFFF"/>
                </a:solidFill>
                <a:sym typeface="Arial" charset="0"/>
              </a:endParaRPr>
            </a:p>
          </p:txBody>
        </p:sp>
        <p:sp>
          <p:nvSpPr>
            <p:cNvPr id="92" name="Rectangle 52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655763" y="2592388"/>
              <a:ext cx="287337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7462" tIns="0" rIns="17462" bIns="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buFont typeface="Arial" charset="0"/>
                <a:buNone/>
              </a:pPr>
              <a:fld id="{BC1DB92E-91F6-4AAB-BD10-A9A8B4308881}" type="datetime'1''''''''''5%'''''''''''''''''">
                <a:rPr lang="en-US" altLang="en-US" sz="1000" b="1">
                  <a:solidFill>
                    <a:srgbClr val="000000"/>
                  </a:solidFill>
                  <a:sym typeface="Arial" charset="0"/>
                </a:rPr>
                <a:pPr algn="ctr" eaLnBrk="1" hangingPunct="1">
                  <a:buFont typeface="Arial" charset="0"/>
                  <a:buNone/>
                </a:pPr>
                <a:t>15%</a:t>
              </a:fld>
              <a:endParaRPr lang="en-US" altLang="en-US" sz="1000" b="1">
                <a:solidFill>
                  <a:srgbClr val="000000"/>
                </a:solidFill>
                <a:sym typeface="Arial" charset="0"/>
              </a:endParaRPr>
            </a:p>
          </p:txBody>
        </p:sp>
      </p:grpSp>
      <p:sp>
        <p:nvSpPr>
          <p:cNvPr id="93" name="dpic_source"/>
          <p:cNvSpPr txBox="1">
            <a:spLocks noChangeArrowheads="1"/>
          </p:cNvSpPr>
          <p:nvPr/>
        </p:nvSpPr>
        <p:spPr bwMode="gray">
          <a:xfrm>
            <a:off x="427033" y="5892004"/>
            <a:ext cx="8367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800" dirty="0">
                <a:solidFill>
                  <a:srgbClr val="000000"/>
                </a:solidFill>
              </a:rPr>
              <a:t>*2009 | TDI market value per reg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buClr>
                <a:srgbClr val="D40511"/>
              </a:buClr>
            </a:pPr>
            <a:r>
              <a:rPr lang="en-US" dirty="0" smtClean="0">
                <a:solidFill>
                  <a:srgbClr val="D40511"/>
                </a:solidFill>
                <a:latin typeface="Arial" charset="0"/>
                <a:ea typeface="ＭＳ Ｐゴシック" charset="0"/>
                <a:cs typeface="Arial" charset="0"/>
                <a:sym typeface="Arial" charset="0"/>
              </a:rPr>
              <a:t>Experience, unparalleled infrastructure and great people</a:t>
            </a:r>
            <a:endParaRPr lang="en-US" dirty="0">
              <a:solidFill>
                <a:srgbClr val="D40511"/>
              </a:solidFill>
              <a:latin typeface="Arial" charset="0"/>
              <a:ea typeface="ＭＳ Ｐゴシック" charset="0"/>
              <a:cs typeface="Arial" charset="0"/>
              <a:sym typeface="Arial" charset="0"/>
            </a:endParaRPr>
          </a:p>
        </p:txBody>
      </p:sp>
      <p:grpSp>
        <p:nvGrpSpPr>
          <p:cNvPr id="28" name="Group 33"/>
          <p:cNvGrpSpPr>
            <a:grpSpLocks/>
          </p:cNvGrpSpPr>
          <p:nvPr/>
        </p:nvGrpSpPr>
        <p:grpSpPr bwMode="auto">
          <a:xfrm>
            <a:off x="428245" y="1109659"/>
            <a:ext cx="8303430" cy="4907360"/>
            <a:chOff x="356" y="724"/>
            <a:chExt cx="5269" cy="3114"/>
          </a:xfrm>
        </p:grpSpPr>
        <p:sp>
          <p:nvSpPr>
            <p:cNvPr id="29" name="Rectangle 28"/>
            <p:cNvSpPr>
              <a:spLocks noChangeArrowheads="1"/>
            </p:cNvSpPr>
            <p:nvPr/>
          </p:nvSpPr>
          <p:spPr bwMode="gray">
            <a:xfrm>
              <a:off x="356" y="802"/>
              <a:ext cx="1288" cy="2024"/>
            </a:xfrm>
            <a:prstGeom prst="rect">
              <a:avLst/>
            </a:pr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algn="ctr"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500" b="1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37</a:t>
              </a:r>
              <a:endParaRPr lang="en-US" sz="11500" b="1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algn="ctr"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Years in Africa as Leader &amp; Pioneer</a:t>
              </a: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gray">
            <a:xfrm>
              <a:off x="1670" y="802"/>
              <a:ext cx="1287" cy="2024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en-US" sz="11500" b="1">
                  <a:solidFill>
                    <a:srgbClr val="D40511"/>
                  </a:solidFill>
                </a:rPr>
                <a:t>51</a:t>
              </a:r>
            </a:p>
            <a:p>
              <a:pPr algn="ctr"/>
              <a:r>
                <a:rPr lang="en-US" altLang="en-US">
                  <a:solidFill>
                    <a:srgbClr val="D40511"/>
                  </a:solidFill>
                </a:rPr>
                <a:t>Countries &amp; Territories</a:t>
              </a: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gray">
            <a:xfrm>
              <a:off x="2983" y="802"/>
              <a:ext cx="1289" cy="993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algn="ctr"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b="1" dirty="0" smtClean="0">
                  <a:solidFill>
                    <a:srgbClr val="D40511"/>
                  </a:solidFill>
                  <a:latin typeface="+mn-lt"/>
                  <a:cs typeface="+mn-cs"/>
                </a:rPr>
                <a:t>3,800</a:t>
              </a:r>
              <a:endParaRPr lang="en-US" sz="5400" b="1" dirty="0">
                <a:solidFill>
                  <a:srgbClr val="D40511"/>
                </a:solidFill>
                <a:latin typeface="+mn-lt"/>
                <a:cs typeface="+mn-cs"/>
              </a:endParaRPr>
            </a:p>
            <a:p>
              <a:pPr algn="ctr"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srgbClr val="D40511"/>
                  </a:solidFill>
                  <a:latin typeface="+mn-lt"/>
                  <a:cs typeface="+mn-cs"/>
                </a:rPr>
                <a:t>Retail Service Points</a:t>
              </a: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gray">
            <a:xfrm>
              <a:off x="2983" y="1816"/>
              <a:ext cx="1289" cy="101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algn="ctr"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54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1,250</a:t>
              </a:r>
            </a:p>
            <a:p>
              <a:pPr algn="ctr"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Vehicles</a:t>
              </a:r>
              <a:endParaRPr lang="en-US" sz="2000" b="1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gray">
            <a:xfrm>
              <a:off x="4297" y="801"/>
              <a:ext cx="1317" cy="2025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algn="ctr"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200" b="1" dirty="0">
                <a:solidFill>
                  <a:srgbClr val="FFFFFF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TextBox 16"/>
            <p:cNvSpPr txBox="1">
              <a:spLocks noChangeArrowheads="1"/>
            </p:cNvSpPr>
            <p:nvPr/>
          </p:nvSpPr>
          <p:spPr bwMode="gray">
            <a:xfrm>
              <a:off x="4305" y="1941"/>
              <a:ext cx="128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altLang="en-US" sz="5400" b="1" dirty="0">
                  <a:solidFill>
                    <a:srgbClr val="D40511"/>
                  </a:solidFill>
                </a:rPr>
                <a:t>400</a:t>
              </a:r>
            </a:p>
          </p:txBody>
        </p:sp>
        <p:sp>
          <p:nvSpPr>
            <p:cNvPr id="35" name="TextBox 34"/>
            <p:cNvSpPr txBox="1">
              <a:spLocks noChangeArrowheads="1"/>
            </p:cNvSpPr>
            <p:nvPr/>
          </p:nvSpPr>
          <p:spPr bwMode="gray">
            <a:xfrm>
              <a:off x="4297" y="1778"/>
              <a:ext cx="1328" cy="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schemeClr val="accent4"/>
                  </a:solidFill>
                  <a:latin typeface="+mn-lt"/>
                  <a:ea typeface="+mn-ea"/>
                  <a:cs typeface="+mn-cs"/>
                </a:rPr>
                <a:t>Dedicated Aircraft</a:t>
              </a:r>
            </a:p>
          </p:txBody>
        </p:sp>
        <p:sp>
          <p:nvSpPr>
            <p:cNvPr id="36" name="TextBox 35"/>
            <p:cNvSpPr txBox="1">
              <a:spLocks noChangeArrowheads="1"/>
            </p:cNvSpPr>
            <p:nvPr/>
          </p:nvSpPr>
          <p:spPr bwMode="gray">
            <a:xfrm>
              <a:off x="4305" y="2408"/>
              <a:ext cx="1280" cy="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schemeClr val="accent4"/>
                  </a:solidFill>
                  <a:latin typeface="+mn-lt"/>
                  <a:ea typeface="+mn-ea"/>
                  <a:cs typeface="+mn-cs"/>
                </a:rPr>
                <a:t>Commercial Flights</a:t>
              </a:r>
            </a:p>
          </p:txBody>
        </p:sp>
        <p:sp>
          <p:nvSpPr>
            <p:cNvPr id="37" name="TextBox 4"/>
            <p:cNvSpPr txBox="1">
              <a:spLocks noChangeArrowheads="1"/>
            </p:cNvSpPr>
            <p:nvPr/>
          </p:nvSpPr>
          <p:spPr bwMode="gray">
            <a:xfrm>
              <a:off x="4305" y="724"/>
              <a:ext cx="1280" cy="11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altLang="en-US" sz="11500" b="1" dirty="0" smtClean="0">
                  <a:solidFill>
                    <a:srgbClr val="D40511"/>
                  </a:solidFill>
                </a:rPr>
                <a:t>15</a:t>
              </a:r>
              <a:endParaRPr lang="en-US" altLang="en-US" sz="11500" b="1" dirty="0">
                <a:solidFill>
                  <a:srgbClr val="D40511"/>
                </a:solidFill>
              </a:endParaRPr>
            </a:p>
          </p:txBody>
        </p:sp>
        <p:grpSp>
          <p:nvGrpSpPr>
            <p:cNvPr id="38" name="Group 37"/>
            <p:cNvGrpSpPr>
              <a:grpSpLocks/>
            </p:cNvGrpSpPr>
            <p:nvPr/>
          </p:nvGrpSpPr>
          <p:grpSpPr bwMode="auto">
            <a:xfrm>
              <a:off x="356" y="2855"/>
              <a:ext cx="1288" cy="972"/>
              <a:chOff x="85818" y="4726660"/>
              <a:chExt cx="2169939" cy="1622943"/>
            </a:xfrm>
          </p:grpSpPr>
          <p:sp>
            <p:nvSpPr>
              <p:cNvPr id="47" name="Rectangle 5"/>
              <p:cNvSpPr>
                <a:spLocks noChangeArrowheads="1"/>
              </p:cNvSpPr>
              <p:nvPr/>
            </p:nvSpPr>
            <p:spPr bwMode="gray">
              <a:xfrm>
                <a:off x="85818" y="4726660"/>
                <a:ext cx="2169939" cy="1622943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44000" tIns="144000" rIns="144000" bIns="144000" anchor="ctr"/>
              <a:lstStyle>
                <a:lvl1pPr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/>
                <a:endParaRPr lang="en-US" altLang="en-US" sz="5400" b="1">
                  <a:solidFill>
                    <a:srgbClr val="FF0000"/>
                  </a:solidFill>
                </a:endParaRPr>
              </a:p>
            </p:txBody>
          </p:sp>
          <p:sp>
            <p:nvSpPr>
              <p:cNvPr id="48" name="TextBox 17"/>
              <p:cNvSpPr txBox="1">
                <a:spLocks noChangeArrowheads="1"/>
              </p:cNvSpPr>
              <p:nvPr/>
            </p:nvSpPr>
            <p:spPr bwMode="gray">
              <a:xfrm>
                <a:off x="85818" y="5673377"/>
                <a:ext cx="2156565" cy="6745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>
                    <a:solidFill>
                      <a:srgbClr val="C00000"/>
                    </a:solidFill>
                  </a:rPr>
                  <a:t>First Office in South Africa</a:t>
                </a:r>
              </a:p>
            </p:txBody>
          </p:sp>
          <p:sp>
            <p:nvSpPr>
              <p:cNvPr id="49" name="TextBox 20"/>
              <p:cNvSpPr txBox="1">
                <a:spLocks noChangeArrowheads="1"/>
              </p:cNvSpPr>
              <p:nvPr/>
            </p:nvSpPr>
            <p:spPr bwMode="gray">
              <a:xfrm>
                <a:off x="99192" y="4750036"/>
                <a:ext cx="2156565" cy="9617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5400" b="1">
                    <a:solidFill>
                      <a:srgbClr val="C00000"/>
                    </a:solidFill>
                  </a:rPr>
                  <a:t>1978</a:t>
                </a:r>
              </a:p>
            </p:txBody>
          </p:sp>
        </p:grpSp>
        <p:grpSp>
          <p:nvGrpSpPr>
            <p:cNvPr id="39" name="Group 38"/>
            <p:cNvGrpSpPr>
              <a:grpSpLocks/>
            </p:cNvGrpSpPr>
            <p:nvPr/>
          </p:nvGrpSpPr>
          <p:grpSpPr bwMode="auto">
            <a:xfrm>
              <a:off x="1670" y="2855"/>
              <a:ext cx="1287" cy="983"/>
              <a:chOff x="2340901" y="4726660"/>
              <a:chExt cx="2169939" cy="1641310"/>
            </a:xfrm>
          </p:grpSpPr>
          <p:sp>
            <p:nvSpPr>
              <p:cNvPr id="44" name="Rectangle 7"/>
              <p:cNvSpPr>
                <a:spLocks noChangeArrowheads="1"/>
              </p:cNvSpPr>
              <p:nvPr/>
            </p:nvSpPr>
            <p:spPr bwMode="gray">
              <a:xfrm>
                <a:off x="2340901" y="4726660"/>
                <a:ext cx="2169939" cy="1622943"/>
              </a:xfrm>
              <a:prstGeom prst="rect">
                <a:avLst/>
              </a:prstGeom>
              <a:solidFill>
                <a:srgbClr val="D405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44000" tIns="144000" rIns="144000" bIns="144000" anchor="ctr"/>
              <a:lstStyle>
                <a:lvl1pPr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/>
                <a:endParaRPr lang="en-US" altLang="en-US" sz="54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TextBox 19"/>
              <p:cNvSpPr txBox="1">
                <a:spLocks noChangeArrowheads="1"/>
              </p:cNvSpPr>
              <p:nvPr/>
            </p:nvSpPr>
            <p:spPr bwMode="gray">
              <a:xfrm>
                <a:off x="2354285" y="5579874"/>
                <a:ext cx="2156555" cy="7880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</a:pPr>
                <a:r>
                  <a:rPr lang="en-US" altLang="en-US">
                    <a:solidFill>
                      <a:schemeClr val="bg1"/>
                    </a:solidFill>
                  </a:rPr>
                  <a:t>Certified International Specialists</a:t>
                </a:r>
              </a:p>
            </p:txBody>
          </p:sp>
          <p:sp>
            <p:nvSpPr>
              <p:cNvPr id="46" name="TextBox 45"/>
              <p:cNvSpPr txBox="1">
                <a:spLocks noChangeArrowheads="1"/>
              </p:cNvSpPr>
              <p:nvPr/>
            </p:nvSpPr>
            <p:spPr bwMode="gray">
              <a:xfrm>
                <a:off x="2354285" y="4750036"/>
                <a:ext cx="2156555" cy="9617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5400" b="1">
                    <a:solidFill>
                      <a:srgbClr val="FFFFFF"/>
                    </a:solidFill>
                  </a:rPr>
                  <a:t>3,500</a:t>
                </a:r>
              </a:p>
            </p:txBody>
          </p:sp>
        </p:grpSp>
        <p:grpSp>
          <p:nvGrpSpPr>
            <p:cNvPr id="40" name="Group 24"/>
            <p:cNvGrpSpPr>
              <a:grpSpLocks/>
            </p:cNvGrpSpPr>
            <p:nvPr/>
          </p:nvGrpSpPr>
          <p:grpSpPr bwMode="auto">
            <a:xfrm>
              <a:off x="2983" y="2855"/>
              <a:ext cx="2631" cy="972"/>
              <a:chOff x="4612445" y="4726660"/>
              <a:chExt cx="4429749" cy="1622943"/>
            </a:xfrm>
          </p:grpSpPr>
          <p:sp>
            <p:nvSpPr>
              <p:cNvPr id="41" name="Rectangle 11"/>
              <p:cNvSpPr>
                <a:spLocks noChangeArrowheads="1"/>
              </p:cNvSpPr>
              <p:nvPr/>
            </p:nvSpPr>
            <p:spPr bwMode="gray">
              <a:xfrm>
                <a:off x="4612445" y="4726660"/>
                <a:ext cx="4429749" cy="1622943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44000" tIns="144000" rIns="144000" bIns="144000" anchor="ctr"/>
              <a:lstStyle>
                <a:lvl1pPr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/>
                <a:endParaRPr lang="en-US" altLang="en-US" sz="4000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TextBox 22"/>
              <p:cNvSpPr txBox="1">
                <a:spLocks noChangeArrowheads="1"/>
              </p:cNvSpPr>
              <p:nvPr/>
            </p:nvSpPr>
            <p:spPr bwMode="gray">
              <a:xfrm>
                <a:off x="4612445" y="4726660"/>
                <a:ext cx="4429749" cy="9617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5400" b="1">
                    <a:solidFill>
                      <a:srgbClr val="C00000"/>
                    </a:solidFill>
                  </a:rPr>
                  <a:t>16,000</a:t>
                </a:r>
              </a:p>
            </p:txBody>
          </p:sp>
          <p:sp>
            <p:nvSpPr>
              <p:cNvPr id="43" name="TextBox 23"/>
              <p:cNvSpPr txBox="1">
                <a:spLocks noChangeArrowheads="1"/>
              </p:cNvSpPr>
              <p:nvPr/>
            </p:nvSpPr>
            <p:spPr bwMode="gray">
              <a:xfrm>
                <a:off x="4612445" y="5648331"/>
                <a:ext cx="4429749" cy="5576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</a:pPr>
                <a:r>
                  <a:rPr lang="en-US" altLang="en-US">
                    <a:solidFill>
                      <a:srgbClr val="C00000"/>
                    </a:solidFill>
                  </a:rPr>
                  <a:t>Active Customers and </a:t>
                </a:r>
              </a:p>
              <a:p>
                <a:pPr algn="ctr" eaLnBrk="1" hangingPunct="1">
                  <a:lnSpc>
                    <a:spcPct val="80000"/>
                  </a:lnSpc>
                </a:pPr>
                <a:r>
                  <a:rPr lang="en-US" altLang="en-US">
                    <a:solidFill>
                      <a:srgbClr val="C00000"/>
                    </a:solidFill>
                  </a:rPr>
                  <a:t>Thousands of Cash Customers</a:t>
                </a:r>
              </a:p>
            </p:txBody>
          </p:sp>
        </p:grpSp>
      </p:grpSp>
      <p:sp>
        <p:nvSpPr>
          <p:cNvPr id="13" name="Footer Placeholder 1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Undisputed leader in Africa</a:t>
            </a:r>
          </a:p>
        </p:txBody>
      </p:sp>
      <p:pic>
        <p:nvPicPr>
          <p:cNvPr id="9" name="Picture 1" descr="Ssa_people1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" t="3314" r="6" b="10182"/>
          <a:stretch/>
        </p:blipFill>
        <p:spPr bwMode="gray">
          <a:xfrm>
            <a:off x="5286179" y="3228975"/>
            <a:ext cx="3456184" cy="277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5286375" y="1253593"/>
            <a:ext cx="3455988" cy="1869020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gray">
          <a:xfrm>
            <a:off x="5334908" y="1286930"/>
            <a:ext cx="3369355" cy="1791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95363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40 fully owned </a:t>
            </a:r>
            <a:r>
              <a:rPr lang="en-US" sz="28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ubsidiaries </a:t>
            </a:r>
          </a:p>
          <a:p>
            <a:pPr defTabSz="995363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11 agencies</a:t>
            </a:r>
          </a:p>
        </p:txBody>
      </p:sp>
      <p:pic>
        <p:nvPicPr>
          <p:cNvPr id="13" name="Picture 1" descr="SSA-map_agents-fully-owned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3331" y="1168400"/>
            <a:ext cx="4949677" cy="4836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buClr>
                <a:srgbClr val="D40511"/>
              </a:buClr>
            </a:pPr>
            <a:r>
              <a:rPr lang="en-US" dirty="0" smtClean="0">
                <a:solidFill>
                  <a:srgbClr val="D40511"/>
                </a:solidFill>
                <a:latin typeface="Arial" charset="0"/>
                <a:ea typeface="ＭＳ Ｐゴシック" charset="0"/>
                <a:cs typeface="Arial" charset="0"/>
                <a:sym typeface="Arial" charset="0"/>
              </a:rPr>
              <a:t>Unparalleled infrastructure and best in class operations</a:t>
            </a:r>
            <a:endParaRPr lang="en-US" dirty="0">
              <a:solidFill>
                <a:srgbClr val="D40511"/>
              </a:solidFill>
              <a:latin typeface="Arial" charset="0"/>
              <a:ea typeface="ＭＳ Ｐゴシック" charset="0"/>
              <a:cs typeface="Arial" charset="0"/>
              <a:sym typeface="Arial" charset="0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gray">
          <a:xfrm>
            <a:off x="419100" y="4862182"/>
            <a:ext cx="2719388" cy="1131888"/>
          </a:xfrm>
          <a:prstGeom prst="rect">
            <a:avLst/>
          </a:prstGeom>
          <a:solidFill>
            <a:srgbClr val="D4051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44000" tIns="144000" rIns="144000" bIns="144000" anchor="b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5 hubs at </a:t>
            </a: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the core of </a:t>
            </a: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our operations</a:t>
            </a:r>
          </a:p>
        </p:txBody>
      </p:sp>
      <p:pic>
        <p:nvPicPr>
          <p:cNvPr id="23" name="Picture 10" descr="SSA-map_africa-update-nov-2013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05842" y="1261531"/>
            <a:ext cx="5627691" cy="4774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5286375" y="1253064"/>
            <a:ext cx="3449601" cy="551923"/>
            <a:chOff x="5286375" y="1253064"/>
            <a:chExt cx="3449601" cy="622681"/>
          </a:xfrm>
        </p:grpSpPr>
        <p:sp>
          <p:nvSpPr>
            <p:cNvPr id="25" name="TextBox 24"/>
            <p:cNvSpPr txBox="1">
              <a:spLocks noChangeArrowheads="1"/>
            </p:cNvSpPr>
            <p:nvPr/>
          </p:nvSpPr>
          <p:spPr bwMode="gray">
            <a:xfrm>
              <a:off x="6666215" y="1253064"/>
              <a:ext cx="2069761" cy="62268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lIns="5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 dirty="0"/>
                <a:t>Transit Performance</a:t>
              </a:r>
            </a:p>
          </p:txBody>
        </p:sp>
        <p:sp>
          <p:nvSpPr>
            <p:cNvPr id="32" name="Rectangle 15"/>
            <p:cNvSpPr>
              <a:spLocks noChangeArrowheads="1"/>
            </p:cNvSpPr>
            <p:nvPr/>
          </p:nvSpPr>
          <p:spPr bwMode="gray">
            <a:xfrm>
              <a:off x="5286375" y="1253064"/>
              <a:ext cx="1371893" cy="622681"/>
            </a:xfrm>
            <a:prstGeom prst="rect">
              <a:avLst/>
            </a:prstGeom>
            <a:solidFill>
              <a:srgbClr val="D40511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en-US" sz="2000" dirty="0">
                  <a:solidFill>
                    <a:srgbClr val="FFFFFF"/>
                  </a:solidFill>
                </a:rPr>
                <a:t>&gt;95%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286375" y="1853139"/>
            <a:ext cx="3449601" cy="551923"/>
            <a:chOff x="5286375" y="1943188"/>
            <a:chExt cx="3449601" cy="622681"/>
          </a:xfrm>
        </p:grpSpPr>
        <p:sp>
          <p:nvSpPr>
            <p:cNvPr id="26" name="TextBox 25"/>
            <p:cNvSpPr txBox="1">
              <a:spLocks noChangeArrowheads="1"/>
            </p:cNvSpPr>
            <p:nvPr/>
          </p:nvSpPr>
          <p:spPr bwMode="gray">
            <a:xfrm>
              <a:off x="6666215" y="1943188"/>
              <a:ext cx="2069761" cy="62268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lIns="5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/>
                <a:t>Pre noon city delivery </a:t>
              </a:r>
            </a:p>
          </p:txBody>
        </p:sp>
        <p:sp>
          <p:nvSpPr>
            <p:cNvPr id="33" name="Rectangle 16"/>
            <p:cNvSpPr>
              <a:spLocks noChangeArrowheads="1"/>
            </p:cNvSpPr>
            <p:nvPr/>
          </p:nvSpPr>
          <p:spPr bwMode="gray">
            <a:xfrm>
              <a:off x="5286375" y="1943188"/>
              <a:ext cx="1371893" cy="622681"/>
            </a:xfrm>
            <a:prstGeom prst="rect">
              <a:avLst/>
            </a:prstGeom>
            <a:solidFill>
              <a:srgbClr val="D40511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en-US" sz="2000" dirty="0">
                  <a:solidFill>
                    <a:srgbClr val="FFFFFF"/>
                  </a:solidFill>
                </a:rPr>
                <a:t>&gt;90%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286375" y="2453214"/>
            <a:ext cx="3449601" cy="551923"/>
            <a:chOff x="5286375" y="2633313"/>
            <a:chExt cx="3449601" cy="622681"/>
          </a:xfrm>
        </p:grpSpPr>
        <p:sp>
          <p:nvSpPr>
            <p:cNvPr id="27" name="TextBox 26"/>
            <p:cNvSpPr txBox="1">
              <a:spLocks noChangeArrowheads="1"/>
            </p:cNvSpPr>
            <p:nvPr/>
          </p:nvSpPr>
          <p:spPr bwMode="gray">
            <a:xfrm>
              <a:off x="6666215" y="2633313"/>
              <a:ext cx="2069761" cy="62268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lIns="5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/>
                <a:t>Quality Control Center</a:t>
              </a:r>
            </a:p>
          </p:txBody>
        </p:sp>
        <p:sp>
          <p:nvSpPr>
            <p:cNvPr id="42" name="Rectangle 17"/>
            <p:cNvSpPr>
              <a:spLocks noChangeArrowheads="1"/>
            </p:cNvSpPr>
            <p:nvPr/>
          </p:nvSpPr>
          <p:spPr bwMode="gray">
            <a:xfrm>
              <a:off x="5286375" y="2633313"/>
              <a:ext cx="1371893" cy="622681"/>
            </a:xfrm>
            <a:prstGeom prst="rect">
              <a:avLst/>
            </a:prstGeom>
            <a:solidFill>
              <a:srgbClr val="D40511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en-US" sz="2000" dirty="0">
                  <a:solidFill>
                    <a:srgbClr val="FFFFFF"/>
                  </a:solidFill>
                </a:rPr>
                <a:t>QCC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286375" y="3053289"/>
            <a:ext cx="3449601" cy="551923"/>
            <a:chOff x="5286375" y="3310890"/>
            <a:chExt cx="3449601" cy="622681"/>
          </a:xfrm>
        </p:grpSpPr>
        <p:sp>
          <p:nvSpPr>
            <p:cNvPr id="29" name="TextBox 28"/>
            <p:cNvSpPr txBox="1">
              <a:spLocks noChangeArrowheads="1"/>
            </p:cNvSpPr>
            <p:nvPr/>
          </p:nvSpPr>
          <p:spPr bwMode="gray">
            <a:xfrm>
              <a:off x="6666215" y="3310890"/>
              <a:ext cx="2069761" cy="62268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lIns="54000" rIns="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/>
                <a:t>TAPA certified facilities with more on the way</a:t>
              </a:r>
            </a:p>
          </p:txBody>
        </p:sp>
        <p:sp>
          <p:nvSpPr>
            <p:cNvPr id="43" name="Rectangle 18"/>
            <p:cNvSpPr>
              <a:spLocks noChangeArrowheads="1"/>
            </p:cNvSpPr>
            <p:nvPr/>
          </p:nvSpPr>
          <p:spPr bwMode="gray">
            <a:xfrm>
              <a:off x="5286375" y="3310890"/>
              <a:ext cx="1371893" cy="622681"/>
            </a:xfrm>
            <a:prstGeom prst="rect">
              <a:avLst/>
            </a:prstGeom>
            <a:solidFill>
              <a:srgbClr val="D40511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FFFFFF"/>
                  </a:solidFill>
                </a:rPr>
                <a:t>19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286375" y="3653364"/>
            <a:ext cx="3449601" cy="551923"/>
            <a:chOff x="5286375" y="4015131"/>
            <a:chExt cx="3449601" cy="622681"/>
          </a:xfrm>
        </p:grpSpPr>
        <p:sp>
          <p:nvSpPr>
            <p:cNvPr id="30" name="TextBox 29"/>
            <p:cNvSpPr txBox="1">
              <a:spLocks noChangeArrowheads="1"/>
            </p:cNvSpPr>
            <p:nvPr/>
          </p:nvSpPr>
          <p:spPr bwMode="gray">
            <a:xfrm>
              <a:off x="6666215" y="4015131"/>
              <a:ext cx="2069761" cy="62268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lIns="5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/>
                <a:t>Cleared on arrival</a:t>
              </a:r>
            </a:p>
          </p:txBody>
        </p:sp>
        <p:sp>
          <p:nvSpPr>
            <p:cNvPr id="44" name="Rectangle 19"/>
            <p:cNvSpPr>
              <a:spLocks noChangeArrowheads="1"/>
            </p:cNvSpPr>
            <p:nvPr/>
          </p:nvSpPr>
          <p:spPr bwMode="gray">
            <a:xfrm>
              <a:off x="5286375" y="4015131"/>
              <a:ext cx="1371893" cy="622681"/>
            </a:xfrm>
            <a:prstGeom prst="rect">
              <a:avLst/>
            </a:prstGeom>
            <a:solidFill>
              <a:srgbClr val="D40511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en-US" sz="2000" dirty="0">
                  <a:solidFill>
                    <a:srgbClr val="FFFFFF"/>
                  </a:solidFill>
                </a:rPr>
                <a:t>&gt; 70%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286375" y="4253439"/>
            <a:ext cx="3449601" cy="551923"/>
            <a:chOff x="5286375" y="4697412"/>
            <a:chExt cx="3449601" cy="622681"/>
          </a:xfrm>
        </p:grpSpPr>
        <p:sp>
          <p:nvSpPr>
            <p:cNvPr id="31" name="TextBox 30"/>
            <p:cNvSpPr txBox="1">
              <a:spLocks noChangeArrowheads="1"/>
            </p:cNvSpPr>
            <p:nvPr/>
          </p:nvSpPr>
          <p:spPr bwMode="gray">
            <a:xfrm>
              <a:off x="6666215" y="4697412"/>
              <a:ext cx="2069761" cy="62268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lIns="5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 dirty="0"/>
                <a:t>Million shipments</a:t>
              </a:r>
            </a:p>
          </p:txBody>
        </p:sp>
        <p:sp>
          <p:nvSpPr>
            <p:cNvPr id="45" name="Rectangle 27"/>
            <p:cNvSpPr>
              <a:spLocks noChangeArrowheads="1"/>
            </p:cNvSpPr>
            <p:nvPr/>
          </p:nvSpPr>
          <p:spPr bwMode="gray">
            <a:xfrm>
              <a:off x="5286375" y="4697412"/>
              <a:ext cx="1371893" cy="622681"/>
            </a:xfrm>
            <a:prstGeom prst="rect">
              <a:avLst/>
            </a:prstGeom>
            <a:solidFill>
              <a:srgbClr val="D40511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en-US" sz="2000">
                  <a:solidFill>
                    <a:srgbClr val="FFFFFF"/>
                  </a:solidFill>
                </a:rPr>
                <a:t>12.5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286375" y="5453590"/>
            <a:ext cx="3449601" cy="551923"/>
            <a:chOff x="5286375" y="5382832"/>
            <a:chExt cx="3449601" cy="622681"/>
          </a:xfrm>
        </p:grpSpPr>
        <p:sp>
          <p:nvSpPr>
            <p:cNvPr id="46" name="Rectangle 28"/>
            <p:cNvSpPr>
              <a:spLocks noChangeArrowheads="1"/>
            </p:cNvSpPr>
            <p:nvPr/>
          </p:nvSpPr>
          <p:spPr bwMode="gray">
            <a:xfrm>
              <a:off x="5286375" y="5382832"/>
              <a:ext cx="1371893" cy="622681"/>
            </a:xfrm>
            <a:prstGeom prst="rect">
              <a:avLst/>
            </a:prstGeom>
            <a:solidFill>
              <a:srgbClr val="D40511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en-US" sz="2000" dirty="0" smtClean="0">
                  <a:solidFill>
                    <a:srgbClr val="FFFFFF"/>
                  </a:solidFill>
                </a:rPr>
                <a:t>&gt; 80</a:t>
              </a:r>
              <a:r>
                <a:rPr lang="en-US" altLang="en-US" sz="2000" dirty="0">
                  <a:solidFill>
                    <a:srgbClr val="FFFFFF"/>
                  </a:solidFill>
                </a:rPr>
                <a:t>%</a:t>
              </a:r>
            </a:p>
          </p:txBody>
        </p:sp>
        <p:sp>
          <p:nvSpPr>
            <p:cNvPr id="47" name="TextBox 46"/>
            <p:cNvSpPr txBox="1">
              <a:spLocks noChangeArrowheads="1"/>
            </p:cNvSpPr>
            <p:nvPr/>
          </p:nvSpPr>
          <p:spPr bwMode="gray">
            <a:xfrm>
              <a:off x="6666215" y="5382832"/>
              <a:ext cx="2069761" cy="62268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lIns="5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 dirty="0"/>
                <a:t>Pick Up within 60 minutes of booking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286375" y="4853514"/>
            <a:ext cx="3449601" cy="551923"/>
            <a:chOff x="5286375" y="5008752"/>
            <a:chExt cx="3449601" cy="622681"/>
          </a:xfrm>
        </p:grpSpPr>
        <p:sp>
          <p:nvSpPr>
            <p:cNvPr id="48" name="Rectangle 28"/>
            <p:cNvSpPr>
              <a:spLocks noChangeArrowheads="1"/>
            </p:cNvSpPr>
            <p:nvPr/>
          </p:nvSpPr>
          <p:spPr bwMode="gray">
            <a:xfrm>
              <a:off x="5286375" y="5008752"/>
              <a:ext cx="1371893" cy="622681"/>
            </a:xfrm>
            <a:prstGeom prst="rect">
              <a:avLst/>
            </a:prstGeom>
            <a:solidFill>
              <a:srgbClr val="D40511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144000" rIns="144000" bIns="144000" anchor="ctr"/>
            <a:lstStyle>
              <a:lvl1pPr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99536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953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US" altLang="en-US" sz="2000" dirty="0">
                  <a:solidFill>
                    <a:srgbClr val="FFFFFF"/>
                  </a:solidFill>
                </a:rPr>
                <a:t>56</a:t>
              </a:r>
            </a:p>
          </p:txBody>
        </p:sp>
        <p:sp>
          <p:nvSpPr>
            <p:cNvPr id="49" name="TextBox 48"/>
            <p:cNvSpPr txBox="1">
              <a:spLocks noChangeArrowheads="1"/>
            </p:cNvSpPr>
            <p:nvPr/>
          </p:nvSpPr>
          <p:spPr bwMode="gray">
            <a:xfrm>
              <a:off x="6666215" y="5008752"/>
              <a:ext cx="2069761" cy="622681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 lIns="5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/>
                <a:t>Million Tones</a:t>
              </a:r>
            </a:p>
          </p:txBody>
        </p:sp>
      </p:grpSp>
      <p:sp>
        <p:nvSpPr>
          <p:cNvPr id="12" name="Footer Placeholder 1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Rectangle 3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buClr>
                <a:srgbClr val="D40511"/>
              </a:buClr>
            </a:pPr>
            <a:r>
              <a:rPr lang="en-US" dirty="0" smtClean="0">
                <a:solidFill>
                  <a:srgbClr val="D40511"/>
                </a:solidFill>
                <a:latin typeface="Arial" charset="0"/>
                <a:ea typeface="ＭＳ Ｐゴシック" charset="0"/>
                <a:cs typeface="Arial" charset="0"/>
                <a:sym typeface="Arial" charset="0"/>
              </a:rPr>
              <a:t>Connecting Africa with the World and the World with Africa</a:t>
            </a:r>
            <a:endParaRPr lang="en-US" dirty="0">
              <a:solidFill>
                <a:srgbClr val="D40511"/>
              </a:solidFill>
              <a:latin typeface="Arial" charset="0"/>
              <a:ea typeface="ＭＳ Ｐゴシック" charset="0"/>
              <a:cs typeface="Arial" charset="0"/>
              <a:sym typeface="Arial" charset="0"/>
            </a:endParaRPr>
          </a:p>
        </p:txBody>
      </p:sp>
      <p:grpSp>
        <p:nvGrpSpPr>
          <p:cNvPr id="334" name="Group 4"/>
          <p:cNvGrpSpPr>
            <a:grpSpLocks/>
          </p:cNvGrpSpPr>
          <p:nvPr/>
        </p:nvGrpSpPr>
        <p:grpSpPr bwMode="auto">
          <a:xfrm>
            <a:off x="415638" y="1248803"/>
            <a:ext cx="8390104" cy="4007520"/>
            <a:chOff x="0" y="854"/>
            <a:chExt cx="5672" cy="2709"/>
          </a:xfrm>
        </p:grpSpPr>
        <p:grpSp>
          <p:nvGrpSpPr>
            <p:cNvPr id="335" name="Group 5"/>
            <p:cNvGrpSpPr>
              <a:grpSpLocks/>
            </p:cNvGrpSpPr>
            <p:nvPr/>
          </p:nvGrpSpPr>
          <p:grpSpPr bwMode="auto">
            <a:xfrm>
              <a:off x="0" y="854"/>
              <a:ext cx="5672" cy="2709"/>
              <a:chOff x="0" y="854"/>
              <a:chExt cx="5672" cy="2709"/>
            </a:xfrm>
          </p:grpSpPr>
          <p:sp>
            <p:nvSpPr>
              <p:cNvPr id="341" name="Text Box 6"/>
              <p:cNvSpPr txBox="1">
                <a:spLocks noChangeArrowheads="1"/>
              </p:cNvSpPr>
              <p:nvPr/>
            </p:nvSpPr>
            <p:spPr bwMode="gray">
              <a:xfrm>
                <a:off x="5397" y="2101"/>
                <a:ext cx="275" cy="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  <a:buFont typeface="Arial" charset="0"/>
                  <a:buNone/>
                </a:pPr>
                <a:r>
                  <a:rPr lang="en-US" altLang="en-US" sz="700" b="1">
                    <a:solidFill>
                      <a:srgbClr val="696969"/>
                    </a:solidFill>
                    <a:sym typeface="Arial" charset="0"/>
                  </a:rPr>
                  <a:t>CVG</a:t>
                </a:r>
              </a:p>
            </p:txBody>
          </p:sp>
          <p:sp>
            <p:nvSpPr>
              <p:cNvPr id="342" name="Text Box 7"/>
              <p:cNvSpPr txBox="1">
                <a:spLocks noChangeArrowheads="1"/>
              </p:cNvSpPr>
              <p:nvPr/>
            </p:nvSpPr>
            <p:spPr bwMode="gray">
              <a:xfrm>
                <a:off x="5397" y="1991"/>
                <a:ext cx="275" cy="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defTabSz="995363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defTabSz="9953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  <a:buFont typeface="Arial" charset="0"/>
                  <a:buNone/>
                </a:pPr>
                <a:r>
                  <a:rPr lang="en-US" altLang="en-US" sz="700" b="1">
                    <a:solidFill>
                      <a:srgbClr val="696969"/>
                    </a:solidFill>
                    <a:sym typeface="Arial" charset="0"/>
                  </a:rPr>
                  <a:t>LAX</a:t>
                </a:r>
              </a:p>
            </p:txBody>
          </p:sp>
          <p:grpSp>
            <p:nvGrpSpPr>
              <p:cNvPr id="343" name="Group 8"/>
              <p:cNvGrpSpPr>
                <a:grpSpLocks noChangeAspect="1"/>
              </p:cNvGrpSpPr>
              <p:nvPr/>
            </p:nvGrpSpPr>
            <p:grpSpPr bwMode="auto">
              <a:xfrm>
                <a:off x="0" y="854"/>
                <a:ext cx="5657" cy="2709"/>
                <a:chOff x="0" y="854"/>
                <a:chExt cx="5657" cy="2709"/>
              </a:xfrm>
            </p:grpSpPr>
            <p:sp>
              <p:nvSpPr>
                <p:cNvPr id="344" name="Text Box 9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0" y="2288"/>
                  <a:ext cx="192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696969"/>
                      </a:solidFill>
                      <a:sym typeface="Arial" charset="0"/>
                    </a:rPr>
                    <a:t>HKG</a:t>
                  </a:r>
                </a:p>
              </p:txBody>
            </p:sp>
            <p:sp>
              <p:nvSpPr>
                <p:cNvPr id="345" name="Text Box 10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0" y="2158"/>
                  <a:ext cx="192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696969"/>
                      </a:solidFill>
                      <a:sym typeface="Arial" charset="0"/>
                    </a:rPr>
                    <a:t>PVG</a:t>
                  </a:r>
                </a:p>
              </p:txBody>
            </p:sp>
            <p:sp>
              <p:nvSpPr>
                <p:cNvPr id="346" name="Text Box 11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0" y="1987"/>
                  <a:ext cx="192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696969"/>
                      </a:solidFill>
                      <a:sym typeface="Arial" charset="0"/>
                    </a:rPr>
                    <a:t>ICN</a:t>
                  </a:r>
                </a:p>
              </p:txBody>
            </p:sp>
            <p:sp>
              <p:nvSpPr>
                <p:cNvPr id="347" name="Text Box 12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5382" y="1511"/>
                  <a:ext cx="275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696969"/>
                      </a:solidFill>
                      <a:sym typeface="Arial" charset="0"/>
                    </a:rPr>
                    <a:t>ANC</a:t>
                  </a:r>
                </a:p>
              </p:txBody>
            </p:sp>
            <p:grpSp>
              <p:nvGrpSpPr>
                <p:cNvPr id="348" name="Group 13"/>
                <p:cNvGrpSpPr>
                  <a:grpSpLocks noChangeAspect="1"/>
                </p:cNvGrpSpPr>
                <p:nvPr/>
              </p:nvGrpSpPr>
              <p:grpSpPr bwMode="auto">
                <a:xfrm>
                  <a:off x="484" y="854"/>
                  <a:ext cx="4868" cy="2709"/>
                  <a:chOff x="484" y="854"/>
                  <a:chExt cx="4868" cy="2709"/>
                </a:xfrm>
              </p:grpSpPr>
              <p:grpSp>
                <p:nvGrpSpPr>
                  <p:cNvPr id="456" name="Group 14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2450" y="2073"/>
                    <a:ext cx="1118" cy="1072"/>
                    <a:chOff x="2450" y="2073"/>
                    <a:chExt cx="1118" cy="1072"/>
                  </a:xfrm>
                </p:grpSpPr>
                <p:sp>
                  <p:nvSpPr>
                    <p:cNvPr id="603" name="Freeform 1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661" y="2078"/>
                      <a:ext cx="283" cy="291"/>
                    </a:xfrm>
                    <a:custGeom>
                      <a:avLst/>
                      <a:gdLst>
                        <a:gd name="T0" fmla="*/ 0 w 300"/>
                        <a:gd name="T1" fmla="*/ 31 h 308"/>
                        <a:gd name="T2" fmla="*/ 0 w 300"/>
                        <a:gd name="T3" fmla="*/ 33 h 308"/>
                        <a:gd name="T4" fmla="*/ 8 w 300"/>
                        <a:gd name="T5" fmla="*/ 39 h 308"/>
                        <a:gd name="T6" fmla="*/ 24 w 300"/>
                        <a:gd name="T7" fmla="*/ 50 h 308"/>
                        <a:gd name="T8" fmla="*/ 24 w 300"/>
                        <a:gd name="T9" fmla="*/ 51 h 308"/>
                        <a:gd name="T10" fmla="*/ 26 w 300"/>
                        <a:gd name="T11" fmla="*/ 51 h 308"/>
                        <a:gd name="T12" fmla="*/ 27 w 300"/>
                        <a:gd name="T13" fmla="*/ 53 h 308"/>
                        <a:gd name="T14" fmla="*/ 28 w 300"/>
                        <a:gd name="T15" fmla="*/ 52 h 308"/>
                        <a:gd name="T16" fmla="*/ 31 w 300"/>
                        <a:gd name="T17" fmla="*/ 53 h 308"/>
                        <a:gd name="T18" fmla="*/ 30 w 300"/>
                        <a:gd name="T19" fmla="*/ 56 h 308"/>
                        <a:gd name="T20" fmla="*/ 31 w 300"/>
                        <a:gd name="T21" fmla="*/ 57 h 308"/>
                        <a:gd name="T22" fmla="*/ 33 w 300"/>
                        <a:gd name="T23" fmla="*/ 55 h 308"/>
                        <a:gd name="T24" fmla="*/ 39 w 300"/>
                        <a:gd name="T25" fmla="*/ 53 h 308"/>
                        <a:gd name="T26" fmla="*/ 52 w 300"/>
                        <a:gd name="T27" fmla="*/ 43 h 308"/>
                        <a:gd name="T28" fmla="*/ 52 w 300"/>
                        <a:gd name="T29" fmla="*/ 43 h 308"/>
                        <a:gd name="T30" fmla="*/ 49 w 300"/>
                        <a:gd name="T31" fmla="*/ 41 h 308"/>
                        <a:gd name="T32" fmla="*/ 47 w 300"/>
                        <a:gd name="T33" fmla="*/ 41 h 308"/>
                        <a:gd name="T34" fmla="*/ 46 w 300"/>
                        <a:gd name="T35" fmla="*/ 39 h 308"/>
                        <a:gd name="T36" fmla="*/ 46 w 300"/>
                        <a:gd name="T37" fmla="*/ 39 h 308"/>
                        <a:gd name="T38" fmla="*/ 44 w 300"/>
                        <a:gd name="T39" fmla="*/ 35 h 308"/>
                        <a:gd name="T40" fmla="*/ 45 w 300"/>
                        <a:gd name="T41" fmla="*/ 34 h 308"/>
                        <a:gd name="T42" fmla="*/ 46 w 300"/>
                        <a:gd name="T43" fmla="*/ 31 h 308"/>
                        <a:gd name="T44" fmla="*/ 45 w 300"/>
                        <a:gd name="T45" fmla="*/ 29 h 308"/>
                        <a:gd name="T46" fmla="*/ 45 w 300"/>
                        <a:gd name="T47" fmla="*/ 25 h 308"/>
                        <a:gd name="T48" fmla="*/ 44 w 300"/>
                        <a:gd name="T49" fmla="*/ 24 h 308"/>
                        <a:gd name="T50" fmla="*/ 44 w 300"/>
                        <a:gd name="T51" fmla="*/ 19 h 308"/>
                        <a:gd name="T52" fmla="*/ 43 w 300"/>
                        <a:gd name="T53" fmla="*/ 18 h 308"/>
                        <a:gd name="T54" fmla="*/ 41 w 300"/>
                        <a:gd name="T55" fmla="*/ 15 h 308"/>
                        <a:gd name="T56" fmla="*/ 41 w 300"/>
                        <a:gd name="T57" fmla="*/ 10 h 308"/>
                        <a:gd name="T58" fmla="*/ 43 w 300"/>
                        <a:gd name="T59" fmla="*/ 9 h 308"/>
                        <a:gd name="T60" fmla="*/ 42 w 300"/>
                        <a:gd name="T61" fmla="*/ 9 h 308"/>
                        <a:gd name="T62" fmla="*/ 43 w 300"/>
                        <a:gd name="T63" fmla="*/ 4 h 308"/>
                        <a:gd name="T64" fmla="*/ 40 w 300"/>
                        <a:gd name="T65" fmla="*/ 0 h 308"/>
                        <a:gd name="T66" fmla="*/ 40 w 300"/>
                        <a:gd name="T67" fmla="*/ 4 h 308"/>
                        <a:gd name="T68" fmla="*/ 39 w 300"/>
                        <a:gd name="T69" fmla="*/ 4 h 308"/>
                        <a:gd name="T70" fmla="*/ 36 w 300"/>
                        <a:gd name="T71" fmla="*/ 9 h 308"/>
                        <a:gd name="T72" fmla="*/ 33 w 300"/>
                        <a:gd name="T73" fmla="*/ 4 h 308"/>
                        <a:gd name="T74" fmla="*/ 30 w 300"/>
                        <a:gd name="T75" fmla="*/ 9 h 308"/>
                        <a:gd name="T76" fmla="*/ 30 w 300"/>
                        <a:gd name="T77" fmla="*/ 9 h 308"/>
                        <a:gd name="T78" fmla="*/ 29 w 300"/>
                        <a:gd name="T79" fmla="*/ 9 h 308"/>
                        <a:gd name="T80" fmla="*/ 24 w 300"/>
                        <a:gd name="T81" fmla="*/ 9 h 308"/>
                        <a:gd name="T82" fmla="*/ 23 w 300"/>
                        <a:gd name="T83" fmla="*/ 9 h 308"/>
                        <a:gd name="T84" fmla="*/ 22 w 300"/>
                        <a:gd name="T85" fmla="*/ 9 h 308"/>
                        <a:gd name="T86" fmla="*/ 18 w 300"/>
                        <a:gd name="T87" fmla="*/ 9 h 308"/>
                        <a:gd name="T88" fmla="*/ 18 w 300"/>
                        <a:gd name="T89" fmla="*/ 9 h 308"/>
                        <a:gd name="T90" fmla="*/ 18 w 300"/>
                        <a:gd name="T91" fmla="*/ 9 h 308"/>
                        <a:gd name="T92" fmla="*/ 18 w 300"/>
                        <a:gd name="T93" fmla="*/ 13 h 308"/>
                        <a:gd name="T94" fmla="*/ 19 w 300"/>
                        <a:gd name="T95" fmla="*/ 17 h 308"/>
                        <a:gd name="T96" fmla="*/ 21 w 300"/>
                        <a:gd name="T97" fmla="*/ 18 h 308"/>
                        <a:gd name="T98" fmla="*/ 20 w 300"/>
                        <a:gd name="T99" fmla="*/ 19 h 308"/>
                        <a:gd name="T100" fmla="*/ 17 w 300"/>
                        <a:gd name="T101" fmla="*/ 19 h 308"/>
                        <a:gd name="T102" fmla="*/ 15 w 300"/>
                        <a:gd name="T103" fmla="*/ 21 h 308"/>
                        <a:gd name="T104" fmla="*/ 8 w 300"/>
                        <a:gd name="T105" fmla="*/ 25 h 308"/>
                        <a:gd name="T106" fmla="*/ 8 w 300"/>
                        <a:gd name="T107" fmla="*/ 25 h 308"/>
                        <a:gd name="T108" fmla="*/ 8 w 300"/>
                        <a:gd name="T109" fmla="*/ 26 h 308"/>
                        <a:gd name="T110" fmla="*/ 5 w 300"/>
                        <a:gd name="T111" fmla="*/ 29 h 308"/>
                        <a:gd name="T112" fmla="*/ 0 w 300"/>
                        <a:gd name="T113" fmla="*/ 31 h 308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w 300"/>
                        <a:gd name="T172" fmla="*/ 0 h 308"/>
                        <a:gd name="T173" fmla="*/ 300 w 300"/>
                        <a:gd name="T174" fmla="*/ 308 h 308"/>
                      </a:gdLst>
                      <a:ahLst/>
                      <a:cxnLst>
                        <a:cxn ang="T114">
                          <a:pos x="T0" y="T1"/>
                        </a:cxn>
                        <a:cxn ang="T115">
                          <a:pos x="T2" y="T3"/>
                        </a:cxn>
                        <a:cxn ang="T116">
                          <a:pos x="T4" y="T5"/>
                        </a:cxn>
                        <a:cxn ang="T117">
                          <a:pos x="T6" y="T7"/>
                        </a:cxn>
                        <a:cxn ang="T118">
                          <a:pos x="T8" y="T9"/>
                        </a:cxn>
                        <a:cxn ang="T119">
                          <a:pos x="T10" y="T11"/>
                        </a:cxn>
                        <a:cxn ang="T120">
                          <a:pos x="T12" y="T13"/>
                        </a:cxn>
                        <a:cxn ang="T121">
                          <a:pos x="T14" y="T15"/>
                        </a:cxn>
                        <a:cxn ang="T122">
                          <a:pos x="T16" y="T17"/>
                        </a:cxn>
                        <a:cxn ang="T123">
                          <a:pos x="T18" y="T19"/>
                        </a:cxn>
                        <a:cxn ang="T124">
                          <a:pos x="T20" y="T21"/>
                        </a:cxn>
                        <a:cxn ang="T125">
                          <a:pos x="T22" y="T23"/>
                        </a:cxn>
                        <a:cxn ang="T126">
                          <a:pos x="T24" y="T25"/>
                        </a:cxn>
                        <a:cxn ang="T127">
                          <a:pos x="T26" y="T27"/>
                        </a:cxn>
                        <a:cxn ang="T128">
                          <a:pos x="T28" y="T29"/>
                        </a:cxn>
                        <a:cxn ang="T129">
                          <a:pos x="T30" y="T31"/>
                        </a:cxn>
                        <a:cxn ang="T130">
                          <a:pos x="T32" y="T33"/>
                        </a:cxn>
                        <a:cxn ang="T131">
                          <a:pos x="T34" y="T35"/>
                        </a:cxn>
                        <a:cxn ang="T132">
                          <a:pos x="T36" y="T37"/>
                        </a:cxn>
                        <a:cxn ang="T133">
                          <a:pos x="T38" y="T39"/>
                        </a:cxn>
                        <a:cxn ang="T134">
                          <a:pos x="T40" y="T41"/>
                        </a:cxn>
                        <a:cxn ang="T135">
                          <a:pos x="T42" y="T43"/>
                        </a:cxn>
                        <a:cxn ang="T136">
                          <a:pos x="T44" y="T45"/>
                        </a:cxn>
                        <a:cxn ang="T137">
                          <a:pos x="T46" y="T47"/>
                        </a:cxn>
                        <a:cxn ang="T138">
                          <a:pos x="T48" y="T49"/>
                        </a:cxn>
                        <a:cxn ang="T139">
                          <a:pos x="T50" y="T51"/>
                        </a:cxn>
                        <a:cxn ang="T140">
                          <a:pos x="T52" y="T53"/>
                        </a:cxn>
                        <a:cxn ang="T141">
                          <a:pos x="T54" y="T55"/>
                        </a:cxn>
                        <a:cxn ang="T142">
                          <a:pos x="T56" y="T57"/>
                        </a:cxn>
                        <a:cxn ang="T143">
                          <a:pos x="T58" y="T59"/>
                        </a:cxn>
                        <a:cxn ang="T144">
                          <a:pos x="T60" y="T61"/>
                        </a:cxn>
                        <a:cxn ang="T145">
                          <a:pos x="T62" y="T63"/>
                        </a:cxn>
                        <a:cxn ang="T146">
                          <a:pos x="T64" y="T65"/>
                        </a:cxn>
                        <a:cxn ang="T147">
                          <a:pos x="T66" y="T67"/>
                        </a:cxn>
                        <a:cxn ang="T148">
                          <a:pos x="T68" y="T69"/>
                        </a:cxn>
                        <a:cxn ang="T149">
                          <a:pos x="T70" y="T71"/>
                        </a:cxn>
                        <a:cxn ang="T150">
                          <a:pos x="T72" y="T73"/>
                        </a:cxn>
                        <a:cxn ang="T151">
                          <a:pos x="T74" y="T75"/>
                        </a:cxn>
                        <a:cxn ang="T152">
                          <a:pos x="T76" y="T77"/>
                        </a:cxn>
                        <a:cxn ang="T153">
                          <a:pos x="T78" y="T79"/>
                        </a:cxn>
                        <a:cxn ang="T154">
                          <a:pos x="T80" y="T81"/>
                        </a:cxn>
                        <a:cxn ang="T155">
                          <a:pos x="T82" y="T83"/>
                        </a:cxn>
                        <a:cxn ang="T156">
                          <a:pos x="T84" y="T85"/>
                        </a:cxn>
                        <a:cxn ang="T157">
                          <a:pos x="T86" y="T87"/>
                        </a:cxn>
                        <a:cxn ang="T158">
                          <a:pos x="T88" y="T89"/>
                        </a:cxn>
                        <a:cxn ang="T159">
                          <a:pos x="T90" y="T91"/>
                        </a:cxn>
                        <a:cxn ang="T160">
                          <a:pos x="T92" y="T93"/>
                        </a:cxn>
                        <a:cxn ang="T161">
                          <a:pos x="T94" y="T95"/>
                        </a:cxn>
                        <a:cxn ang="T162">
                          <a:pos x="T96" y="T97"/>
                        </a:cxn>
                        <a:cxn ang="T163">
                          <a:pos x="T98" y="T99"/>
                        </a:cxn>
                        <a:cxn ang="T164">
                          <a:pos x="T100" y="T101"/>
                        </a:cxn>
                        <a:cxn ang="T165">
                          <a:pos x="T102" y="T103"/>
                        </a:cxn>
                        <a:cxn ang="T166">
                          <a:pos x="T104" y="T105"/>
                        </a:cxn>
                        <a:cxn ang="T167">
                          <a:pos x="T106" y="T107"/>
                        </a:cxn>
                        <a:cxn ang="T168">
                          <a:pos x="T108" y="T109"/>
                        </a:cxn>
                        <a:cxn ang="T169">
                          <a:pos x="T110" y="T111"/>
                        </a:cxn>
                        <a:cxn ang="T170">
                          <a:pos x="T112" y="T113"/>
                        </a:cxn>
                      </a:cxnLst>
                      <a:rect l="T171" t="T172" r="T173" b="T174"/>
                      <a:pathLst>
                        <a:path w="300" h="308">
                          <a:moveTo>
                            <a:pt x="0" y="170"/>
                          </a:moveTo>
                          <a:lnTo>
                            <a:pt x="0" y="179"/>
                          </a:lnTo>
                          <a:lnTo>
                            <a:pt x="54" y="214"/>
                          </a:lnTo>
                          <a:lnTo>
                            <a:pt x="139" y="272"/>
                          </a:lnTo>
                          <a:lnTo>
                            <a:pt x="139" y="281"/>
                          </a:lnTo>
                          <a:lnTo>
                            <a:pt x="152" y="281"/>
                          </a:lnTo>
                          <a:lnTo>
                            <a:pt x="157" y="290"/>
                          </a:lnTo>
                          <a:lnTo>
                            <a:pt x="161" y="286"/>
                          </a:lnTo>
                          <a:lnTo>
                            <a:pt x="175" y="290"/>
                          </a:lnTo>
                          <a:lnTo>
                            <a:pt x="170" y="304"/>
                          </a:lnTo>
                          <a:lnTo>
                            <a:pt x="175" y="308"/>
                          </a:lnTo>
                          <a:lnTo>
                            <a:pt x="188" y="299"/>
                          </a:lnTo>
                          <a:lnTo>
                            <a:pt x="224" y="290"/>
                          </a:lnTo>
                          <a:lnTo>
                            <a:pt x="300" y="237"/>
                          </a:lnTo>
                          <a:lnTo>
                            <a:pt x="300" y="232"/>
                          </a:lnTo>
                          <a:lnTo>
                            <a:pt x="282" y="219"/>
                          </a:lnTo>
                          <a:lnTo>
                            <a:pt x="273" y="219"/>
                          </a:lnTo>
                          <a:lnTo>
                            <a:pt x="264" y="214"/>
                          </a:lnTo>
                          <a:lnTo>
                            <a:pt x="268" y="210"/>
                          </a:lnTo>
                          <a:lnTo>
                            <a:pt x="255" y="192"/>
                          </a:lnTo>
                          <a:lnTo>
                            <a:pt x="260" y="183"/>
                          </a:lnTo>
                          <a:lnTo>
                            <a:pt x="264" y="170"/>
                          </a:lnTo>
                          <a:lnTo>
                            <a:pt x="260" y="156"/>
                          </a:lnTo>
                          <a:lnTo>
                            <a:pt x="260" y="138"/>
                          </a:lnTo>
                          <a:lnTo>
                            <a:pt x="255" y="129"/>
                          </a:lnTo>
                          <a:lnTo>
                            <a:pt x="255" y="94"/>
                          </a:lnTo>
                          <a:lnTo>
                            <a:pt x="246" y="89"/>
                          </a:lnTo>
                          <a:lnTo>
                            <a:pt x="237" y="76"/>
                          </a:lnTo>
                          <a:lnTo>
                            <a:pt x="233" y="58"/>
                          </a:lnTo>
                          <a:lnTo>
                            <a:pt x="246" y="40"/>
                          </a:lnTo>
                          <a:lnTo>
                            <a:pt x="242" y="13"/>
                          </a:lnTo>
                          <a:lnTo>
                            <a:pt x="251" y="4"/>
                          </a:lnTo>
                          <a:lnTo>
                            <a:pt x="228" y="0"/>
                          </a:lnTo>
                          <a:lnTo>
                            <a:pt x="228" y="4"/>
                          </a:lnTo>
                          <a:lnTo>
                            <a:pt x="219" y="4"/>
                          </a:lnTo>
                          <a:lnTo>
                            <a:pt x="201" y="9"/>
                          </a:lnTo>
                          <a:lnTo>
                            <a:pt x="184" y="4"/>
                          </a:lnTo>
                          <a:lnTo>
                            <a:pt x="170" y="9"/>
                          </a:lnTo>
                          <a:lnTo>
                            <a:pt x="170" y="13"/>
                          </a:lnTo>
                          <a:lnTo>
                            <a:pt x="166" y="9"/>
                          </a:lnTo>
                          <a:lnTo>
                            <a:pt x="139" y="13"/>
                          </a:lnTo>
                          <a:lnTo>
                            <a:pt x="126" y="27"/>
                          </a:lnTo>
                          <a:lnTo>
                            <a:pt x="121" y="27"/>
                          </a:lnTo>
                          <a:lnTo>
                            <a:pt x="99" y="36"/>
                          </a:lnTo>
                          <a:lnTo>
                            <a:pt x="94" y="40"/>
                          </a:lnTo>
                          <a:lnTo>
                            <a:pt x="99" y="53"/>
                          </a:lnTo>
                          <a:lnTo>
                            <a:pt x="99" y="67"/>
                          </a:lnTo>
                          <a:lnTo>
                            <a:pt x="103" y="85"/>
                          </a:lnTo>
                          <a:lnTo>
                            <a:pt x="112" y="89"/>
                          </a:lnTo>
                          <a:lnTo>
                            <a:pt x="108" y="98"/>
                          </a:lnTo>
                          <a:lnTo>
                            <a:pt x="90" y="94"/>
                          </a:lnTo>
                          <a:lnTo>
                            <a:pt x="81" y="107"/>
                          </a:lnTo>
                          <a:lnTo>
                            <a:pt x="41" y="138"/>
                          </a:lnTo>
                          <a:lnTo>
                            <a:pt x="32" y="138"/>
                          </a:lnTo>
                          <a:lnTo>
                            <a:pt x="14" y="143"/>
                          </a:lnTo>
                          <a:lnTo>
                            <a:pt x="5" y="156"/>
                          </a:lnTo>
                          <a:lnTo>
                            <a:pt x="0" y="17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4" name="Freeform 1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35" y="2694"/>
                      <a:ext cx="168" cy="190"/>
                    </a:xfrm>
                    <a:custGeom>
                      <a:avLst/>
                      <a:gdLst>
                        <a:gd name="T0" fmla="*/ 4 w 178"/>
                        <a:gd name="T1" fmla="*/ 35 h 201"/>
                        <a:gd name="T2" fmla="*/ 8 w 178"/>
                        <a:gd name="T3" fmla="*/ 35 h 201"/>
                        <a:gd name="T4" fmla="*/ 8 w 178"/>
                        <a:gd name="T5" fmla="*/ 35 h 201"/>
                        <a:gd name="T6" fmla="*/ 8 w 178"/>
                        <a:gd name="T7" fmla="*/ 36 h 201"/>
                        <a:gd name="T8" fmla="*/ 8 w 178"/>
                        <a:gd name="T9" fmla="*/ 35 h 201"/>
                        <a:gd name="T10" fmla="*/ 19 w 178"/>
                        <a:gd name="T11" fmla="*/ 35 h 201"/>
                        <a:gd name="T12" fmla="*/ 21 w 178"/>
                        <a:gd name="T13" fmla="*/ 38 h 201"/>
                        <a:gd name="T14" fmla="*/ 24 w 178"/>
                        <a:gd name="T15" fmla="*/ 38 h 201"/>
                        <a:gd name="T16" fmla="*/ 30 w 178"/>
                        <a:gd name="T17" fmla="*/ 36 h 201"/>
                        <a:gd name="T18" fmla="*/ 25 w 178"/>
                        <a:gd name="T19" fmla="*/ 32 h 201"/>
                        <a:gd name="T20" fmla="*/ 26 w 178"/>
                        <a:gd name="T21" fmla="*/ 24 h 201"/>
                        <a:gd name="T22" fmla="*/ 31 w 178"/>
                        <a:gd name="T23" fmla="*/ 23 h 201"/>
                        <a:gd name="T24" fmla="*/ 32 w 178"/>
                        <a:gd name="T25" fmla="*/ 22 h 201"/>
                        <a:gd name="T26" fmla="*/ 32 w 178"/>
                        <a:gd name="T27" fmla="*/ 18 h 201"/>
                        <a:gd name="T28" fmla="*/ 26 w 178"/>
                        <a:gd name="T29" fmla="*/ 19 h 201"/>
                        <a:gd name="T30" fmla="*/ 25 w 178"/>
                        <a:gd name="T31" fmla="*/ 9 h 201"/>
                        <a:gd name="T32" fmla="*/ 24 w 178"/>
                        <a:gd name="T33" fmla="*/ 9 h 201"/>
                        <a:gd name="T34" fmla="*/ 23 w 178"/>
                        <a:gd name="T35" fmla="*/ 9 h 201"/>
                        <a:gd name="T36" fmla="*/ 21 w 178"/>
                        <a:gd name="T37" fmla="*/ 9 h 201"/>
                        <a:gd name="T38" fmla="*/ 21 w 178"/>
                        <a:gd name="T39" fmla="*/ 9 h 201"/>
                        <a:gd name="T40" fmla="*/ 17 w 178"/>
                        <a:gd name="T41" fmla="*/ 9 h 201"/>
                        <a:gd name="T42" fmla="*/ 15 w 178"/>
                        <a:gd name="T43" fmla="*/ 9 h 201"/>
                        <a:gd name="T44" fmla="*/ 15 w 178"/>
                        <a:gd name="T45" fmla="*/ 9 h 201"/>
                        <a:gd name="T46" fmla="*/ 14 w 178"/>
                        <a:gd name="T47" fmla="*/ 9 h 201"/>
                        <a:gd name="T48" fmla="*/ 8 w 178"/>
                        <a:gd name="T49" fmla="*/ 9 h 201"/>
                        <a:gd name="T50" fmla="*/ 8 w 178"/>
                        <a:gd name="T51" fmla="*/ 9 h 201"/>
                        <a:gd name="T52" fmla="*/ 8 w 178"/>
                        <a:gd name="T53" fmla="*/ 9 h 201"/>
                        <a:gd name="T54" fmla="*/ 8 w 178"/>
                        <a:gd name="T55" fmla="*/ 0 h 201"/>
                        <a:gd name="T56" fmla="*/ 8 w 178"/>
                        <a:gd name="T57" fmla="*/ 0 h 201"/>
                        <a:gd name="T58" fmla="*/ 4 w 178"/>
                        <a:gd name="T59" fmla="*/ 9 h 201"/>
                        <a:gd name="T60" fmla="*/ 4 w 178"/>
                        <a:gd name="T61" fmla="*/ 9 h 201"/>
                        <a:gd name="T62" fmla="*/ 8 w 178"/>
                        <a:gd name="T63" fmla="*/ 9 h 201"/>
                        <a:gd name="T64" fmla="*/ 8 w 178"/>
                        <a:gd name="T65" fmla="*/ 12 h 201"/>
                        <a:gd name="T66" fmla="*/ 8 w 178"/>
                        <a:gd name="T67" fmla="*/ 12 h 201"/>
                        <a:gd name="T68" fmla="*/ 8 w 178"/>
                        <a:gd name="T69" fmla="*/ 13 h 201"/>
                        <a:gd name="T70" fmla="*/ 8 w 178"/>
                        <a:gd name="T71" fmla="*/ 18 h 201"/>
                        <a:gd name="T72" fmla="*/ 8 w 178"/>
                        <a:gd name="T73" fmla="*/ 20 h 201"/>
                        <a:gd name="T74" fmla="*/ 8 w 178"/>
                        <a:gd name="T75" fmla="*/ 22 h 201"/>
                        <a:gd name="T76" fmla="*/ 8 w 178"/>
                        <a:gd name="T77" fmla="*/ 22 h 201"/>
                        <a:gd name="T78" fmla="*/ 8 w 178"/>
                        <a:gd name="T79" fmla="*/ 24 h 201"/>
                        <a:gd name="T80" fmla="*/ 4 w 178"/>
                        <a:gd name="T81" fmla="*/ 27 h 201"/>
                        <a:gd name="T82" fmla="*/ 0 w 178"/>
                        <a:gd name="T83" fmla="*/ 30 h 201"/>
                        <a:gd name="T84" fmla="*/ 4 w 178"/>
                        <a:gd name="T85" fmla="*/ 33 h 201"/>
                        <a:gd name="T86" fmla="*/ 0 w 178"/>
                        <a:gd name="T87" fmla="*/ 33 h 201"/>
                        <a:gd name="T88" fmla="*/ 4 w 178"/>
                        <a:gd name="T89" fmla="*/ 35 h 201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w 178"/>
                        <a:gd name="T136" fmla="*/ 0 h 201"/>
                        <a:gd name="T137" fmla="*/ 178 w 178"/>
                        <a:gd name="T138" fmla="*/ 201 h 201"/>
                      </a:gdLst>
                      <a:ahLst/>
                      <a:cxnLst>
                        <a:cxn ang="T90">
                          <a:pos x="T0" y="T1"/>
                        </a:cxn>
                        <a:cxn ang="T91">
                          <a:pos x="T2" y="T3"/>
                        </a:cxn>
                        <a:cxn ang="T92">
                          <a:pos x="T4" y="T5"/>
                        </a:cxn>
                        <a:cxn ang="T93">
                          <a:pos x="T6" y="T7"/>
                        </a:cxn>
                        <a:cxn ang="T94">
                          <a:pos x="T8" y="T9"/>
                        </a:cxn>
                        <a:cxn ang="T95">
                          <a:pos x="T10" y="T11"/>
                        </a:cxn>
                        <a:cxn ang="T96">
                          <a:pos x="T12" y="T13"/>
                        </a:cxn>
                        <a:cxn ang="T97">
                          <a:pos x="T14" y="T15"/>
                        </a:cxn>
                        <a:cxn ang="T98">
                          <a:pos x="T16" y="T17"/>
                        </a:cxn>
                        <a:cxn ang="T99">
                          <a:pos x="T18" y="T19"/>
                        </a:cxn>
                        <a:cxn ang="T100">
                          <a:pos x="T20" y="T21"/>
                        </a:cxn>
                        <a:cxn ang="T101">
                          <a:pos x="T22" y="T23"/>
                        </a:cxn>
                        <a:cxn ang="T102">
                          <a:pos x="T24" y="T25"/>
                        </a:cxn>
                        <a:cxn ang="T103">
                          <a:pos x="T26" y="T27"/>
                        </a:cxn>
                        <a:cxn ang="T104">
                          <a:pos x="T28" y="T29"/>
                        </a:cxn>
                        <a:cxn ang="T105">
                          <a:pos x="T30" y="T31"/>
                        </a:cxn>
                        <a:cxn ang="T106">
                          <a:pos x="T32" y="T33"/>
                        </a:cxn>
                        <a:cxn ang="T107">
                          <a:pos x="T34" y="T35"/>
                        </a:cxn>
                        <a:cxn ang="T108">
                          <a:pos x="T36" y="T37"/>
                        </a:cxn>
                        <a:cxn ang="T109">
                          <a:pos x="T38" y="T39"/>
                        </a:cxn>
                        <a:cxn ang="T110">
                          <a:pos x="T40" y="T41"/>
                        </a:cxn>
                        <a:cxn ang="T111">
                          <a:pos x="T42" y="T43"/>
                        </a:cxn>
                        <a:cxn ang="T112">
                          <a:pos x="T44" y="T45"/>
                        </a:cxn>
                        <a:cxn ang="T113">
                          <a:pos x="T46" y="T47"/>
                        </a:cxn>
                        <a:cxn ang="T114">
                          <a:pos x="T48" y="T49"/>
                        </a:cxn>
                        <a:cxn ang="T115">
                          <a:pos x="T50" y="T51"/>
                        </a:cxn>
                        <a:cxn ang="T116">
                          <a:pos x="T52" y="T53"/>
                        </a:cxn>
                        <a:cxn ang="T117">
                          <a:pos x="T54" y="T55"/>
                        </a:cxn>
                        <a:cxn ang="T118">
                          <a:pos x="T56" y="T57"/>
                        </a:cxn>
                        <a:cxn ang="T119">
                          <a:pos x="T58" y="T59"/>
                        </a:cxn>
                        <a:cxn ang="T120">
                          <a:pos x="T60" y="T61"/>
                        </a:cxn>
                        <a:cxn ang="T121">
                          <a:pos x="T62" y="T63"/>
                        </a:cxn>
                        <a:cxn ang="T122">
                          <a:pos x="T64" y="T65"/>
                        </a:cxn>
                        <a:cxn ang="T123">
                          <a:pos x="T66" y="T67"/>
                        </a:cxn>
                        <a:cxn ang="T124">
                          <a:pos x="T68" y="T69"/>
                        </a:cxn>
                        <a:cxn ang="T125">
                          <a:pos x="T70" y="T71"/>
                        </a:cxn>
                        <a:cxn ang="T126">
                          <a:pos x="T72" y="T73"/>
                        </a:cxn>
                        <a:cxn ang="T127">
                          <a:pos x="T74" y="T75"/>
                        </a:cxn>
                        <a:cxn ang="T128">
                          <a:pos x="T76" y="T77"/>
                        </a:cxn>
                        <a:cxn ang="T129">
                          <a:pos x="T78" y="T79"/>
                        </a:cxn>
                        <a:cxn ang="T130">
                          <a:pos x="T80" y="T81"/>
                        </a:cxn>
                        <a:cxn ang="T131">
                          <a:pos x="T82" y="T83"/>
                        </a:cxn>
                        <a:cxn ang="T132">
                          <a:pos x="T84" y="T85"/>
                        </a:cxn>
                        <a:cxn ang="T133">
                          <a:pos x="T86" y="T87"/>
                        </a:cxn>
                        <a:cxn ang="T134">
                          <a:pos x="T88" y="T89"/>
                        </a:cxn>
                      </a:cxnLst>
                      <a:rect l="T135" t="T136" r="T137" b="T138"/>
                      <a:pathLst>
                        <a:path w="178" h="201">
                          <a:moveTo>
                            <a:pt x="4" y="188"/>
                          </a:moveTo>
                          <a:lnTo>
                            <a:pt x="9" y="184"/>
                          </a:lnTo>
                          <a:lnTo>
                            <a:pt x="27" y="184"/>
                          </a:lnTo>
                          <a:lnTo>
                            <a:pt x="40" y="192"/>
                          </a:lnTo>
                          <a:lnTo>
                            <a:pt x="49" y="188"/>
                          </a:lnTo>
                          <a:lnTo>
                            <a:pt x="103" y="188"/>
                          </a:lnTo>
                          <a:lnTo>
                            <a:pt x="116" y="201"/>
                          </a:lnTo>
                          <a:lnTo>
                            <a:pt x="134" y="201"/>
                          </a:lnTo>
                          <a:lnTo>
                            <a:pt x="170" y="192"/>
                          </a:lnTo>
                          <a:lnTo>
                            <a:pt x="147" y="170"/>
                          </a:lnTo>
                          <a:lnTo>
                            <a:pt x="152" y="125"/>
                          </a:lnTo>
                          <a:lnTo>
                            <a:pt x="174" y="121"/>
                          </a:lnTo>
                          <a:lnTo>
                            <a:pt x="178" y="112"/>
                          </a:lnTo>
                          <a:lnTo>
                            <a:pt x="178" y="90"/>
                          </a:lnTo>
                          <a:lnTo>
                            <a:pt x="152" y="94"/>
                          </a:lnTo>
                          <a:lnTo>
                            <a:pt x="143" y="41"/>
                          </a:lnTo>
                          <a:lnTo>
                            <a:pt x="134" y="41"/>
                          </a:lnTo>
                          <a:lnTo>
                            <a:pt x="129" y="36"/>
                          </a:lnTo>
                          <a:lnTo>
                            <a:pt x="116" y="36"/>
                          </a:lnTo>
                          <a:lnTo>
                            <a:pt x="111" y="54"/>
                          </a:lnTo>
                          <a:lnTo>
                            <a:pt x="89" y="54"/>
                          </a:lnTo>
                          <a:lnTo>
                            <a:pt x="80" y="41"/>
                          </a:lnTo>
                          <a:lnTo>
                            <a:pt x="80" y="36"/>
                          </a:lnTo>
                          <a:lnTo>
                            <a:pt x="76" y="23"/>
                          </a:lnTo>
                          <a:lnTo>
                            <a:pt x="22" y="23"/>
                          </a:lnTo>
                          <a:lnTo>
                            <a:pt x="9" y="18"/>
                          </a:lnTo>
                          <a:lnTo>
                            <a:pt x="18" y="0"/>
                          </a:lnTo>
                          <a:lnTo>
                            <a:pt x="13" y="0"/>
                          </a:lnTo>
                          <a:lnTo>
                            <a:pt x="4" y="9"/>
                          </a:lnTo>
                          <a:lnTo>
                            <a:pt x="4" y="14"/>
                          </a:lnTo>
                          <a:lnTo>
                            <a:pt x="27" y="54"/>
                          </a:lnTo>
                          <a:lnTo>
                            <a:pt x="27" y="63"/>
                          </a:lnTo>
                          <a:lnTo>
                            <a:pt x="22" y="63"/>
                          </a:lnTo>
                          <a:lnTo>
                            <a:pt x="18" y="67"/>
                          </a:lnTo>
                          <a:lnTo>
                            <a:pt x="31" y="90"/>
                          </a:lnTo>
                          <a:lnTo>
                            <a:pt x="36" y="103"/>
                          </a:lnTo>
                          <a:lnTo>
                            <a:pt x="27" y="112"/>
                          </a:lnTo>
                          <a:lnTo>
                            <a:pt x="22" y="116"/>
                          </a:lnTo>
                          <a:lnTo>
                            <a:pt x="13" y="130"/>
                          </a:lnTo>
                          <a:lnTo>
                            <a:pt x="4" y="148"/>
                          </a:lnTo>
                          <a:lnTo>
                            <a:pt x="0" y="161"/>
                          </a:lnTo>
                          <a:lnTo>
                            <a:pt x="4" y="179"/>
                          </a:lnTo>
                          <a:lnTo>
                            <a:pt x="0" y="179"/>
                          </a:lnTo>
                          <a:lnTo>
                            <a:pt x="4" y="188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5" name="Freeform 1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49" y="2880"/>
                      <a:ext cx="131" cy="139"/>
                    </a:xfrm>
                    <a:custGeom>
                      <a:avLst/>
                      <a:gdLst>
                        <a:gd name="T0" fmla="*/ 0 w 139"/>
                        <a:gd name="T1" fmla="*/ 22 h 147"/>
                        <a:gd name="T2" fmla="*/ 8 w 139"/>
                        <a:gd name="T3" fmla="*/ 24 h 147"/>
                        <a:gd name="T4" fmla="*/ 8 w 139"/>
                        <a:gd name="T5" fmla="*/ 25 h 147"/>
                        <a:gd name="T6" fmla="*/ 8 w 139"/>
                        <a:gd name="T7" fmla="*/ 27 h 147"/>
                        <a:gd name="T8" fmla="*/ 8 w 139"/>
                        <a:gd name="T9" fmla="*/ 26 h 147"/>
                        <a:gd name="T10" fmla="*/ 8 w 139"/>
                        <a:gd name="T11" fmla="*/ 23 h 147"/>
                        <a:gd name="T12" fmla="*/ 8 w 139"/>
                        <a:gd name="T13" fmla="*/ 23 h 147"/>
                        <a:gd name="T14" fmla="*/ 8 w 139"/>
                        <a:gd name="T15" fmla="*/ 24 h 147"/>
                        <a:gd name="T16" fmla="*/ 9 w 139"/>
                        <a:gd name="T17" fmla="*/ 24 h 147"/>
                        <a:gd name="T18" fmla="*/ 15 w 139"/>
                        <a:gd name="T19" fmla="*/ 24 h 147"/>
                        <a:gd name="T20" fmla="*/ 15 w 139"/>
                        <a:gd name="T21" fmla="*/ 22 h 147"/>
                        <a:gd name="T22" fmla="*/ 18 w 139"/>
                        <a:gd name="T23" fmla="*/ 20 h 147"/>
                        <a:gd name="T24" fmla="*/ 18 w 139"/>
                        <a:gd name="T25" fmla="*/ 19 h 147"/>
                        <a:gd name="T26" fmla="*/ 21 w 139"/>
                        <a:gd name="T27" fmla="*/ 15 h 147"/>
                        <a:gd name="T28" fmla="*/ 23 w 139"/>
                        <a:gd name="T29" fmla="*/ 14 h 147"/>
                        <a:gd name="T30" fmla="*/ 24 w 139"/>
                        <a:gd name="T31" fmla="*/ 13 h 147"/>
                        <a:gd name="T32" fmla="*/ 24 w 139"/>
                        <a:gd name="T33" fmla="*/ 11 h 147"/>
                        <a:gd name="T34" fmla="*/ 22 w 139"/>
                        <a:gd name="T35" fmla="*/ 11 h 147"/>
                        <a:gd name="T36" fmla="*/ 20 w 139"/>
                        <a:gd name="T37" fmla="*/ 9 h 147"/>
                        <a:gd name="T38" fmla="*/ 15 w 139"/>
                        <a:gd name="T39" fmla="*/ 9 h 147"/>
                        <a:gd name="T40" fmla="*/ 13 w 139"/>
                        <a:gd name="T41" fmla="*/ 0 h 147"/>
                        <a:gd name="T42" fmla="*/ 9 w 139"/>
                        <a:gd name="T43" fmla="*/ 4 h 147"/>
                        <a:gd name="T44" fmla="*/ 8 w 139"/>
                        <a:gd name="T45" fmla="*/ 9 h 147"/>
                        <a:gd name="T46" fmla="*/ 8 w 139"/>
                        <a:gd name="T47" fmla="*/ 4 h 147"/>
                        <a:gd name="T48" fmla="*/ 8 w 139"/>
                        <a:gd name="T49" fmla="*/ 9 h 147"/>
                        <a:gd name="T50" fmla="*/ 8 w 139"/>
                        <a:gd name="T51" fmla="*/ 9 h 147"/>
                        <a:gd name="T52" fmla="*/ 8 w 139"/>
                        <a:gd name="T53" fmla="*/ 13 h 147"/>
                        <a:gd name="T54" fmla="*/ 5 w 139"/>
                        <a:gd name="T55" fmla="*/ 13 h 147"/>
                        <a:gd name="T56" fmla="*/ 0 w 139"/>
                        <a:gd name="T57" fmla="*/ 22 h 147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39"/>
                        <a:gd name="T88" fmla="*/ 0 h 147"/>
                        <a:gd name="T89" fmla="*/ 139 w 139"/>
                        <a:gd name="T90" fmla="*/ 147 h 147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39" h="147">
                          <a:moveTo>
                            <a:pt x="0" y="112"/>
                          </a:moveTo>
                          <a:lnTo>
                            <a:pt x="9" y="130"/>
                          </a:lnTo>
                          <a:lnTo>
                            <a:pt x="9" y="138"/>
                          </a:lnTo>
                          <a:lnTo>
                            <a:pt x="9" y="147"/>
                          </a:lnTo>
                          <a:lnTo>
                            <a:pt x="32" y="143"/>
                          </a:lnTo>
                          <a:lnTo>
                            <a:pt x="45" y="121"/>
                          </a:lnTo>
                          <a:lnTo>
                            <a:pt x="50" y="121"/>
                          </a:lnTo>
                          <a:lnTo>
                            <a:pt x="54" y="125"/>
                          </a:lnTo>
                          <a:lnTo>
                            <a:pt x="58" y="130"/>
                          </a:lnTo>
                          <a:lnTo>
                            <a:pt x="81" y="125"/>
                          </a:lnTo>
                          <a:lnTo>
                            <a:pt x="85" y="112"/>
                          </a:lnTo>
                          <a:lnTo>
                            <a:pt x="99" y="103"/>
                          </a:lnTo>
                          <a:lnTo>
                            <a:pt x="99" y="98"/>
                          </a:lnTo>
                          <a:lnTo>
                            <a:pt x="121" y="76"/>
                          </a:lnTo>
                          <a:lnTo>
                            <a:pt x="134" y="71"/>
                          </a:lnTo>
                          <a:lnTo>
                            <a:pt x="139" y="67"/>
                          </a:lnTo>
                          <a:lnTo>
                            <a:pt x="139" y="62"/>
                          </a:lnTo>
                          <a:lnTo>
                            <a:pt x="125" y="62"/>
                          </a:lnTo>
                          <a:lnTo>
                            <a:pt x="112" y="45"/>
                          </a:lnTo>
                          <a:lnTo>
                            <a:pt x="85" y="22"/>
                          </a:lnTo>
                          <a:lnTo>
                            <a:pt x="72" y="0"/>
                          </a:lnTo>
                          <a:lnTo>
                            <a:pt x="58" y="4"/>
                          </a:lnTo>
                          <a:lnTo>
                            <a:pt x="54" y="13"/>
                          </a:lnTo>
                          <a:lnTo>
                            <a:pt x="45" y="4"/>
                          </a:lnTo>
                          <a:lnTo>
                            <a:pt x="27" y="9"/>
                          </a:lnTo>
                          <a:lnTo>
                            <a:pt x="18" y="9"/>
                          </a:lnTo>
                          <a:lnTo>
                            <a:pt x="18" y="67"/>
                          </a:lnTo>
                          <a:lnTo>
                            <a:pt x="5" y="67"/>
                          </a:lnTo>
                          <a:lnTo>
                            <a:pt x="0" y="11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6" name="Freeform 18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75" y="2664"/>
                      <a:ext cx="25" cy="29"/>
                    </a:xfrm>
                    <a:custGeom>
                      <a:avLst/>
                      <a:gdLst>
                        <a:gd name="T0" fmla="*/ 0 w 27"/>
                        <a:gd name="T1" fmla="*/ 4 h 31"/>
                        <a:gd name="T2" fmla="*/ 5 w 27"/>
                        <a:gd name="T3" fmla="*/ 7 h 31"/>
                        <a:gd name="T4" fmla="*/ 5 w 27"/>
                        <a:gd name="T5" fmla="*/ 7 h 31"/>
                        <a:gd name="T6" fmla="*/ 6 w 27"/>
                        <a:gd name="T7" fmla="*/ 7 h 31"/>
                        <a:gd name="T8" fmla="*/ 6 w 27"/>
                        <a:gd name="T9" fmla="*/ 7 h 31"/>
                        <a:gd name="T10" fmla="*/ 6 w 27"/>
                        <a:gd name="T11" fmla="*/ 7 h 31"/>
                        <a:gd name="T12" fmla="*/ 6 w 27"/>
                        <a:gd name="T13" fmla="*/ 7 h 31"/>
                        <a:gd name="T14" fmla="*/ 6 w 27"/>
                        <a:gd name="T15" fmla="*/ 0 h 31"/>
                        <a:gd name="T16" fmla="*/ 6 w 27"/>
                        <a:gd name="T17" fmla="*/ 0 h 31"/>
                        <a:gd name="T18" fmla="*/ 6 w 27"/>
                        <a:gd name="T19" fmla="*/ 4 h 31"/>
                        <a:gd name="T20" fmla="*/ 0 w 27"/>
                        <a:gd name="T21" fmla="*/ 4 h 31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27"/>
                        <a:gd name="T34" fmla="*/ 0 h 31"/>
                        <a:gd name="T35" fmla="*/ 27 w 27"/>
                        <a:gd name="T36" fmla="*/ 31 h 31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27" h="31">
                          <a:moveTo>
                            <a:pt x="0" y="4"/>
                          </a:moveTo>
                          <a:lnTo>
                            <a:pt x="5" y="18"/>
                          </a:lnTo>
                          <a:lnTo>
                            <a:pt x="5" y="31"/>
                          </a:lnTo>
                          <a:lnTo>
                            <a:pt x="9" y="31"/>
                          </a:lnTo>
                          <a:lnTo>
                            <a:pt x="27" y="18"/>
                          </a:lnTo>
                          <a:lnTo>
                            <a:pt x="27" y="9"/>
                          </a:lnTo>
                          <a:lnTo>
                            <a:pt x="23" y="9"/>
                          </a:lnTo>
                          <a:lnTo>
                            <a:pt x="23" y="0"/>
                          </a:lnTo>
                          <a:lnTo>
                            <a:pt x="14" y="0"/>
                          </a:lnTo>
                          <a:lnTo>
                            <a:pt x="9" y="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7" name="Freeform 1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01" y="2454"/>
                      <a:ext cx="97" cy="151"/>
                    </a:xfrm>
                    <a:custGeom>
                      <a:avLst/>
                      <a:gdLst>
                        <a:gd name="T0" fmla="*/ 0 w 103"/>
                        <a:gd name="T1" fmla="*/ 21 h 160"/>
                        <a:gd name="T2" fmla="*/ 0 w 103"/>
                        <a:gd name="T3" fmla="*/ 23 h 160"/>
                        <a:gd name="T4" fmla="*/ 5 w 103"/>
                        <a:gd name="T5" fmla="*/ 23 h 160"/>
                        <a:gd name="T6" fmla="*/ 8 w 103"/>
                        <a:gd name="T7" fmla="*/ 23 h 160"/>
                        <a:gd name="T8" fmla="*/ 8 w 103"/>
                        <a:gd name="T9" fmla="*/ 24 h 160"/>
                        <a:gd name="T10" fmla="*/ 8 w 103"/>
                        <a:gd name="T11" fmla="*/ 25 h 160"/>
                        <a:gd name="T12" fmla="*/ 8 w 103"/>
                        <a:gd name="T13" fmla="*/ 27 h 160"/>
                        <a:gd name="T14" fmla="*/ 8 w 103"/>
                        <a:gd name="T15" fmla="*/ 28 h 160"/>
                        <a:gd name="T16" fmla="*/ 8 w 103"/>
                        <a:gd name="T17" fmla="*/ 27 h 160"/>
                        <a:gd name="T18" fmla="*/ 10 w 103"/>
                        <a:gd name="T19" fmla="*/ 27 h 160"/>
                        <a:gd name="T20" fmla="*/ 15 w 103"/>
                        <a:gd name="T21" fmla="*/ 27 h 160"/>
                        <a:gd name="T22" fmla="*/ 17 w 103"/>
                        <a:gd name="T23" fmla="*/ 28 h 160"/>
                        <a:gd name="T24" fmla="*/ 18 w 103"/>
                        <a:gd name="T25" fmla="*/ 25 h 160"/>
                        <a:gd name="T26" fmla="*/ 16 w 103"/>
                        <a:gd name="T27" fmla="*/ 24 h 160"/>
                        <a:gd name="T28" fmla="*/ 14 w 103"/>
                        <a:gd name="T29" fmla="*/ 23 h 160"/>
                        <a:gd name="T30" fmla="*/ 13 w 103"/>
                        <a:gd name="T31" fmla="*/ 18 h 160"/>
                        <a:gd name="T32" fmla="*/ 16 w 103"/>
                        <a:gd name="T33" fmla="*/ 15 h 160"/>
                        <a:gd name="T34" fmla="*/ 15 w 103"/>
                        <a:gd name="T35" fmla="*/ 13 h 160"/>
                        <a:gd name="T36" fmla="*/ 12 w 103"/>
                        <a:gd name="T37" fmla="*/ 8 h 160"/>
                        <a:gd name="T38" fmla="*/ 12 w 103"/>
                        <a:gd name="T39" fmla="*/ 8 h 160"/>
                        <a:gd name="T40" fmla="*/ 15 w 103"/>
                        <a:gd name="T41" fmla="*/ 8 h 160"/>
                        <a:gd name="T42" fmla="*/ 15 w 103"/>
                        <a:gd name="T43" fmla="*/ 8 h 160"/>
                        <a:gd name="T44" fmla="*/ 15 w 103"/>
                        <a:gd name="T45" fmla="*/ 8 h 160"/>
                        <a:gd name="T46" fmla="*/ 14 w 103"/>
                        <a:gd name="T47" fmla="*/ 0 h 160"/>
                        <a:gd name="T48" fmla="*/ 13 w 103"/>
                        <a:gd name="T49" fmla="*/ 4 h 160"/>
                        <a:gd name="T50" fmla="*/ 13 w 103"/>
                        <a:gd name="T51" fmla="*/ 8 h 160"/>
                        <a:gd name="T52" fmla="*/ 11 w 103"/>
                        <a:gd name="T53" fmla="*/ 8 h 160"/>
                        <a:gd name="T54" fmla="*/ 10 w 103"/>
                        <a:gd name="T55" fmla="*/ 8 h 160"/>
                        <a:gd name="T56" fmla="*/ 8 w 103"/>
                        <a:gd name="T57" fmla="*/ 8 h 160"/>
                        <a:gd name="T58" fmla="*/ 8 w 103"/>
                        <a:gd name="T59" fmla="*/ 11 h 160"/>
                        <a:gd name="T60" fmla="*/ 8 w 103"/>
                        <a:gd name="T61" fmla="*/ 12 h 160"/>
                        <a:gd name="T62" fmla="*/ 8 w 103"/>
                        <a:gd name="T63" fmla="*/ 17 h 160"/>
                        <a:gd name="T64" fmla="*/ 8 w 103"/>
                        <a:gd name="T65" fmla="*/ 16 h 160"/>
                        <a:gd name="T66" fmla="*/ 8 w 103"/>
                        <a:gd name="T67" fmla="*/ 16 h 160"/>
                        <a:gd name="T68" fmla="*/ 5 w 103"/>
                        <a:gd name="T69" fmla="*/ 21 h 160"/>
                        <a:gd name="T70" fmla="*/ 0 w 103"/>
                        <a:gd name="T71" fmla="*/ 21 h 160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103"/>
                        <a:gd name="T109" fmla="*/ 0 h 160"/>
                        <a:gd name="T110" fmla="*/ 103 w 103"/>
                        <a:gd name="T111" fmla="*/ 160 h 160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103" h="160">
                          <a:moveTo>
                            <a:pt x="0" y="116"/>
                          </a:moveTo>
                          <a:lnTo>
                            <a:pt x="0" y="125"/>
                          </a:lnTo>
                          <a:lnTo>
                            <a:pt x="5" y="129"/>
                          </a:lnTo>
                          <a:lnTo>
                            <a:pt x="13" y="129"/>
                          </a:lnTo>
                          <a:lnTo>
                            <a:pt x="9" y="138"/>
                          </a:lnTo>
                          <a:lnTo>
                            <a:pt x="9" y="143"/>
                          </a:lnTo>
                          <a:lnTo>
                            <a:pt x="9" y="156"/>
                          </a:lnTo>
                          <a:lnTo>
                            <a:pt x="31" y="160"/>
                          </a:lnTo>
                          <a:lnTo>
                            <a:pt x="49" y="156"/>
                          </a:lnTo>
                          <a:lnTo>
                            <a:pt x="63" y="156"/>
                          </a:lnTo>
                          <a:lnTo>
                            <a:pt x="85" y="156"/>
                          </a:lnTo>
                          <a:lnTo>
                            <a:pt x="98" y="160"/>
                          </a:lnTo>
                          <a:lnTo>
                            <a:pt x="103" y="143"/>
                          </a:lnTo>
                          <a:lnTo>
                            <a:pt x="94" y="138"/>
                          </a:lnTo>
                          <a:lnTo>
                            <a:pt x="80" y="125"/>
                          </a:lnTo>
                          <a:lnTo>
                            <a:pt x="76" y="98"/>
                          </a:lnTo>
                          <a:lnTo>
                            <a:pt x="94" y="80"/>
                          </a:lnTo>
                          <a:lnTo>
                            <a:pt x="89" y="71"/>
                          </a:lnTo>
                          <a:lnTo>
                            <a:pt x="72" y="49"/>
                          </a:lnTo>
                          <a:lnTo>
                            <a:pt x="72" y="40"/>
                          </a:lnTo>
                          <a:lnTo>
                            <a:pt x="89" y="44"/>
                          </a:lnTo>
                          <a:lnTo>
                            <a:pt x="85" y="31"/>
                          </a:lnTo>
                          <a:lnTo>
                            <a:pt x="85" y="17"/>
                          </a:lnTo>
                          <a:lnTo>
                            <a:pt x="80" y="0"/>
                          </a:lnTo>
                          <a:lnTo>
                            <a:pt x="76" y="4"/>
                          </a:lnTo>
                          <a:lnTo>
                            <a:pt x="76" y="17"/>
                          </a:lnTo>
                          <a:lnTo>
                            <a:pt x="67" y="22"/>
                          </a:lnTo>
                          <a:lnTo>
                            <a:pt x="63" y="49"/>
                          </a:lnTo>
                          <a:lnTo>
                            <a:pt x="58" y="49"/>
                          </a:lnTo>
                          <a:lnTo>
                            <a:pt x="54" y="62"/>
                          </a:lnTo>
                          <a:lnTo>
                            <a:pt x="45" y="67"/>
                          </a:lnTo>
                          <a:lnTo>
                            <a:pt x="31" y="89"/>
                          </a:lnTo>
                          <a:lnTo>
                            <a:pt x="22" y="84"/>
                          </a:lnTo>
                          <a:lnTo>
                            <a:pt x="13" y="84"/>
                          </a:lnTo>
                          <a:lnTo>
                            <a:pt x="5" y="111"/>
                          </a:lnTo>
                          <a:lnTo>
                            <a:pt x="0" y="116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8" name="Freeform 20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450" y="2394"/>
                      <a:ext cx="25" cy="34"/>
                    </a:xfrm>
                    <a:custGeom>
                      <a:avLst/>
                      <a:gdLst>
                        <a:gd name="T0" fmla="*/ 0 w 27"/>
                        <a:gd name="T1" fmla="*/ 0 h 36"/>
                        <a:gd name="T2" fmla="*/ 5 w 27"/>
                        <a:gd name="T3" fmla="*/ 4 h 36"/>
                        <a:gd name="T4" fmla="*/ 5 w 27"/>
                        <a:gd name="T5" fmla="*/ 0 h 36"/>
                        <a:gd name="T6" fmla="*/ 0 w 27"/>
                        <a:gd name="T7" fmla="*/ 0 h 36"/>
                        <a:gd name="T8" fmla="*/ 6 w 27"/>
                        <a:gd name="T9" fmla="*/ 9 h 36"/>
                        <a:gd name="T10" fmla="*/ 5 w 27"/>
                        <a:gd name="T11" fmla="*/ 9 h 36"/>
                        <a:gd name="T12" fmla="*/ 6 w 27"/>
                        <a:gd name="T13" fmla="*/ 9 h 36"/>
                        <a:gd name="T14" fmla="*/ 6 w 27"/>
                        <a:gd name="T15" fmla="*/ 9 h 36"/>
                        <a:gd name="T16" fmla="*/ 6 w 27"/>
                        <a:gd name="T17" fmla="*/ 9 h 36"/>
                        <a:gd name="T18" fmla="*/ 6 w 27"/>
                        <a:gd name="T19" fmla="*/ 9 h 36"/>
                        <a:gd name="T20" fmla="*/ 6 w 27"/>
                        <a:gd name="T21" fmla="*/ 9 h 36"/>
                        <a:gd name="T22" fmla="*/ 6 w 27"/>
                        <a:gd name="T23" fmla="*/ 9 h 36"/>
                        <a:gd name="T24" fmla="*/ 6 w 27"/>
                        <a:gd name="T25" fmla="*/ 9 h 36"/>
                        <a:gd name="T26" fmla="*/ 6 w 27"/>
                        <a:gd name="T27" fmla="*/ 9 h 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w 27"/>
                        <a:gd name="T43" fmla="*/ 0 h 36"/>
                        <a:gd name="T44" fmla="*/ 27 w 27"/>
                        <a:gd name="T45" fmla="*/ 36 h 36"/>
                      </a:gdLst>
                      <a:ahLst/>
                      <a:cxnLst>
                        <a:cxn ang="T28">
                          <a:pos x="T0" y="T1"/>
                        </a:cxn>
                        <a:cxn ang="T29">
                          <a:pos x="T2" y="T3"/>
                        </a:cxn>
                        <a:cxn ang="T30">
                          <a:pos x="T4" y="T5"/>
                        </a:cxn>
                        <a:cxn ang="T31">
                          <a:pos x="T6" y="T7"/>
                        </a:cxn>
                        <a:cxn ang="T32">
                          <a:pos x="T8" y="T9"/>
                        </a:cxn>
                        <a:cxn ang="T33">
                          <a:pos x="T10" y="T11"/>
                        </a:cxn>
                        <a:cxn ang="T34">
                          <a:pos x="T12" y="T13"/>
                        </a:cxn>
                        <a:cxn ang="T35">
                          <a:pos x="T14" y="T15"/>
                        </a:cxn>
                        <a:cxn ang="T36">
                          <a:pos x="T16" y="T17"/>
                        </a:cxn>
                        <a:cxn ang="T37">
                          <a:pos x="T18" y="T19"/>
                        </a:cxn>
                        <a:cxn ang="T38">
                          <a:pos x="T20" y="T21"/>
                        </a:cxn>
                        <a:cxn ang="T39">
                          <a:pos x="T22" y="T23"/>
                        </a:cxn>
                        <a:cxn ang="T40">
                          <a:pos x="T24" y="T25"/>
                        </a:cxn>
                        <a:cxn ang="T41">
                          <a:pos x="T26" y="T27"/>
                        </a:cxn>
                      </a:cxnLst>
                      <a:rect l="T42" t="T43" r="T44" b="T45"/>
                      <a:pathLst>
                        <a:path w="27" h="36">
                          <a:moveTo>
                            <a:pt x="0" y="0"/>
                          </a:moveTo>
                          <a:lnTo>
                            <a:pt x="5" y="4"/>
                          </a:lnTo>
                          <a:lnTo>
                            <a:pt x="5" y="0"/>
                          </a:lnTo>
                          <a:lnTo>
                            <a:pt x="0" y="0"/>
                          </a:lnTo>
                          <a:close/>
                          <a:moveTo>
                            <a:pt x="9" y="22"/>
                          </a:moveTo>
                          <a:lnTo>
                            <a:pt x="5" y="31"/>
                          </a:lnTo>
                          <a:lnTo>
                            <a:pt x="9" y="36"/>
                          </a:lnTo>
                          <a:lnTo>
                            <a:pt x="14" y="31"/>
                          </a:lnTo>
                          <a:lnTo>
                            <a:pt x="9" y="22"/>
                          </a:lnTo>
                          <a:close/>
                          <a:moveTo>
                            <a:pt x="22" y="9"/>
                          </a:moveTo>
                          <a:lnTo>
                            <a:pt x="22" y="13"/>
                          </a:lnTo>
                          <a:lnTo>
                            <a:pt x="22" y="18"/>
                          </a:lnTo>
                          <a:lnTo>
                            <a:pt x="27" y="13"/>
                          </a:lnTo>
                          <a:lnTo>
                            <a:pt x="22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9" name="Freeform 2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73" y="2478"/>
                      <a:ext cx="178" cy="111"/>
                    </a:xfrm>
                    <a:custGeom>
                      <a:avLst/>
                      <a:gdLst>
                        <a:gd name="T0" fmla="*/ 9 w 188"/>
                        <a:gd name="T1" fmla="*/ 25 h 117"/>
                        <a:gd name="T2" fmla="*/ 9 w 188"/>
                        <a:gd name="T3" fmla="*/ 22 h 117"/>
                        <a:gd name="T4" fmla="*/ 12 w 188"/>
                        <a:gd name="T5" fmla="*/ 22 h 117"/>
                        <a:gd name="T6" fmla="*/ 12 w 188"/>
                        <a:gd name="T7" fmla="*/ 22 h 117"/>
                        <a:gd name="T8" fmla="*/ 16 w 188"/>
                        <a:gd name="T9" fmla="*/ 19 h 117"/>
                        <a:gd name="T10" fmla="*/ 18 w 188"/>
                        <a:gd name="T11" fmla="*/ 21 h 117"/>
                        <a:gd name="T12" fmla="*/ 23 w 188"/>
                        <a:gd name="T13" fmla="*/ 22 h 117"/>
                        <a:gd name="T14" fmla="*/ 24 w 188"/>
                        <a:gd name="T15" fmla="*/ 20 h 117"/>
                        <a:gd name="T16" fmla="*/ 25 w 188"/>
                        <a:gd name="T17" fmla="*/ 21 h 117"/>
                        <a:gd name="T18" fmla="*/ 28 w 188"/>
                        <a:gd name="T19" fmla="*/ 19 h 117"/>
                        <a:gd name="T20" fmla="*/ 29 w 188"/>
                        <a:gd name="T21" fmla="*/ 20 h 117"/>
                        <a:gd name="T22" fmla="*/ 31 w 188"/>
                        <a:gd name="T23" fmla="*/ 19 h 117"/>
                        <a:gd name="T24" fmla="*/ 37 w 188"/>
                        <a:gd name="T25" fmla="*/ 20 h 117"/>
                        <a:gd name="T26" fmla="*/ 37 w 188"/>
                        <a:gd name="T27" fmla="*/ 17 h 117"/>
                        <a:gd name="T28" fmla="*/ 35 w 188"/>
                        <a:gd name="T29" fmla="*/ 16 h 117"/>
                        <a:gd name="T30" fmla="*/ 31 w 188"/>
                        <a:gd name="T31" fmla="*/ 9 h 117"/>
                        <a:gd name="T32" fmla="*/ 28 w 188"/>
                        <a:gd name="T33" fmla="*/ 9 h 117"/>
                        <a:gd name="T34" fmla="*/ 27 w 188"/>
                        <a:gd name="T35" fmla="*/ 9 h 117"/>
                        <a:gd name="T36" fmla="*/ 25 w 188"/>
                        <a:gd name="T37" fmla="*/ 9 h 117"/>
                        <a:gd name="T38" fmla="*/ 25 w 188"/>
                        <a:gd name="T39" fmla="*/ 9 h 117"/>
                        <a:gd name="T40" fmla="*/ 24 w 188"/>
                        <a:gd name="T41" fmla="*/ 0 h 117"/>
                        <a:gd name="T42" fmla="*/ 23 w 188"/>
                        <a:gd name="T43" fmla="*/ 0 h 117"/>
                        <a:gd name="T44" fmla="*/ 21 w 188"/>
                        <a:gd name="T45" fmla="*/ 5 h 117"/>
                        <a:gd name="T46" fmla="*/ 19 w 188"/>
                        <a:gd name="T47" fmla="*/ 9 h 117"/>
                        <a:gd name="T48" fmla="*/ 14 w 188"/>
                        <a:gd name="T49" fmla="*/ 9 h 117"/>
                        <a:gd name="T50" fmla="*/ 13 w 188"/>
                        <a:gd name="T51" fmla="*/ 9 h 117"/>
                        <a:gd name="T52" fmla="*/ 9 w 188"/>
                        <a:gd name="T53" fmla="*/ 9 h 117"/>
                        <a:gd name="T54" fmla="*/ 9 w 188"/>
                        <a:gd name="T55" fmla="*/ 10 h 117"/>
                        <a:gd name="T56" fmla="*/ 9 w 188"/>
                        <a:gd name="T57" fmla="*/ 9 h 117"/>
                        <a:gd name="T58" fmla="*/ 9 w 188"/>
                        <a:gd name="T59" fmla="*/ 10 h 117"/>
                        <a:gd name="T60" fmla="*/ 0 w 188"/>
                        <a:gd name="T61" fmla="*/ 16 h 117"/>
                        <a:gd name="T62" fmla="*/ 4 w 188"/>
                        <a:gd name="T63" fmla="*/ 22 h 117"/>
                        <a:gd name="T64" fmla="*/ 9 w 188"/>
                        <a:gd name="T65" fmla="*/ 24 h 117"/>
                        <a:gd name="T66" fmla="*/ 9 w 188"/>
                        <a:gd name="T67" fmla="*/ 25 h 117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188"/>
                        <a:gd name="T103" fmla="*/ 0 h 117"/>
                        <a:gd name="T104" fmla="*/ 188 w 188"/>
                        <a:gd name="T105" fmla="*/ 117 h 117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188" h="117">
                          <a:moveTo>
                            <a:pt x="27" y="117"/>
                          </a:moveTo>
                          <a:lnTo>
                            <a:pt x="45" y="103"/>
                          </a:lnTo>
                          <a:lnTo>
                            <a:pt x="63" y="103"/>
                          </a:lnTo>
                          <a:lnTo>
                            <a:pt x="63" y="99"/>
                          </a:lnTo>
                          <a:lnTo>
                            <a:pt x="76" y="85"/>
                          </a:lnTo>
                          <a:lnTo>
                            <a:pt x="85" y="94"/>
                          </a:lnTo>
                          <a:lnTo>
                            <a:pt x="116" y="99"/>
                          </a:lnTo>
                          <a:lnTo>
                            <a:pt x="121" y="90"/>
                          </a:lnTo>
                          <a:lnTo>
                            <a:pt x="130" y="94"/>
                          </a:lnTo>
                          <a:lnTo>
                            <a:pt x="147" y="85"/>
                          </a:lnTo>
                          <a:lnTo>
                            <a:pt x="152" y="90"/>
                          </a:lnTo>
                          <a:lnTo>
                            <a:pt x="161" y="85"/>
                          </a:lnTo>
                          <a:lnTo>
                            <a:pt x="188" y="90"/>
                          </a:lnTo>
                          <a:lnTo>
                            <a:pt x="188" y="76"/>
                          </a:lnTo>
                          <a:lnTo>
                            <a:pt x="174" y="72"/>
                          </a:lnTo>
                          <a:lnTo>
                            <a:pt x="161" y="45"/>
                          </a:lnTo>
                          <a:lnTo>
                            <a:pt x="147" y="41"/>
                          </a:lnTo>
                          <a:lnTo>
                            <a:pt x="143" y="36"/>
                          </a:lnTo>
                          <a:lnTo>
                            <a:pt x="130" y="32"/>
                          </a:lnTo>
                          <a:lnTo>
                            <a:pt x="125" y="18"/>
                          </a:lnTo>
                          <a:lnTo>
                            <a:pt x="121" y="0"/>
                          </a:lnTo>
                          <a:lnTo>
                            <a:pt x="112" y="0"/>
                          </a:lnTo>
                          <a:lnTo>
                            <a:pt x="103" y="5"/>
                          </a:lnTo>
                          <a:lnTo>
                            <a:pt x="89" y="27"/>
                          </a:lnTo>
                          <a:lnTo>
                            <a:pt x="71" y="32"/>
                          </a:lnTo>
                          <a:lnTo>
                            <a:pt x="67" y="41"/>
                          </a:lnTo>
                          <a:lnTo>
                            <a:pt x="49" y="45"/>
                          </a:lnTo>
                          <a:lnTo>
                            <a:pt x="36" y="54"/>
                          </a:lnTo>
                          <a:lnTo>
                            <a:pt x="27" y="50"/>
                          </a:lnTo>
                          <a:lnTo>
                            <a:pt x="18" y="54"/>
                          </a:lnTo>
                          <a:lnTo>
                            <a:pt x="0" y="72"/>
                          </a:lnTo>
                          <a:lnTo>
                            <a:pt x="4" y="99"/>
                          </a:lnTo>
                          <a:lnTo>
                            <a:pt x="18" y="112"/>
                          </a:lnTo>
                          <a:lnTo>
                            <a:pt x="27" y="117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0" name="Freeform 2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61" y="2297"/>
                      <a:ext cx="139" cy="232"/>
                    </a:xfrm>
                    <a:custGeom>
                      <a:avLst/>
                      <a:gdLst>
                        <a:gd name="T0" fmla="*/ 0 w 147"/>
                        <a:gd name="T1" fmla="*/ 25 h 246"/>
                        <a:gd name="T2" fmla="*/ 4 w 147"/>
                        <a:gd name="T3" fmla="*/ 27 h 246"/>
                        <a:gd name="T4" fmla="*/ 9 w 147"/>
                        <a:gd name="T5" fmla="*/ 29 h 246"/>
                        <a:gd name="T6" fmla="*/ 9 w 147"/>
                        <a:gd name="T7" fmla="*/ 29 h 246"/>
                        <a:gd name="T8" fmla="*/ 9 w 147"/>
                        <a:gd name="T9" fmla="*/ 32 h 246"/>
                        <a:gd name="T10" fmla="*/ 9 w 147"/>
                        <a:gd name="T11" fmla="*/ 35 h 246"/>
                        <a:gd name="T12" fmla="*/ 9 w 147"/>
                        <a:gd name="T13" fmla="*/ 37 h 246"/>
                        <a:gd name="T14" fmla="*/ 9 w 147"/>
                        <a:gd name="T15" fmla="*/ 36 h 246"/>
                        <a:gd name="T16" fmla="*/ 9 w 147"/>
                        <a:gd name="T17" fmla="*/ 37 h 246"/>
                        <a:gd name="T18" fmla="*/ 9 w 147"/>
                        <a:gd name="T19" fmla="*/ 41 h 246"/>
                        <a:gd name="T20" fmla="*/ 9 w 147"/>
                        <a:gd name="T21" fmla="*/ 42 h 246"/>
                        <a:gd name="T22" fmla="*/ 9 w 147"/>
                        <a:gd name="T23" fmla="*/ 41 h 246"/>
                        <a:gd name="T24" fmla="*/ 9 w 147"/>
                        <a:gd name="T25" fmla="*/ 42 h 246"/>
                        <a:gd name="T26" fmla="*/ 11 w 147"/>
                        <a:gd name="T27" fmla="*/ 41 h 246"/>
                        <a:gd name="T28" fmla="*/ 16 w 147"/>
                        <a:gd name="T29" fmla="*/ 40 h 246"/>
                        <a:gd name="T30" fmla="*/ 17 w 147"/>
                        <a:gd name="T31" fmla="*/ 39 h 246"/>
                        <a:gd name="T32" fmla="*/ 20 w 147"/>
                        <a:gd name="T33" fmla="*/ 38 h 246"/>
                        <a:gd name="T34" fmla="*/ 22 w 147"/>
                        <a:gd name="T35" fmla="*/ 35 h 246"/>
                        <a:gd name="T36" fmla="*/ 24 w 147"/>
                        <a:gd name="T37" fmla="*/ 33 h 246"/>
                        <a:gd name="T38" fmla="*/ 25 w 147"/>
                        <a:gd name="T39" fmla="*/ 33 h 246"/>
                        <a:gd name="T40" fmla="*/ 24 w 147"/>
                        <a:gd name="T41" fmla="*/ 32 h 246"/>
                        <a:gd name="T42" fmla="*/ 24 w 147"/>
                        <a:gd name="T43" fmla="*/ 31 h 246"/>
                        <a:gd name="T44" fmla="*/ 23 w 147"/>
                        <a:gd name="T45" fmla="*/ 29 h 246"/>
                        <a:gd name="T46" fmla="*/ 24 w 147"/>
                        <a:gd name="T47" fmla="*/ 25 h 246"/>
                        <a:gd name="T48" fmla="*/ 25 w 147"/>
                        <a:gd name="T49" fmla="*/ 25 h 246"/>
                        <a:gd name="T50" fmla="*/ 24 w 147"/>
                        <a:gd name="T51" fmla="*/ 24 h 246"/>
                        <a:gd name="T52" fmla="*/ 25 w 147"/>
                        <a:gd name="T53" fmla="*/ 24 h 246"/>
                        <a:gd name="T54" fmla="*/ 25 w 147"/>
                        <a:gd name="T55" fmla="*/ 23 h 246"/>
                        <a:gd name="T56" fmla="*/ 27 w 147"/>
                        <a:gd name="T57" fmla="*/ 22 h 246"/>
                        <a:gd name="T58" fmla="*/ 27 w 147"/>
                        <a:gd name="T59" fmla="*/ 11 h 246"/>
                        <a:gd name="T60" fmla="*/ 9 w 147"/>
                        <a:gd name="T61" fmla="*/ 0 h 246"/>
                        <a:gd name="T62" fmla="*/ 9 w 147"/>
                        <a:gd name="T63" fmla="*/ 8 h 246"/>
                        <a:gd name="T64" fmla="*/ 9 w 147"/>
                        <a:gd name="T65" fmla="*/ 8 h 246"/>
                        <a:gd name="T66" fmla="*/ 9 w 147"/>
                        <a:gd name="T67" fmla="*/ 8 h 246"/>
                        <a:gd name="T68" fmla="*/ 9 w 147"/>
                        <a:gd name="T69" fmla="*/ 8 h 246"/>
                        <a:gd name="T70" fmla="*/ 9 w 147"/>
                        <a:gd name="T71" fmla="*/ 11 h 246"/>
                        <a:gd name="T72" fmla="*/ 9 w 147"/>
                        <a:gd name="T73" fmla="*/ 20 h 246"/>
                        <a:gd name="T74" fmla="*/ 4 w 147"/>
                        <a:gd name="T75" fmla="*/ 23 h 246"/>
                        <a:gd name="T76" fmla="*/ 0 w 147"/>
                        <a:gd name="T77" fmla="*/ 24 h 246"/>
                        <a:gd name="T78" fmla="*/ 0 w 147"/>
                        <a:gd name="T79" fmla="*/ 25 h 24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w 147"/>
                        <a:gd name="T121" fmla="*/ 0 h 246"/>
                        <a:gd name="T122" fmla="*/ 147 w 147"/>
                        <a:gd name="T123" fmla="*/ 246 h 246"/>
                      </a:gdLst>
                      <a:ahLst/>
                      <a:cxnLst>
                        <a:cxn ang="T80">
                          <a:pos x="T0" y="T1"/>
                        </a:cxn>
                        <a:cxn ang="T81">
                          <a:pos x="T2" y="T3"/>
                        </a:cxn>
                        <a:cxn ang="T82">
                          <a:pos x="T4" y="T5"/>
                        </a:cxn>
                        <a:cxn ang="T83">
                          <a:pos x="T6" y="T7"/>
                        </a:cxn>
                        <a:cxn ang="T84">
                          <a:pos x="T8" y="T9"/>
                        </a:cxn>
                        <a:cxn ang="T85">
                          <a:pos x="T10" y="T11"/>
                        </a:cxn>
                        <a:cxn ang="T86">
                          <a:pos x="T12" y="T13"/>
                        </a:cxn>
                        <a:cxn ang="T87">
                          <a:pos x="T14" y="T15"/>
                        </a:cxn>
                        <a:cxn ang="T88">
                          <a:pos x="T16" y="T17"/>
                        </a:cxn>
                        <a:cxn ang="T89">
                          <a:pos x="T18" y="T19"/>
                        </a:cxn>
                        <a:cxn ang="T90">
                          <a:pos x="T20" y="T21"/>
                        </a:cxn>
                        <a:cxn ang="T91">
                          <a:pos x="T22" y="T23"/>
                        </a:cxn>
                        <a:cxn ang="T92">
                          <a:pos x="T24" y="T25"/>
                        </a:cxn>
                        <a:cxn ang="T93">
                          <a:pos x="T26" y="T27"/>
                        </a:cxn>
                        <a:cxn ang="T94">
                          <a:pos x="T28" y="T29"/>
                        </a:cxn>
                        <a:cxn ang="T95">
                          <a:pos x="T30" y="T31"/>
                        </a:cxn>
                        <a:cxn ang="T96">
                          <a:pos x="T32" y="T33"/>
                        </a:cxn>
                        <a:cxn ang="T97">
                          <a:pos x="T34" y="T35"/>
                        </a:cxn>
                        <a:cxn ang="T98">
                          <a:pos x="T36" y="T37"/>
                        </a:cxn>
                        <a:cxn ang="T99">
                          <a:pos x="T38" y="T39"/>
                        </a:cxn>
                        <a:cxn ang="T100">
                          <a:pos x="T40" y="T41"/>
                        </a:cxn>
                        <a:cxn ang="T101">
                          <a:pos x="T42" y="T43"/>
                        </a:cxn>
                        <a:cxn ang="T102">
                          <a:pos x="T44" y="T45"/>
                        </a:cxn>
                        <a:cxn ang="T103">
                          <a:pos x="T46" y="T47"/>
                        </a:cxn>
                        <a:cxn ang="T104">
                          <a:pos x="T48" y="T49"/>
                        </a:cxn>
                        <a:cxn ang="T105">
                          <a:pos x="T50" y="T51"/>
                        </a:cxn>
                        <a:cxn ang="T106">
                          <a:pos x="T52" y="T53"/>
                        </a:cxn>
                        <a:cxn ang="T107">
                          <a:pos x="T54" y="T55"/>
                        </a:cxn>
                        <a:cxn ang="T108">
                          <a:pos x="T56" y="T57"/>
                        </a:cxn>
                        <a:cxn ang="T109">
                          <a:pos x="T58" y="T59"/>
                        </a:cxn>
                        <a:cxn ang="T110">
                          <a:pos x="T60" y="T61"/>
                        </a:cxn>
                        <a:cxn ang="T111">
                          <a:pos x="T62" y="T63"/>
                        </a:cxn>
                        <a:cxn ang="T112">
                          <a:pos x="T64" y="T65"/>
                        </a:cxn>
                        <a:cxn ang="T113">
                          <a:pos x="T66" y="T67"/>
                        </a:cxn>
                        <a:cxn ang="T114">
                          <a:pos x="T68" y="T69"/>
                        </a:cxn>
                        <a:cxn ang="T115">
                          <a:pos x="T70" y="T71"/>
                        </a:cxn>
                        <a:cxn ang="T116">
                          <a:pos x="T72" y="T73"/>
                        </a:cxn>
                        <a:cxn ang="T117">
                          <a:pos x="T74" y="T75"/>
                        </a:cxn>
                        <a:cxn ang="T118">
                          <a:pos x="T76" y="T77"/>
                        </a:cxn>
                        <a:cxn ang="T119">
                          <a:pos x="T78" y="T79"/>
                        </a:cxn>
                      </a:cxnLst>
                      <a:rect l="T120" t="T121" r="T122" b="T123"/>
                      <a:pathLst>
                        <a:path w="147" h="246">
                          <a:moveTo>
                            <a:pt x="0" y="152"/>
                          </a:moveTo>
                          <a:lnTo>
                            <a:pt x="4" y="157"/>
                          </a:lnTo>
                          <a:lnTo>
                            <a:pt x="13" y="170"/>
                          </a:lnTo>
                          <a:lnTo>
                            <a:pt x="17" y="166"/>
                          </a:lnTo>
                          <a:lnTo>
                            <a:pt x="22" y="183"/>
                          </a:lnTo>
                          <a:lnTo>
                            <a:pt x="22" y="197"/>
                          </a:lnTo>
                          <a:lnTo>
                            <a:pt x="26" y="210"/>
                          </a:lnTo>
                          <a:lnTo>
                            <a:pt x="9" y="206"/>
                          </a:lnTo>
                          <a:lnTo>
                            <a:pt x="9" y="215"/>
                          </a:lnTo>
                          <a:lnTo>
                            <a:pt x="26" y="237"/>
                          </a:lnTo>
                          <a:lnTo>
                            <a:pt x="31" y="246"/>
                          </a:lnTo>
                          <a:lnTo>
                            <a:pt x="40" y="242"/>
                          </a:lnTo>
                          <a:lnTo>
                            <a:pt x="49" y="246"/>
                          </a:lnTo>
                          <a:lnTo>
                            <a:pt x="62" y="237"/>
                          </a:lnTo>
                          <a:lnTo>
                            <a:pt x="80" y="233"/>
                          </a:lnTo>
                          <a:lnTo>
                            <a:pt x="84" y="224"/>
                          </a:lnTo>
                          <a:lnTo>
                            <a:pt x="102" y="219"/>
                          </a:lnTo>
                          <a:lnTo>
                            <a:pt x="116" y="197"/>
                          </a:lnTo>
                          <a:lnTo>
                            <a:pt x="125" y="192"/>
                          </a:lnTo>
                          <a:lnTo>
                            <a:pt x="134" y="192"/>
                          </a:lnTo>
                          <a:lnTo>
                            <a:pt x="129" y="183"/>
                          </a:lnTo>
                          <a:lnTo>
                            <a:pt x="129" y="179"/>
                          </a:lnTo>
                          <a:lnTo>
                            <a:pt x="120" y="166"/>
                          </a:lnTo>
                          <a:lnTo>
                            <a:pt x="125" y="152"/>
                          </a:lnTo>
                          <a:lnTo>
                            <a:pt x="134" y="148"/>
                          </a:lnTo>
                          <a:lnTo>
                            <a:pt x="129" y="143"/>
                          </a:lnTo>
                          <a:lnTo>
                            <a:pt x="134" y="139"/>
                          </a:lnTo>
                          <a:lnTo>
                            <a:pt x="134" y="130"/>
                          </a:lnTo>
                          <a:lnTo>
                            <a:pt x="147" y="125"/>
                          </a:lnTo>
                          <a:lnTo>
                            <a:pt x="147" y="67"/>
                          </a:lnTo>
                          <a:lnTo>
                            <a:pt x="35" y="0"/>
                          </a:lnTo>
                          <a:lnTo>
                            <a:pt x="22" y="9"/>
                          </a:lnTo>
                          <a:lnTo>
                            <a:pt x="31" y="27"/>
                          </a:lnTo>
                          <a:lnTo>
                            <a:pt x="31" y="40"/>
                          </a:lnTo>
                          <a:lnTo>
                            <a:pt x="40" y="49"/>
                          </a:lnTo>
                          <a:lnTo>
                            <a:pt x="31" y="67"/>
                          </a:lnTo>
                          <a:lnTo>
                            <a:pt x="26" y="112"/>
                          </a:lnTo>
                          <a:lnTo>
                            <a:pt x="4" y="130"/>
                          </a:lnTo>
                          <a:lnTo>
                            <a:pt x="0" y="139"/>
                          </a:lnTo>
                          <a:lnTo>
                            <a:pt x="0" y="15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1" name="Freeform 23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3365" y="2787"/>
                      <a:ext cx="17" cy="16"/>
                    </a:xfrm>
                    <a:custGeom>
                      <a:avLst/>
                      <a:gdLst>
                        <a:gd name="T0" fmla="*/ 5 w 18"/>
                        <a:gd name="T1" fmla="*/ 8 h 17"/>
                        <a:gd name="T2" fmla="*/ 5 w 18"/>
                        <a:gd name="T3" fmla="*/ 4 h 17"/>
                        <a:gd name="T4" fmla="*/ 5 w 18"/>
                        <a:gd name="T5" fmla="*/ 0 h 17"/>
                        <a:gd name="T6" fmla="*/ 0 w 18"/>
                        <a:gd name="T7" fmla="*/ 4 h 17"/>
                        <a:gd name="T8" fmla="*/ 0 w 18"/>
                        <a:gd name="T9" fmla="*/ 8 h 17"/>
                        <a:gd name="T10" fmla="*/ 5 w 18"/>
                        <a:gd name="T11" fmla="*/ 8 h 17"/>
                        <a:gd name="T12" fmla="*/ 9 w 18"/>
                        <a:gd name="T13" fmla="*/ 8 h 17"/>
                        <a:gd name="T14" fmla="*/ 9 w 18"/>
                        <a:gd name="T15" fmla="*/ 8 h 17"/>
                        <a:gd name="T16" fmla="*/ 9 w 18"/>
                        <a:gd name="T17" fmla="*/ 8 h 17"/>
                        <a:gd name="T18" fmla="*/ 9 w 18"/>
                        <a:gd name="T19" fmla="*/ 8 h 17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18"/>
                        <a:gd name="T31" fmla="*/ 0 h 17"/>
                        <a:gd name="T32" fmla="*/ 18 w 18"/>
                        <a:gd name="T33" fmla="*/ 17 h 17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18" h="17">
                          <a:moveTo>
                            <a:pt x="5" y="9"/>
                          </a:moveTo>
                          <a:lnTo>
                            <a:pt x="5" y="4"/>
                          </a:lnTo>
                          <a:lnTo>
                            <a:pt x="5" y="0"/>
                          </a:lnTo>
                          <a:lnTo>
                            <a:pt x="0" y="4"/>
                          </a:lnTo>
                          <a:lnTo>
                            <a:pt x="0" y="9"/>
                          </a:lnTo>
                          <a:lnTo>
                            <a:pt x="5" y="9"/>
                          </a:lnTo>
                          <a:close/>
                          <a:moveTo>
                            <a:pt x="18" y="13"/>
                          </a:moveTo>
                          <a:lnTo>
                            <a:pt x="18" y="17"/>
                          </a:lnTo>
                          <a:lnTo>
                            <a:pt x="18" y="1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2" name="Freeform 24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387" y="2803"/>
                      <a:ext cx="8" cy="9"/>
                    </a:xfrm>
                    <a:custGeom>
                      <a:avLst/>
                      <a:gdLst>
                        <a:gd name="T0" fmla="*/ 4 w 9"/>
                        <a:gd name="T1" fmla="*/ 9 h 9"/>
                        <a:gd name="T2" fmla="*/ 4 w 9"/>
                        <a:gd name="T3" fmla="*/ 9 h 9"/>
                        <a:gd name="T4" fmla="*/ 4 w 9"/>
                        <a:gd name="T5" fmla="*/ 5 h 9"/>
                        <a:gd name="T6" fmla="*/ 4 w 9"/>
                        <a:gd name="T7" fmla="*/ 5 h 9"/>
                        <a:gd name="T8" fmla="*/ 0 w 9"/>
                        <a:gd name="T9" fmla="*/ 0 h 9"/>
                        <a:gd name="T10" fmla="*/ 4 w 9"/>
                        <a:gd name="T11" fmla="*/ 9 h 9"/>
                        <a:gd name="T12" fmla="*/ 4 w 9"/>
                        <a:gd name="T13" fmla="*/ 9 h 9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9"/>
                        <a:gd name="T22" fmla="*/ 0 h 9"/>
                        <a:gd name="T23" fmla="*/ 9 w 9"/>
                        <a:gd name="T24" fmla="*/ 9 h 9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9" h="9">
                          <a:moveTo>
                            <a:pt x="9" y="9"/>
                          </a:moveTo>
                          <a:lnTo>
                            <a:pt x="9" y="9"/>
                          </a:lnTo>
                          <a:lnTo>
                            <a:pt x="9" y="5"/>
                          </a:lnTo>
                          <a:lnTo>
                            <a:pt x="4" y="5"/>
                          </a:lnTo>
                          <a:lnTo>
                            <a:pt x="0" y="0"/>
                          </a:lnTo>
                          <a:lnTo>
                            <a:pt x="4" y="9"/>
                          </a:lnTo>
                          <a:lnTo>
                            <a:pt x="9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3" name="Freeform 2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27" y="2575"/>
                      <a:ext cx="106" cy="127"/>
                    </a:xfrm>
                    <a:custGeom>
                      <a:avLst/>
                      <a:gdLst>
                        <a:gd name="T0" fmla="*/ 0 w 112"/>
                        <a:gd name="T1" fmla="*/ 23 h 134"/>
                        <a:gd name="T2" fmla="*/ 9 w 112"/>
                        <a:gd name="T3" fmla="*/ 25 h 134"/>
                        <a:gd name="T4" fmla="*/ 9 w 112"/>
                        <a:gd name="T5" fmla="*/ 26 h 134"/>
                        <a:gd name="T6" fmla="*/ 9 w 112"/>
                        <a:gd name="T7" fmla="*/ 25 h 134"/>
                        <a:gd name="T8" fmla="*/ 9 w 112"/>
                        <a:gd name="T9" fmla="*/ 25 h 134"/>
                        <a:gd name="T10" fmla="*/ 9 w 112"/>
                        <a:gd name="T11" fmla="*/ 26 h 134"/>
                        <a:gd name="T12" fmla="*/ 9 w 112"/>
                        <a:gd name="T13" fmla="*/ 25 h 134"/>
                        <a:gd name="T14" fmla="*/ 9 w 112"/>
                        <a:gd name="T15" fmla="*/ 25 h 134"/>
                        <a:gd name="T16" fmla="*/ 11 w 112"/>
                        <a:gd name="T17" fmla="*/ 26 h 134"/>
                        <a:gd name="T18" fmla="*/ 14 w 112"/>
                        <a:gd name="T19" fmla="*/ 25 h 134"/>
                        <a:gd name="T20" fmla="*/ 16 w 112"/>
                        <a:gd name="T21" fmla="*/ 22 h 134"/>
                        <a:gd name="T22" fmla="*/ 16 w 112"/>
                        <a:gd name="T23" fmla="*/ 19 h 134"/>
                        <a:gd name="T24" fmla="*/ 20 w 112"/>
                        <a:gd name="T25" fmla="*/ 15 h 134"/>
                        <a:gd name="T26" fmla="*/ 21 w 112"/>
                        <a:gd name="T27" fmla="*/ 9 h 134"/>
                        <a:gd name="T28" fmla="*/ 23 w 112"/>
                        <a:gd name="T29" fmla="*/ 9 h 134"/>
                        <a:gd name="T30" fmla="*/ 23 w 112"/>
                        <a:gd name="T31" fmla="*/ 0 h 134"/>
                        <a:gd name="T32" fmla="*/ 20 w 112"/>
                        <a:gd name="T33" fmla="*/ 0 h 134"/>
                        <a:gd name="T34" fmla="*/ 16 w 112"/>
                        <a:gd name="T35" fmla="*/ 9 h 134"/>
                        <a:gd name="T36" fmla="*/ 14 w 112"/>
                        <a:gd name="T37" fmla="*/ 9 h 134"/>
                        <a:gd name="T38" fmla="*/ 11 w 112"/>
                        <a:gd name="T39" fmla="*/ 9 h 134"/>
                        <a:gd name="T40" fmla="*/ 9 w 112"/>
                        <a:gd name="T41" fmla="*/ 9 h 134"/>
                        <a:gd name="T42" fmla="*/ 9 w 112"/>
                        <a:gd name="T43" fmla="*/ 9 h 134"/>
                        <a:gd name="T44" fmla="*/ 9 w 112"/>
                        <a:gd name="T45" fmla="*/ 9 h 134"/>
                        <a:gd name="T46" fmla="*/ 9 w 112"/>
                        <a:gd name="T47" fmla="*/ 9 h 134"/>
                        <a:gd name="T48" fmla="*/ 9 w 112"/>
                        <a:gd name="T49" fmla="*/ 9 h 134"/>
                        <a:gd name="T50" fmla="*/ 9 w 112"/>
                        <a:gd name="T51" fmla="*/ 16 h 134"/>
                        <a:gd name="T52" fmla="*/ 9 w 112"/>
                        <a:gd name="T53" fmla="*/ 19 h 134"/>
                        <a:gd name="T54" fmla="*/ 9 w 112"/>
                        <a:gd name="T55" fmla="*/ 20 h 134"/>
                        <a:gd name="T56" fmla="*/ 9 w 112"/>
                        <a:gd name="T57" fmla="*/ 18 h 134"/>
                        <a:gd name="T58" fmla="*/ 9 w 112"/>
                        <a:gd name="T59" fmla="*/ 20 h 134"/>
                        <a:gd name="T60" fmla="*/ 4 w 112"/>
                        <a:gd name="T61" fmla="*/ 20 h 134"/>
                        <a:gd name="T62" fmla="*/ 9 w 112"/>
                        <a:gd name="T63" fmla="*/ 21 h 134"/>
                        <a:gd name="T64" fmla="*/ 9 w 112"/>
                        <a:gd name="T65" fmla="*/ 22 h 134"/>
                        <a:gd name="T66" fmla="*/ 4 w 112"/>
                        <a:gd name="T67" fmla="*/ 22 h 134"/>
                        <a:gd name="T68" fmla="*/ 0 w 112"/>
                        <a:gd name="T69" fmla="*/ 23 h 134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w 112"/>
                        <a:gd name="T106" fmla="*/ 0 h 134"/>
                        <a:gd name="T107" fmla="*/ 112 w 112"/>
                        <a:gd name="T108" fmla="*/ 134 h 134"/>
                      </a:gdLst>
                      <a:ahLst/>
                      <a:cxnLst>
                        <a:cxn ang="T70">
                          <a:pos x="T0" y="T1"/>
                        </a:cxn>
                        <a:cxn ang="T71">
                          <a:pos x="T2" y="T3"/>
                        </a:cxn>
                        <a:cxn ang="T72">
                          <a:pos x="T4" y="T5"/>
                        </a:cxn>
                        <a:cxn ang="T73">
                          <a:pos x="T6" y="T7"/>
                        </a:cxn>
                        <a:cxn ang="T74">
                          <a:pos x="T8" y="T9"/>
                        </a:cxn>
                        <a:cxn ang="T75">
                          <a:pos x="T10" y="T11"/>
                        </a:cxn>
                        <a:cxn ang="T76">
                          <a:pos x="T12" y="T13"/>
                        </a:cxn>
                        <a:cxn ang="T77">
                          <a:pos x="T14" y="T15"/>
                        </a:cxn>
                        <a:cxn ang="T78">
                          <a:pos x="T16" y="T17"/>
                        </a:cxn>
                        <a:cxn ang="T79">
                          <a:pos x="T18" y="T19"/>
                        </a:cxn>
                        <a:cxn ang="T80">
                          <a:pos x="T20" y="T21"/>
                        </a:cxn>
                        <a:cxn ang="T81">
                          <a:pos x="T22" y="T23"/>
                        </a:cxn>
                        <a:cxn ang="T82">
                          <a:pos x="T24" y="T25"/>
                        </a:cxn>
                        <a:cxn ang="T83">
                          <a:pos x="T26" y="T27"/>
                        </a:cxn>
                        <a:cxn ang="T84">
                          <a:pos x="T28" y="T29"/>
                        </a:cxn>
                        <a:cxn ang="T85">
                          <a:pos x="T30" y="T31"/>
                        </a:cxn>
                        <a:cxn ang="T86">
                          <a:pos x="T32" y="T33"/>
                        </a:cxn>
                        <a:cxn ang="T87">
                          <a:pos x="T34" y="T35"/>
                        </a:cxn>
                        <a:cxn ang="T88">
                          <a:pos x="T36" y="T37"/>
                        </a:cxn>
                        <a:cxn ang="T89">
                          <a:pos x="T38" y="T39"/>
                        </a:cxn>
                        <a:cxn ang="T90">
                          <a:pos x="T40" y="T41"/>
                        </a:cxn>
                        <a:cxn ang="T91">
                          <a:pos x="T42" y="T43"/>
                        </a:cxn>
                        <a:cxn ang="T92">
                          <a:pos x="T44" y="T45"/>
                        </a:cxn>
                        <a:cxn ang="T93">
                          <a:pos x="T46" y="T47"/>
                        </a:cxn>
                        <a:cxn ang="T94">
                          <a:pos x="T48" y="T49"/>
                        </a:cxn>
                        <a:cxn ang="T95">
                          <a:pos x="T50" y="T51"/>
                        </a:cxn>
                        <a:cxn ang="T96">
                          <a:pos x="T52" y="T53"/>
                        </a:cxn>
                        <a:cxn ang="T97">
                          <a:pos x="T54" y="T55"/>
                        </a:cxn>
                        <a:cxn ang="T98">
                          <a:pos x="T56" y="T57"/>
                        </a:cxn>
                        <a:cxn ang="T99">
                          <a:pos x="T58" y="T59"/>
                        </a:cxn>
                        <a:cxn ang="T100">
                          <a:pos x="T60" y="T61"/>
                        </a:cxn>
                        <a:cxn ang="T101">
                          <a:pos x="T62" y="T63"/>
                        </a:cxn>
                        <a:cxn ang="T102">
                          <a:pos x="T64" y="T65"/>
                        </a:cxn>
                        <a:cxn ang="T103">
                          <a:pos x="T66" y="T67"/>
                        </a:cxn>
                        <a:cxn ang="T104">
                          <a:pos x="T68" y="T69"/>
                        </a:cxn>
                      </a:cxnLst>
                      <a:rect l="T105" t="T106" r="T107" b="T108"/>
                      <a:pathLst>
                        <a:path w="112" h="134">
                          <a:moveTo>
                            <a:pt x="0" y="112"/>
                          </a:moveTo>
                          <a:lnTo>
                            <a:pt x="9" y="125"/>
                          </a:lnTo>
                          <a:lnTo>
                            <a:pt x="13" y="134"/>
                          </a:lnTo>
                          <a:lnTo>
                            <a:pt x="22" y="125"/>
                          </a:lnTo>
                          <a:lnTo>
                            <a:pt x="27" y="125"/>
                          </a:lnTo>
                          <a:lnTo>
                            <a:pt x="36" y="130"/>
                          </a:lnTo>
                          <a:lnTo>
                            <a:pt x="40" y="125"/>
                          </a:lnTo>
                          <a:lnTo>
                            <a:pt x="49" y="125"/>
                          </a:lnTo>
                          <a:lnTo>
                            <a:pt x="58" y="130"/>
                          </a:lnTo>
                          <a:lnTo>
                            <a:pt x="71" y="121"/>
                          </a:lnTo>
                          <a:lnTo>
                            <a:pt x="76" y="107"/>
                          </a:lnTo>
                          <a:lnTo>
                            <a:pt x="76" y="90"/>
                          </a:lnTo>
                          <a:lnTo>
                            <a:pt x="98" y="72"/>
                          </a:lnTo>
                          <a:lnTo>
                            <a:pt x="103" y="40"/>
                          </a:lnTo>
                          <a:lnTo>
                            <a:pt x="112" y="9"/>
                          </a:lnTo>
                          <a:lnTo>
                            <a:pt x="112" y="0"/>
                          </a:lnTo>
                          <a:lnTo>
                            <a:pt x="94" y="0"/>
                          </a:lnTo>
                          <a:lnTo>
                            <a:pt x="76" y="14"/>
                          </a:lnTo>
                          <a:lnTo>
                            <a:pt x="71" y="31"/>
                          </a:lnTo>
                          <a:lnTo>
                            <a:pt x="58" y="27"/>
                          </a:lnTo>
                          <a:lnTo>
                            <a:pt x="36" y="27"/>
                          </a:lnTo>
                          <a:lnTo>
                            <a:pt x="31" y="40"/>
                          </a:lnTo>
                          <a:lnTo>
                            <a:pt x="49" y="40"/>
                          </a:lnTo>
                          <a:lnTo>
                            <a:pt x="49" y="49"/>
                          </a:lnTo>
                          <a:lnTo>
                            <a:pt x="45" y="54"/>
                          </a:lnTo>
                          <a:lnTo>
                            <a:pt x="49" y="76"/>
                          </a:lnTo>
                          <a:lnTo>
                            <a:pt x="49" y="90"/>
                          </a:lnTo>
                          <a:lnTo>
                            <a:pt x="31" y="94"/>
                          </a:lnTo>
                          <a:lnTo>
                            <a:pt x="22" y="85"/>
                          </a:lnTo>
                          <a:lnTo>
                            <a:pt x="13" y="94"/>
                          </a:lnTo>
                          <a:lnTo>
                            <a:pt x="4" y="94"/>
                          </a:lnTo>
                          <a:lnTo>
                            <a:pt x="9" y="98"/>
                          </a:lnTo>
                          <a:lnTo>
                            <a:pt x="9" y="107"/>
                          </a:lnTo>
                          <a:lnTo>
                            <a:pt x="4" y="107"/>
                          </a:lnTo>
                          <a:lnTo>
                            <a:pt x="0" y="11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4" name="Freeform 2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44" y="2558"/>
                      <a:ext cx="257" cy="253"/>
                    </a:xfrm>
                    <a:custGeom>
                      <a:avLst/>
                      <a:gdLst>
                        <a:gd name="T0" fmla="*/ 9 w 272"/>
                        <a:gd name="T1" fmla="*/ 26 h 268"/>
                        <a:gd name="T2" fmla="*/ 9 w 272"/>
                        <a:gd name="T3" fmla="*/ 25 h 268"/>
                        <a:gd name="T4" fmla="*/ 9 w 272"/>
                        <a:gd name="T5" fmla="*/ 25 h 268"/>
                        <a:gd name="T6" fmla="*/ 10 w 272"/>
                        <a:gd name="T7" fmla="*/ 20 h 268"/>
                        <a:gd name="T8" fmla="*/ 17 w 272"/>
                        <a:gd name="T9" fmla="*/ 9 h 268"/>
                        <a:gd name="T10" fmla="*/ 19 w 272"/>
                        <a:gd name="T11" fmla="*/ 8 h 268"/>
                        <a:gd name="T12" fmla="*/ 21 w 272"/>
                        <a:gd name="T13" fmla="*/ 0 h 268"/>
                        <a:gd name="T14" fmla="*/ 27 w 272"/>
                        <a:gd name="T15" fmla="*/ 8 h 268"/>
                        <a:gd name="T16" fmla="*/ 29 w 272"/>
                        <a:gd name="T17" fmla="*/ 8 h 268"/>
                        <a:gd name="T18" fmla="*/ 34 w 272"/>
                        <a:gd name="T19" fmla="*/ 5 h 268"/>
                        <a:gd name="T20" fmla="*/ 41 w 272"/>
                        <a:gd name="T21" fmla="*/ 5 h 268"/>
                        <a:gd name="T22" fmla="*/ 46 w 272"/>
                        <a:gd name="T23" fmla="*/ 8 h 268"/>
                        <a:gd name="T24" fmla="*/ 49 w 272"/>
                        <a:gd name="T25" fmla="*/ 8 h 268"/>
                        <a:gd name="T26" fmla="*/ 46 w 272"/>
                        <a:gd name="T27" fmla="*/ 12 h 268"/>
                        <a:gd name="T28" fmla="*/ 44 w 272"/>
                        <a:gd name="T29" fmla="*/ 19 h 268"/>
                        <a:gd name="T30" fmla="*/ 44 w 272"/>
                        <a:gd name="T31" fmla="*/ 22 h 268"/>
                        <a:gd name="T32" fmla="*/ 44 w 272"/>
                        <a:gd name="T33" fmla="*/ 24 h 268"/>
                        <a:gd name="T34" fmla="*/ 44 w 272"/>
                        <a:gd name="T35" fmla="*/ 25 h 268"/>
                        <a:gd name="T36" fmla="*/ 44 w 272"/>
                        <a:gd name="T37" fmla="*/ 30 h 268"/>
                        <a:gd name="T38" fmla="*/ 48 w 272"/>
                        <a:gd name="T39" fmla="*/ 36 h 268"/>
                        <a:gd name="T40" fmla="*/ 43 w 272"/>
                        <a:gd name="T41" fmla="*/ 40 h 268"/>
                        <a:gd name="T42" fmla="*/ 44 w 272"/>
                        <a:gd name="T43" fmla="*/ 46 h 268"/>
                        <a:gd name="T44" fmla="*/ 47 w 272"/>
                        <a:gd name="T45" fmla="*/ 48 h 268"/>
                        <a:gd name="T46" fmla="*/ 43 w 272"/>
                        <a:gd name="T47" fmla="*/ 46 h 268"/>
                        <a:gd name="T48" fmla="*/ 41 w 272"/>
                        <a:gd name="T49" fmla="*/ 44 h 268"/>
                        <a:gd name="T50" fmla="*/ 35 w 272"/>
                        <a:gd name="T51" fmla="*/ 42 h 268"/>
                        <a:gd name="T52" fmla="*/ 31 w 272"/>
                        <a:gd name="T53" fmla="*/ 42 h 268"/>
                        <a:gd name="T54" fmla="*/ 25 w 272"/>
                        <a:gd name="T55" fmla="*/ 34 h 268"/>
                        <a:gd name="T56" fmla="*/ 23 w 272"/>
                        <a:gd name="T57" fmla="*/ 32 h 268"/>
                        <a:gd name="T58" fmla="*/ 20 w 272"/>
                        <a:gd name="T59" fmla="*/ 36 h 268"/>
                        <a:gd name="T60" fmla="*/ 14 w 272"/>
                        <a:gd name="T61" fmla="*/ 34 h 268"/>
                        <a:gd name="T62" fmla="*/ 13 w 272"/>
                        <a:gd name="T63" fmla="*/ 30 h 268"/>
                        <a:gd name="T64" fmla="*/ 0 w 272"/>
                        <a:gd name="T65" fmla="*/ 28 h 268"/>
                        <a:gd name="T66" fmla="*/ 9 w 272"/>
                        <a:gd name="T67" fmla="*/ 25 h 268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272"/>
                        <a:gd name="T103" fmla="*/ 0 h 268"/>
                        <a:gd name="T104" fmla="*/ 272 w 272"/>
                        <a:gd name="T105" fmla="*/ 268 h 268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272" h="268">
                          <a:moveTo>
                            <a:pt x="9" y="143"/>
                          </a:moveTo>
                          <a:lnTo>
                            <a:pt x="18" y="148"/>
                          </a:lnTo>
                          <a:lnTo>
                            <a:pt x="22" y="143"/>
                          </a:lnTo>
                          <a:lnTo>
                            <a:pt x="31" y="143"/>
                          </a:lnTo>
                          <a:lnTo>
                            <a:pt x="40" y="148"/>
                          </a:lnTo>
                          <a:lnTo>
                            <a:pt x="53" y="139"/>
                          </a:lnTo>
                          <a:lnTo>
                            <a:pt x="58" y="125"/>
                          </a:lnTo>
                          <a:lnTo>
                            <a:pt x="58" y="108"/>
                          </a:lnTo>
                          <a:lnTo>
                            <a:pt x="80" y="90"/>
                          </a:lnTo>
                          <a:lnTo>
                            <a:pt x="85" y="58"/>
                          </a:lnTo>
                          <a:lnTo>
                            <a:pt x="94" y="27"/>
                          </a:lnTo>
                          <a:lnTo>
                            <a:pt x="94" y="18"/>
                          </a:lnTo>
                          <a:lnTo>
                            <a:pt x="94" y="14"/>
                          </a:lnTo>
                          <a:lnTo>
                            <a:pt x="107" y="0"/>
                          </a:lnTo>
                          <a:lnTo>
                            <a:pt x="116" y="9"/>
                          </a:lnTo>
                          <a:lnTo>
                            <a:pt x="147" y="14"/>
                          </a:lnTo>
                          <a:lnTo>
                            <a:pt x="152" y="5"/>
                          </a:lnTo>
                          <a:lnTo>
                            <a:pt x="161" y="9"/>
                          </a:lnTo>
                          <a:lnTo>
                            <a:pt x="178" y="0"/>
                          </a:lnTo>
                          <a:lnTo>
                            <a:pt x="183" y="5"/>
                          </a:lnTo>
                          <a:lnTo>
                            <a:pt x="192" y="0"/>
                          </a:lnTo>
                          <a:lnTo>
                            <a:pt x="219" y="5"/>
                          </a:lnTo>
                          <a:lnTo>
                            <a:pt x="232" y="14"/>
                          </a:lnTo>
                          <a:lnTo>
                            <a:pt x="254" y="9"/>
                          </a:lnTo>
                          <a:lnTo>
                            <a:pt x="268" y="23"/>
                          </a:lnTo>
                          <a:lnTo>
                            <a:pt x="268" y="41"/>
                          </a:lnTo>
                          <a:lnTo>
                            <a:pt x="272" y="45"/>
                          </a:lnTo>
                          <a:lnTo>
                            <a:pt x="254" y="67"/>
                          </a:lnTo>
                          <a:lnTo>
                            <a:pt x="254" y="99"/>
                          </a:lnTo>
                          <a:lnTo>
                            <a:pt x="245" y="103"/>
                          </a:lnTo>
                          <a:lnTo>
                            <a:pt x="245" y="108"/>
                          </a:lnTo>
                          <a:lnTo>
                            <a:pt x="245" y="116"/>
                          </a:lnTo>
                          <a:lnTo>
                            <a:pt x="250" y="130"/>
                          </a:lnTo>
                          <a:lnTo>
                            <a:pt x="245" y="130"/>
                          </a:lnTo>
                          <a:lnTo>
                            <a:pt x="241" y="143"/>
                          </a:lnTo>
                          <a:lnTo>
                            <a:pt x="245" y="139"/>
                          </a:lnTo>
                          <a:lnTo>
                            <a:pt x="241" y="148"/>
                          </a:lnTo>
                          <a:lnTo>
                            <a:pt x="245" y="166"/>
                          </a:lnTo>
                          <a:lnTo>
                            <a:pt x="259" y="184"/>
                          </a:lnTo>
                          <a:lnTo>
                            <a:pt x="263" y="201"/>
                          </a:lnTo>
                          <a:lnTo>
                            <a:pt x="241" y="206"/>
                          </a:lnTo>
                          <a:lnTo>
                            <a:pt x="236" y="219"/>
                          </a:lnTo>
                          <a:lnTo>
                            <a:pt x="232" y="246"/>
                          </a:lnTo>
                          <a:lnTo>
                            <a:pt x="245" y="259"/>
                          </a:lnTo>
                          <a:lnTo>
                            <a:pt x="259" y="251"/>
                          </a:lnTo>
                          <a:lnTo>
                            <a:pt x="259" y="268"/>
                          </a:lnTo>
                          <a:lnTo>
                            <a:pt x="241" y="268"/>
                          </a:lnTo>
                          <a:lnTo>
                            <a:pt x="232" y="259"/>
                          </a:lnTo>
                          <a:lnTo>
                            <a:pt x="223" y="255"/>
                          </a:lnTo>
                          <a:lnTo>
                            <a:pt x="219" y="246"/>
                          </a:lnTo>
                          <a:lnTo>
                            <a:pt x="196" y="251"/>
                          </a:lnTo>
                          <a:lnTo>
                            <a:pt x="187" y="237"/>
                          </a:lnTo>
                          <a:lnTo>
                            <a:pt x="178" y="242"/>
                          </a:lnTo>
                          <a:lnTo>
                            <a:pt x="169" y="233"/>
                          </a:lnTo>
                          <a:lnTo>
                            <a:pt x="143" y="237"/>
                          </a:lnTo>
                          <a:lnTo>
                            <a:pt x="134" y="184"/>
                          </a:lnTo>
                          <a:lnTo>
                            <a:pt x="125" y="184"/>
                          </a:lnTo>
                          <a:lnTo>
                            <a:pt x="120" y="179"/>
                          </a:lnTo>
                          <a:lnTo>
                            <a:pt x="107" y="179"/>
                          </a:lnTo>
                          <a:lnTo>
                            <a:pt x="102" y="197"/>
                          </a:lnTo>
                          <a:lnTo>
                            <a:pt x="80" y="197"/>
                          </a:lnTo>
                          <a:lnTo>
                            <a:pt x="71" y="184"/>
                          </a:lnTo>
                          <a:lnTo>
                            <a:pt x="71" y="179"/>
                          </a:lnTo>
                          <a:lnTo>
                            <a:pt x="67" y="166"/>
                          </a:lnTo>
                          <a:lnTo>
                            <a:pt x="13" y="166"/>
                          </a:lnTo>
                          <a:lnTo>
                            <a:pt x="0" y="161"/>
                          </a:lnTo>
                          <a:lnTo>
                            <a:pt x="9" y="14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5" name="Freeform 2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792" y="2457"/>
                      <a:ext cx="42" cy="89"/>
                    </a:xfrm>
                    <a:custGeom>
                      <a:avLst/>
                      <a:gdLst>
                        <a:gd name="T0" fmla="*/ 0 w 45"/>
                        <a:gd name="T1" fmla="*/ 9 h 94"/>
                        <a:gd name="T2" fmla="*/ 0 w 45"/>
                        <a:gd name="T3" fmla="*/ 9 h 94"/>
                        <a:gd name="T4" fmla="*/ 7 w 45"/>
                        <a:gd name="T5" fmla="*/ 9 h 94"/>
                        <a:gd name="T6" fmla="*/ 7 w 45"/>
                        <a:gd name="T7" fmla="*/ 9 h 94"/>
                        <a:gd name="T8" fmla="*/ 7 w 45"/>
                        <a:gd name="T9" fmla="*/ 9 h 94"/>
                        <a:gd name="T10" fmla="*/ 7 w 45"/>
                        <a:gd name="T11" fmla="*/ 17 h 94"/>
                        <a:gd name="T12" fmla="*/ 7 w 45"/>
                        <a:gd name="T13" fmla="*/ 20 h 94"/>
                        <a:gd name="T14" fmla="*/ 7 w 45"/>
                        <a:gd name="T15" fmla="*/ 19 h 94"/>
                        <a:gd name="T16" fmla="*/ 7 w 45"/>
                        <a:gd name="T17" fmla="*/ 16 h 94"/>
                        <a:gd name="T18" fmla="*/ 7 w 45"/>
                        <a:gd name="T19" fmla="*/ 11 h 94"/>
                        <a:gd name="T20" fmla="*/ 7 w 45"/>
                        <a:gd name="T21" fmla="*/ 9 h 94"/>
                        <a:gd name="T22" fmla="*/ 7 w 45"/>
                        <a:gd name="T23" fmla="*/ 9 h 94"/>
                        <a:gd name="T24" fmla="*/ 7 w 45"/>
                        <a:gd name="T25" fmla="*/ 9 h 94"/>
                        <a:gd name="T26" fmla="*/ 7 w 45"/>
                        <a:gd name="T27" fmla="*/ 9 h 94"/>
                        <a:gd name="T28" fmla="*/ 7 w 45"/>
                        <a:gd name="T29" fmla="*/ 9 h 94"/>
                        <a:gd name="T30" fmla="*/ 7 w 45"/>
                        <a:gd name="T31" fmla="*/ 0 h 94"/>
                        <a:gd name="T32" fmla="*/ 7 w 45"/>
                        <a:gd name="T33" fmla="*/ 9 h 94"/>
                        <a:gd name="T34" fmla="*/ 7 w 45"/>
                        <a:gd name="T35" fmla="*/ 9 h 94"/>
                        <a:gd name="T36" fmla="*/ 7 w 45"/>
                        <a:gd name="T37" fmla="*/ 9 h 94"/>
                        <a:gd name="T38" fmla="*/ 0 w 45"/>
                        <a:gd name="T39" fmla="*/ 9 h 94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w 45"/>
                        <a:gd name="T61" fmla="*/ 0 h 94"/>
                        <a:gd name="T62" fmla="*/ 45 w 45"/>
                        <a:gd name="T63" fmla="*/ 94 h 94"/>
                      </a:gdLst>
                      <a:ahLst/>
                      <a:cxnLst>
                        <a:cxn ang="T40">
                          <a:pos x="T0" y="T1"/>
                        </a:cxn>
                        <a:cxn ang="T41">
                          <a:pos x="T2" y="T3"/>
                        </a:cxn>
                        <a:cxn ang="T42">
                          <a:pos x="T4" y="T5"/>
                        </a:cxn>
                        <a:cxn ang="T43">
                          <a:pos x="T6" y="T7"/>
                        </a:cxn>
                        <a:cxn ang="T44">
                          <a:pos x="T8" y="T9"/>
                        </a:cxn>
                        <a:cxn ang="T45">
                          <a:pos x="T10" y="T11"/>
                        </a:cxn>
                        <a:cxn ang="T46">
                          <a:pos x="T12" y="T13"/>
                        </a:cxn>
                        <a:cxn ang="T47">
                          <a:pos x="T14" y="T15"/>
                        </a:cxn>
                        <a:cxn ang="T48">
                          <a:pos x="T16" y="T17"/>
                        </a:cxn>
                        <a:cxn ang="T49">
                          <a:pos x="T18" y="T19"/>
                        </a:cxn>
                        <a:cxn ang="T50">
                          <a:pos x="T20" y="T21"/>
                        </a:cxn>
                        <a:cxn ang="T51">
                          <a:pos x="T22" y="T23"/>
                        </a:cxn>
                        <a:cxn ang="T52">
                          <a:pos x="T24" y="T25"/>
                        </a:cxn>
                        <a:cxn ang="T53">
                          <a:pos x="T26" y="T27"/>
                        </a:cxn>
                        <a:cxn ang="T54">
                          <a:pos x="T28" y="T29"/>
                        </a:cxn>
                        <a:cxn ang="T55">
                          <a:pos x="T30" y="T31"/>
                        </a:cxn>
                        <a:cxn ang="T56">
                          <a:pos x="T32" y="T33"/>
                        </a:cxn>
                        <a:cxn ang="T57">
                          <a:pos x="T34" y="T35"/>
                        </a:cxn>
                        <a:cxn ang="T58">
                          <a:pos x="T36" y="T37"/>
                        </a:cxn>
                        <a:cxn ang="T59">
                          <a:pos x="T38" y="T39"/>
                        </a:cxn>
                      </a:cxnLst>
                      <a:rect l="T60" t="T61" r="T62" b="T63"/>
                      <a:pathLst>
                        <a:path w="45" h="94">
                          <a:moveTo>
                            <a:pt x="0" y="18"/>
                          </a:moveTo>
                          <a:lnTo>
                            <a:pt x="0" y="31"/>
                          </a:lnTo>
                          <a:lnTo>
                            <a:pt x="9" y="40"/>
                          </a:lnTo>
                          <a:lnTo>
                            <a:pt x="9" y="54"/>
                          </a:lnTo>
                          <a:lnTo>
                            <a:pt x="13" y="54"/>
                          </a:lnTo>
                          <a:lnTo>
                            <a:pt x="13" y="80"/>
                          </a:lnTo>
                          <a:lnTo>
                            <a:pt x="18" y="94"/>
                          </a:lnTo>
                          <a:lnTo>
                            <a:pt x="36" y="89"/>
                          </a:lnTo>
                          <a:lnTo>
                            <a:pt x="31" y="76"/>
                          </a:lnTo>
                          <a:lnTo>
                            <a:pt x="31" y="58"/>
                          </a:lnTo>
                          <a:lnTo>
                            <a:pt x="40" y="54"/>
                          </a:lnTo>
                          <a:lnTo>
                            <a:pt x="45" y="45"/>
                          </a:lnTo>
                          <a:lnTo>
                            <a:pt x="45" y="27"/>
                          </a:lnTo>
                          <a:lnTo>
                            <a:pt x="40" y="18"/>
                          </a:lnTo>
                          <a:lnTo>
                            <a:pt x="45" y="9"/>
                          </a:lnTo>
                          <a:lnTo>
                            <a:pt x="31" y="0"/>
                          </a:lnTo>
                          <a:lnTo>
                            <a:pt x="22" y="9"/>
                          </a:lnTo>
                          <a:lnTo>
                            <a:pt x="18" y="9"/>
                          </a:lnTo>
                          <a:lnTo>
                            <a:pt x="9" y="18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6" name="Freeform 28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893" y="2575"/>
                      <a:ext cx="38" cy="43"/>
                    </a:xfrm>
                    <a:custGeom>
                      <a:avLst/>
                      <a:gdLst>
                        <a:gd name="T0" fmla="*/ 5 w 40"/>
                        <a:gd name="T1" fmla="*/ 0 h 45"/>
                        <a:gd name="T2" fmla="*/ 0 w 40"/>
                        <a:gd name="T3" fmla="*/ 5 h 45"/>
                        <a:gd name="T4" fmla="*/ 0 w 40"/>
                        <a:gd name="T5" fmla="*/ 9 h 45"/>
                        <a:gd name="T6" fmla="*/ 5 w 40"/>
                        <a:gd name="T7" fmla="*/ 9 h 45"/>
                        <a:gd name="T8" fmla="*/ 9 w 40"/>
                        <a:gd name="T9" fmla="*/ 5 h 45"/>
                        <a:gd name="T10" fmla="*/ 5 w 40"/>
                        <a:gd name="T11" fmla="*/ 0 h 45"/>
                        <a:gd name="T12" fmla="*/ 10 w 40"/>
                        <a:gd name="T13" fmla="*/ 11 h 45"/>
                        <a:gd name="T14" fmla="*/ 10 w 40"/>
                        <a:gd name="T15" fmla="*/ 11 h 45"/>
                        <a:gd name="T16" fmla="*/ 10 w 40"/>
                        <a:gd name="T17" fmla="*/ 11 h 45"/>
                        <a:gd name="T18" fmla="*/ 10 w 40"/>
                        <a:gd name="T19" fmla="*/ 11 h 45"/>
                        <a:gd name="T20" fmla="*/ 10 w 40"/>
                        <a:gd name="T21" fmla="*/ 11 h 45"/>
                        <a:gd name="T22" fmla="*/ 10 w 40"/>
                        <a:gd name="T23" fmla="*/ 11 h 45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w 40"/>
                        <a:gd name="T37" fmla="*/ 0 h 45"/>
                        <a:gd name="T38" fmla="*/ 40 w 40"/>
                        <a:gd name="T39" fmla="*/ 45 h 45"/>
                      </a:gdLst>
                      <a:ahLst/>
                      <a:cxnLst>
                        <a:cxn ang="T24">
                          <a:pos x="T0" y="T1"/>
                        </a:cxn>
                        <a:cxn ang="T25">
                          <a:pos x="T2" y="T3"/>
                        </a:cxn>
                        <a:cxn ang="T26">
                          <a:pos x="T4" y="T5"/>
                        </a:cxn>
                        <a:cxn ang="T27">
                          <a:pos x="T6" y="T7"/>
                        </a:cxn>
                        <a:cxn ang="T28">
                          <a:pos x="T8" y="T9"/>
                        </a:cxn>
                        <a:cxn ang="T29">
                          <a:pos x="T10" y="T11"/>
                        </a:cxn>
                        <a:cxn ang="T30">
                          <a:pos x="T12" y="T13"/>
                        </a:cxn>
                        <a:cxn ang="T31">
                          <a:pos x="T14" y="T15"/>
                        </a:cxn>
                        <a:cxn ang="T32">
                          <a:pos x="T16" y="T17"/>
                        </a:cxn>
                        <a:cxn ang="T33">
                          <a:pos x="T18" y="T19"/>
                        </a:cxn>
                        <a:cxn ang="T34">
                          <a:pos x="T20" y="T21"/>
                        </a:cxn>
                        <a:cxn ang="T35">
                          <a:pos x="T22" y="T23"/>
                        </a:cxn>
                      </a:cxnLst>
                      <a:rect l="T36" t="T37" r="T38" b="T39"/>
                      <a:pathLst>
                        <a:path w="40" h="45">
                          <a:moveTo>
                            <a:pt x="5" y="0"/>
                          </a:moveTo>
                          <a:lnTo>
                            <a:pt x="0" y="5"/>
                          </a:lnTo>
                          <a:lnTo>
                            <a:pt x="0" y="9"/>
                          </a:lnTo>
                          <a:lnTo>
                            <a:pt x="5" y="9"/>
                          </a:lnTo>
                          <a:lnTo>
                            <a:pt x="9" y="5"/>
                          </a:lnTo>
                          <a:lnTo>
                            <a:pt x="5" y="0"/>
                          </a:lnTo>
                          <a:close/>
                          <a:moveTo>
                            <a:pt x="18" y="27"/>
                          </a:moveTo>
                          <a:lnTo>
                            <a:pt x="40" y="31"/>
                          </a:lnTo>
                          <a:lnTo>
                            <a:pt x="40" y="45"/>
                          </a:lnTo>
                          <a:lnTo>
                            <a:pt x="18" y="45"/>
                          </a:lnTo>
                          <a:lnTo>
                            <a:pt x="14" y="40"/>
                          </a:lnTo>
                          <a:lnTo>
                            <a:pt x="18" y="27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7" name="Freeform 2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230" y="2432"/>
                      <a:ext cx="203" cy="152"/>
                    </a:xfrm>
                    <a:custGeom>
                      <a:avLst/>
                      <a:gdLst>
                        <a:gd name="T0" fmla="*/ 8 w 215"/>
                        <a:gd name="T1" fmla="*/ 25 h 161"/>
                        <a:gd name="T2" fmla="*/ 8 w 215"/>
                        <a:gd name="T3" fmla="*/ 26 h 161"/>
                        <a:gd name="T4" fmla="*/ 8 w 215"/>
                        <a:gd name="T5" fmla="*/ 25 h 161"/>
                        <a:gd name="T6" fmla="*/ 13 w 215"/>
                        <a:gd name="T7" fmla="*/ 28 h 161"/>
                        <a:gd name="T8" fmla="*/ 18 w 215"/>
                        <a:gd name="T9" fmla="*/ 28 h 161"/>
                        <a:gd name="T10" fmla="*/ 19 w 215"/>
                        <a:gd name="T11" fmla="*/ 26 h 161"/>
                        <a:gd name="T12" fmla="*/ 20 w 215"/>
                        <a:gd name="T13" fmla="*/ 26 h 161"/>
                        <a:gd name="T14" fmla="*/ 22 w 215"/>
                        <a:gd name="T15" fmla="*/ 26 h 161"/>
                        <a:gd name="T16" fmla="*/ 24 w 215"/>
                        <a:gd name="T17" fmla="*/ 26 h 161"/>
                        <a:gd name="T18" fmla="*/ 25 w 215"/>
                        <a:gd name="T19" fmla="*/ 25 h 161"/>
                        <a:gd name="T20" fmla="*/ 30 w 215"/>
                        <a:gd name="T21" fmla="*/ 25 h 161"/>
                        <a:gd name="T22" fmla="*/ 38 w 215"/>
                        <a:gd name="T23" fmla="*/ 19 h 161"/>
                        <a:gd name="T24" fmla="*/ 34 w 215"/>
                        <a:gd name="T25" fmla="*/ 19 h 161"/>
                        <a:gd name="T26" fmla="*/ 28 w 215"/>
                        <a:gd name="T27" fmla="*/ 15 h 161"/>
                        <a:gd name="T28" fmla="*/ 26 w 215"/>
                        <a:gd name="T29" fmla="*/ 13 h 161"/>
                        <a:gd name="T30" fmla="*/ 25 w 215"/>
                        <a:gd name="T31" fmla="*/ 9 h 161"/>
                        <a:gd name="T32" fmla="*/ 25 w 215"/>
                        <a:gd name="T33" fmla="*/ 8 h 161"/>
                        <a:gd name="T34" fmla="*/ 25 w 215"/>
                        <a:gd name="T35" fmla="*/ 8 h 161"/>
                        <a:gd name="T36" fmla="*/ 23 w 215"/>
                        <a:gd name="T37" fmla="*/ 8 h 161"/>
                        <a:gd name="T38" fmla="*/ 23 w 215"/>
                        <a:gd name="T39" fmla="*/ 8 h 161"/>
                        <a:gd name="T40" fmla="*/ 20 w 215"/>
                        <a:gd name="T41" fmla="*/ 8 h 161"/>
                        <a:gd name="T42" fmla="*/ 18 w 215"/>
                        <a:gd name="T43" fmla="*/ 8 h 161"/>
                        <a:gd name="T44" fmla="*/ 14 w 215"/>
                        <a:gd name="T45" fmla="*/ 8 h 161"/>
                        <a:gd name="T46" fmla="*/ 13 w 215"/>
                        <a:gd name="T47" fmla="*/ 0 h 161"/>
                        <a:gd name="T48" fmla="*/ 11 w 215"/>
                        <a:gd name="T49" fmla="*/ 8 h 161"/>
                        <a:gd name="T50" fmla="*/ 8 w 215"/>
                        <a:gd name="T51" fmla="*/ 5 h 161"/>
                        <a:gd name="T52" fmla="*/ 8 w 215"/>
                        <a:gd name="T53" fmla="*/ 8 h 161"/>
                        <a:gd name="T54" fmla="*/ 8 w 215"/>
                        <a:gd name="T55" fmla="*/ 8 h 161"/>
                        <a:gd name="T56" fmla="*/ 8 w 215"/>
                        <a:gd name="T57" fmla="*/ 8 h 161"/>
                        <a:gd name="T58" fmla="*/ 8 w 215"/>
                        <a:gd name="T59" fmla="*/ 8 h 161"/>
                        <a:gd name="T60" fmla="*/ 8 w 215"/>
                        <a:gd name="T61" fmla="*/ 8 h 161"/>
                        <a:gd name="T62" fmla="*/ 8 w 215"/>
                        <a:gd name="T63" fmla="*/ 17 h 161"/>
                        <a:gd name="T64" fmla="*/ 0 w 215"/>
                        <a:gd name="T65" fmla="*/ 17 h 161"/>
                        <a:gd name="T66" fmla="*/ 0 w 215"/>
                        <a:gd name="T67" fmla="*/ 19 h 161"/>
                        <a:gd name="T68" fmla="*/ 8 w 215"/>
                        <a:gd name="T69" fmla="*/ 20 h 161"/>
                        <a:gd name="T70" fmla="*/ 8 w 215"/>
                        <a:gd name="T71" fmla="*/ 22 h 161"/>
                        <a:gd name="T72" fmla="*/ 8 w 215"/>
                        <a:gd name="T73" fmla="*/ 24 h 161"/>
                        <a:gd name="T74" fmla="*/ 8 w 215"/>
                        <a:gd name="T75" fmla="*/ 24 h 161"/>
                        <a:gd name="T76" fmla="*/ 8 w 215"/>
                        <a:gd name="T77" fmla="*/ 25 h 161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w 215"/>
                        <a:gd name="T118" fmla="*/ 0 h 161"/>
                        <a:gd name="T119" fmla="*/ 215 w 215"/>
                        <a:gd name="T120" fmla="*/ 161 h 161"/>
                      </a:gdLst>
                      <a:ahLst/>
                      <a:cxnLst>
                        <a:cxn ang="T78">
                          <a:pos x="T0" y="T1"/>
                        </a:cxn>
                        <a:cxn ang="T79">
                          <a:pos x="T2" y="T3"/>
                        </a:cxn>
                        <a:cxn ang="T80">
                          <a:pos x="T4" y="T5"/>
                        </a:cxn>
                        <a:cxn ang="T81">
                          <a:pos x="T6" y="T7"/>
                        </a:cxn>
                        <a:cxn ang="T82">
                          <a:pos x="T8" y="T9"/>
                        </a:cxn>
                        <a:cxn ang="T83">
                          <a:pos x="T10" y="T11"/>
                        </a:cxn>
                        <a:cxn ang="T84">
                          <a:pos x="T12" y="T13"/>
                        </a:cxn>
                        <a:cxn ang="T85">
                          <a:pos x="T14" y="T15"/>
                        </a:cxn>
                        <a:cxn ang="T86">
                          <a:pos x="T16" y="T17"/>
                        </a:cxn>
                        <a:cxn ang="T87">
                          <a:pos x="T18" y="T19"/>
                        </a:cxn>
                        <a:cxn ang="T88">
                          <a:pos x="T20" y="T21"/>
                        </a:cxn>
                        <a:cxn ang="T89">
                          <a:pos x="T22" y="T23"/>
                        </a:cxn>
                        <a:cxn ang="T90">
                          <a:pos x="T24" y="T25"/>
                        </a:cxn>
                        <a:cxn ang="T91">
                          <a:pos x="T26" y="T27"/>
                        </a:cxn>
                        <a:cxn ang="T92">
                          <a:pos x="T28" y="T29"/>
                        </a:cxn>
                        <a:cxn ang="T93">
                          <a:pos x="T30" y="T31"/>
                        </a:cxn>
                        <a:cxn ang="T94">
                          <a:pos x="T32" y="T33"/>
                        </a:cxn>
                        <a:cxn ang="T95">
                          <a:pos x="T34" y="T35"/>
                        </a:cxn>
                        <a:cxn ang="T96">
                          <a:pos x="T36" y="T37"/>
                        </a:cxn>
                        <a:cxn ang="T97">
                          <a:pos x="T38" y="T39"/>
                        </a:cxn>
                        <a:cxn ang="T98">
                          <a:pos x="T40" y="T41"/>
                        </a:cxn>
                        <a:cxn ang="T99">
                          <a:pos x="T42" y="T43"/>
                        </a:cxn>
                        <a:cxn ang="T100">
                          <a:pos x="T44" y="T45"/>
                        </a:cxn>
                        <a:cxn ang="T101">
                          <a:pos x="T46" y="T47"/>
                        </a:cxn>
                        <a:cxn ang="T102">
                          <a:pos x="T48" y="T49"/>
                        </a:cxn>
                        <a:cxn ang="T103">
                          <a:pos x="T50" y="T51"/>
                        </a:cxn>
                        <a:cxn ang="T104">
                          <a:pos x="T52" y="T53"/>
                        </a:cxn>
                        <a:cxn ang="T105">
                          <a:pos x="T54" y="T55"/>
                        </a:cxn>
                        <a:cxn ang="T106">
                          <a:pos x="T56" y="T57"/>
                        </a:cxn>
                        <a:cxn ang="T107">
                          <a:pos x="T58" y="T59"/>
                        </a:cxn>
                        <a:cxn ang="T108">
                          <a:pos x="T60" y="T61"/>
                        </a:cxn>
                        <a:cxn ang="T109">
                          <a:pos x="T62" y="T63"/>
                        </a:cxn>
                        <a:cxn ang="T110">
                          <a:pos x="T64" y="T65"/>
                        </a:cxn>
                        <a:cxn ang="T111">
                          <a:pos x="T66" y="T67"/>
                        </a:cxn>
                        <a:cxn ang="T112">
                          <a:pos x="T68" y="T69"/>
                        </a:cxn>
                        <a:cxn ang="T113">
                          <a:pos x="T70" y="T71"/>
                        </a:cxn>
                        <a:cxn ang="T114">
                          <a:pos x="T72" y="T73"/>
                        </a:cxn>
                        <a:cxn ang="T115">
                          <a:pos x="T74" y="T75"/>
                        </a:cxn>
                        <a:cxn ang="T116">
                          <a:pos x="T76" y="T77"/>
                        </a:cxn>
                      </a:cxnLst>
                      <a:rect l="T117" t="T118" r="T119" b="T120"/>
                      <a:pathLst>
                        <a:path w="215" h="161">
                          <a:moveTo>
                            <a:pt x="36" y="143"/>
                          </a:moveTo>
                          <a:lnTo>
                            <a:pt x="41" y="148"/>
                          </a:lnTo>
                          <a:lnTo>
                            <a:pt x="54" y="143"/>
                          </a:lnTo>
                          <a:lnTo>
                            <a:pt x="72" y="157"/>
                          </a:lnTo>
                          <a:lnTo>
                            <a:pt x="94" y="161"/>
                          </a:lnTo>
                          <a:lnTo>
                            <a:pt x="99" y="152"/>
                          </a:lnTo>
                          <a:lnTo>
                            <a:pt x="108" y="148"/>
                          </a:lnTo>
                          <a:lnTo>
                            <a:pt x="117" y="152"/>
                          </a:lnTo>
                          <a:lnTo>
                            <a:pt x="130" y="152"/>
                          </a:lnTo>
                          <a:lnTo>
                            <a:pt x="139" y="143"/>
                          </a:lnTo>
                          <a:lnTo>
                            <a:pt x="166" y="139"/>
                          </a:lnTo>
                          <a:lnTo>
                            <a:pt x="215" y="99"/>
                          </a:lnTo>
                          <a:lnTo>
                            <a:pt x="193" y="99"/>
                          </a:lnTo>
                          <a:lnTo>
                            <a:pt x="157" y="81"/>
                          </a:lnTo>
                          <a:lnTo>
                            <a:pt x="148" y="72"/>
                          </a:lnTo>
                          <a:lnTo>
                            <a:pt x="139" y="58"/>
                          </a:lnTo>
                          <a:lnTo>
                            <a:pt x="143" y="49"/>
                          </a:lnTo>
                          <a:lnTo>
                            <a:pt x="139" y="49"/>
                          </a:lnTo>
                          <a:lnTo>
                            <a:pt x="126" y="49"/>
                          </a:lnTo>
                          <a:lnTo>
                            <a:pt x="126" y="36"/>
                          </a:lnTo>
                          <a:lnTo>
                            <a:pt x="108" y="14"/>
                          </a:lnTo>
                          <a:lnTo>
                            <a:pt x="94" y="9"/>
                          </a:lnTo>
                          <a:lnTo>
                            <a:pt x="76" y="9"/>
                          </a:lnTo>
                          <a:lnTo>
                            <a:pt x="72" y="0"/>
                          </a:lnTo>
                          <a:lnTo>
                            <a:pt x="63" y="9"/>
                          </a:lnTo>
                          <a:lnTo>
                            <a:pt x="50" y="5"/>
                          </a:lnTo>
                          <a:lnTo>
                            <a:pt x="45" y="23"/>
                          </a:lnTo>
                          <a:lnTo>
                            <a:pt x="32" y="23"/>
                          </a:lnTo>
                          <a:lnTo>
                            <a:pt x="23" y="45"/>
                          </a:lnTo>
                          <a:lnTo>
                            <a:pt x="23" y="54"/>
                          </a:lnTo>
                          <a:lnTo>
                            <a:pt x="14" y="54"/>
                          </a:lnTo>
                          <a:lnTo>
                            <a:pt x="14" y="90"/>
                          </a:lnTo>
                          <a:lnTo>
                            <a:pt x="0" y="90"/>
                          </a:lnTo>
                          <a:lnTo>
                            <a:pt x="0" y="103"/>
                          </a:lnTo>
                          <a:lnTo>
                            <a:pt x="14" y="107"/>
                          </a:lnTo>
                          <a:lnTo>
                            <a:pt x="27" y="121"/>
                          </a:lnTo>
                          <a:lnTo>
                            <a:pt x="23" y="130"/>
                          </a:lnTo>
                          <a:lnTo>
                            <a:pt x="36" y="134"/>
                          </a:lnTo>
                          <a:lnTo>
                            <a:pt x="36" y="14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8" name="Freeform 30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272" y="2382"/>
                      <a:ext cx="93" cy="84"/>
                    </a:xfrm>
                    <a:custGeom>
                      <a:avLst/>
                      <a:gdLst>
                        <a:gd name="T0" fmla="*/ 9 w 98"/>
                        <a:gd name="T1" fmla="*/ 0 h 89"/>
                        <a:gd name="T2" fmla="*/ 9 w 98"/>
                        <a:gd name="T3" fmla="*/ 4 h 89"/>
                        <a:gd name="T4" fmla="*/ 9 w 98"/>
                        <a:gd name="T5" fmla="*/ 8 h 89"/>
                        <a:gd name="T6" fmla="*/ 9 w 98"/>
                        <a:gd name="T7" fmla="*/ 8 h 89"/>
                        <a:gd name="T8" fmla="*/ 0 w 98"/>
                        <a:gd name="T9" fmla="*/ 8 h 89"/>
                        <a:gd name="T10" fmla="*/ 5 w 98"/>
                        <a:gd name="T11" fmla="*/ 9 h 89"/>
                        <a:gd name="T12" fmla="*/ 9 w 98"/>
                        <a:gd name="T13" fmla="*/ 11 h 89"/>
                        <a:gd name="T14" fmla="*/ 9 w 98"/>
                        <a:gd name="T15" fmla="*/ 8 h 89"/>
                        <a:gd name="T16" fmla="*/ 9 w 98"/>
                        <a:gd name="T17" fmla="*/ 11 h 89"/>
                        <a:gd name="T18" fmla="*/ 9 w 98"/>
                        <a:gd name="T19" fmla="*/ 11 h 89"/>
                        <a:gd name="T20" fmla="*/ 13 w 98"/>
                        <a:gd name="T21" fmla="*/ 12 h 89"/>
                        <a:gd name="T22" fmla="*/ 18 w 98"/>
                        <a:gd name="T23" fmla="*/ 17 h 89"/>
                        <a:gd name="T24" fmla="*/ 22 w 98"/>
                        <a:gd name="T25" fmla="*/ 15 h 89"/>
                        <a:gd name="T26" fmla="*/ 17 w 98"/>
                        <a:gd name="T27" fmla="*/ 9 h 89"/>
                        <a:gd name="T28" fmla="*/ 12 w 98"/>
                        <a:gd name="T29" fmla="*/ 8 h 89"/>
                        <a:gd name="T30" fmla="*/ 10 w 98"/>
                        <a:gd name="T31" fmla="*/ 8 h 89"/>
                        <a:gd name="T32" fmla="*/ 10 w 98"/>
                        <a:gd name="T33" fmla="*/ 8 h 89"/>
                        <a:gd name="T34" fmla="*/ 12 w 98"/>
                        <a:gd name="T35" fmla="*/ 8 h 89"/>
                        <a:gd name="T36" fmla="*/ 10 w 98"/>
                        <a:gd name="T37" fmla="*/ 8 h 89"/>
                        <a:gd name="T38" fmla="*/ 10 w 98"/>
                        <a:gd name="T39" fmla="*/ 8 h 89"/>
                        <a:gd name="T40" fmla="*/ 9 w 98"/>
                        <a:gd name="T41" fmla="*/ 8 h 89"/>
                        <a:gd name="T42" fmla="*/ 9 w 98"/>
                        <a:gd name="T43" fmla="*/ 8 h 89"/>
                        <a:gd name="T44" fmla="*/ 9 w 98"/>
                        <a:gd name="T45" fmla="*/ 8 h 89"/>
                        <a:gd name="T46" fmla="*/ 9 w 98"/>
                        <a:gd name="T47" fmla="*/ 0 h 89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w 98"/>
                        <a:gd name="T73" fmla="*/ 0 h 89"/>
                        <a:gd name="T74" fmla="*/ 98 w 98"/>
                        <a:gd name="T75" fmla="*/ 89 h 89"/>
                      </a:gdLst>
                      <a:ahLst/>
                      <a:cxnLst>
                        <a:cxn ang="T48">
                          <a:pos x="T0" y="T1"/>
                        </a:cxn>
                        <a:cxn ang="T49">
                          <a:pos x="T2" y="T3"/>
                        </a:cxn>
                        <a:cxn ang="T50">
                          <a:pos x="T4" y="T5"/>
                        </a:cxn>
                        <a:cxn ang="T51">
                          <a:pos x="T6" y="T7"/>
                        </a:cxn>
                        <a:cxn ang="T52">
                          <a:pos x="T8" y="T9"/>
                        </a:cxn>
                        <a:cxn ang="T53">
                          <a:pos x="T10" y="T11"/>
                        </a:cxn>
                        <a:cxn ang="T54">
                          <a:pos x="T12" y="T13"/>
                        </a:cxn>
                        <a:cxn ang="T55">
                          <a:pos x="T14" y="T15"/>
                        </a:cxn>
                        <a:cxn ang="T56">
                          <a:pos x="T16" y="T17"/>
                        </a:cxn>
                        <a:cxn ang="T57">
                          <a:pos x="T18" y="T19"/>
                        </a:cxn>
                        <a:cxn ang="T58">
                          <a:pos x="T20" y="T21"/>
                        </a:cxn>
                        <a:cxn ang="T59">
                          <a:pos x="T22" y="T23"/>
                        </a:cxn>
                        <a:cxn ang="T60">
                          <a:pos x="T24" y="T25"/>
                        </a:cxn>
                        <a:cxn ang="T61">
                          <a:pos x="T26" y="T27"/>
                        </a:cxn>
                        <a:cxn ang="T62">
                          <a:pos x="T28" y="T29"/>
                        </a:cxn>
                        <a:cxn ang="T63">
                          <a:pos x="T30" y="T31"/>
                        </a:cxn>
                        <a:cxn ang="T64">
                          <a:pos x="T32" y="T33"/>
                        </a:cxn>
                        <a:cxn ang="T65">
                          <a:pos x="T34" y="T35"/>
                        </a:cxn>
                        <a:cxn ang="T66">
                          <a:pos x="T36" y="T37"/>
                        </a:cxn>
                        <a:cxn ang="T67">
                          <a:pos x="T38" y="T39"/>
                        </a:cxn>
                        <a:cxn ang="T68">
                          <a:pos x="T40" y="T41"/>
                        </a:cxn>
                        <a:cxn ang="T69">
                          <a:pos x="T42" y="T43"/>
                        </a:cxn>
                        <a:cxn ang="T70">
                          <a:pos x="T44" y="T45"/>
                        </a:cxn>
                        <a:cxn ang="T71">
                          <a:pos x="T46" y="T47"/>
                        </a:cxn>
                      </a:cxnLst>
                      <a:rect l="T72" t="T73" r="T74" b="T75"/>
                      <a:pathLst>
                        <a:path w="98" h="89">
                          <a:moveTo>
                            <a:pt x="31" y="0"/>
                          </a:moveTo>
                          <a:lnTo>
                            <a:pt x="18" y="4"/>
                          </a:lnTo>
                          <a:lnTo>
                            <a:pt x="9" y="13"/>
                          </a:lnTo>
                          <a:lnTo>
                            <a:pt x="9" y="31"/>
                          </a:lnTo>
                          <a:lnTo>
                            <a:pt x="0" y="40"/>
                          </a:lnTo>
                          <a:lnTo>
                            <a:pt x="5" y="58"/>
                          </a:lnTo>
                          <a:lnTo>
                            <a:pt x="18" y="62"/>
                          </a:lnTo>
                          <a:lnTo>
                            <a:pt x="27" y="53"/>
                          </a:lnTo>
                          <a:lnTo>
                            <a:pt x="31" y="62"/>
                          </a:lnTo>
                          <a:lnTo>
                            <a:pt x="49" y="62"/>
                          </a:lnTo>
                          <a:lnTo>
                            <a:pt x="63" y="67"/>
                          </a:lnTo>
                          <a:lnTo>
                            <a:pt x="81" y="89"/>
                          </a:lnTo>
                          <a:lnTo>
                            <a:pt x="98" y="80"/>
                          </a:lnTo>
                          <a:lnTo>
                            <a:pt x="76" y="58"/>
                          </a:lnTo>
                          <a:lnTo>
                            <a:pt x="58" y="44"/>
                          </a:lnTo>
                          <a:lnTo>
                            <a:pt x="54" y="49"/>
                          </a:lnTo>
                          <a:lnTo>
                            <a:pt x="54" y="35"/>
                          </a:lnTo>
                          <a:lnTo>
                            <a:pt x="58" y="35"/>
                          </a:lnTo>
                          <a:lnTo>
                            <a:pt x="54" y="31"/>
                          </a:lnTo>
                          <a:lnTo>
                            <a:pt x="54" y="22"/>
                          </a:lnTo>
                          <a:lnTo>
                            <a:pt x="49" y="31"/>
                          </a:lnTo>
                          <a:lnTo>
                            <a:pt x="45" y="40"/>
                          </a:lnTo>
                          <a:lnTo>
                            <a:pt x="36" y="13"/>
                          </a:lnTo>
                          <a:lnTo>
                            <a:pt x="31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19" name="Freeform 3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349" y="2457"/>
                      <a:ext cx="21" cy="21"/>
                    </a:xfrm>
                    <a:custGeom>
                      <a:avLst/>
                      <a:gdLst>
                        <a:gd name="T0" fmla="*/ 0 w 22"/>
                        <a:gd name="T1" fmla="*/ 9 h 22"/>
                        <a:gd name="T2" fmla="*/ 11 w 22"/>
                        <a:gd name="T3" fmla="*/ 0 h 22"/>
                        <a:gd name="T4" fmla="*/ 11 w 22"/>
                        <a:gd name="T5" fmla="*/ 5 h 22"/>
                        <a:gd name="T6" fmla="*/ 8 w 22"/>
                        <a:gd name="T7" fmla="*/ 11 h 22"/>
                        <a:gd name="T8" fmla="*/ 11 w 22"/>
                        <a:gd name="T9" fmla="*/ 11 h 22"/>
                        <a:gd name="T10" fmla="*/ 11 w 22"/>
                        <a:gd name="T11" fmla="*/ 11 h 22"/>
                        <a:gd name="T12" fmla="*/ 11 w 22"/>
                        <a:gd name="T13" fmla="*/ 11 h 22"/>
                        <a:gd name="T14" fmla="*/ 11 w 22"/>
                        <a:gd name="T15" fmla="*/ 11 h 22"/>
                        <a:gd name="T16" fmla="*/ 0 w 22"/>
                        <a:gd name="T17" fmla="*/ 11 h 22"/>
                        <a:gd name="T18" fmla="*/ 0 w 22"/>
                        <a:gd name="T19" fmla="*/ 9 h 22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2"/>
                        <a:gd name="T31" fmla="*/ 0 h 22"/>
                        <a:gd name="T32" fmla="*/ 22 w 22"/>
                        <a:gd name="T33" fmla="*/ 22 h 22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2" h="22">
                          <a:moveTo>
                            <a:pt x="0" y="9"/>
                          </a:moveTo>
                          <a:lnTo>
                            <a:pt x="17" y="0"/>
                          </a:lnTo>
                          <a:lnTo>
                            <a:pt x="22" y="5"/>
                          </a:lnTo>
                          <a:lnTo>
                            <a:pt x="8" y="13"/>
                          </a:lnTo>
                          <a:lnTo>
                            <a:pt x="17" y="13"/>
                          </a:lnTo>
                          <a:lnTo>
                            <a:pt x="22" y="18"/>
                          </a:lnTo>
                          <a:lnTo>
                            <a:pt x="17" y="22"/>
                          </a:lnTo>
                          <a:lnTo>
                            <a:pt x="13" y="22"/>
                          </a:lnTo>
                          <a:lnTo>
                            <a:pt x="0" y="22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0" name="Freeform 3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898" y="2601"/>
                      <a:ext cx="76" cy="80"/>
                    </a:xfrm>
                    <a:custGeom>
                      <a:avLst/>
                      <a:gdLst>
                        <a:gd name="T0" fmla="*/ 10 w 80"/>
                        <a:gd name="T1" fmla="*/ 8 h 85"/>
                        <a:gd name="T2" fmla="*/ 9 w 80"/>
                        <a:gd name="T3" fmla="*/ 8 h 85"/>
                        <a:gd name="T4" fmla="*/ 4 w 80"/>
                        <a:gd name="T5" fmla="*/ 8 h 85"/>
                        <a:gd name="T6" fmla="*/ 0 w 80"/>
                        <a:gd name="T7" fmla="*/ 8 h 85"/>
                        <a:gd name="T8" fmla="*/ 0 w 80"/>
                        <a:gd name="T9" fmla="*/ 8 h 85"/>
                        <a:gd name="T10" fmla="*/ 10 w 80"/>
                        <a:gd name="T11" fmla="*/ 8 h 85"/>
                        <a:gd name="T12" fmla="*/ 9 w 80"/>
                        <a:gd name="T13" fmla="*/ 8 h 85"/>
                        <a:gd name="T14" fmla="*/ 10 w 80"/>
                        <a:gd name="T15" fmla="*/ 12 h 85"/>
                        <a:gd name="T16" fmla="*/ 10 w 80"/>
                        <a:gd name="T17" fmla="*/ 15 h 85"/>
                        <a:gd name="T18" fmla="*/ 10 w 80"/>
                        <a:gd name="T19" fmla="*/ 14 h 85"/>
                        <a:gd name="T20" fmla="*/ 10 w 80"/>
                        <a:gd name="T21" fmla="*/ 14 h 85"/>
                        <a:gd name="T22" fmla="*/ 10 w 80"/>
                        <a:gd name="T23" fmla="*/ 12 h 85"/>
                        <a:gd name="T24" fmla="*/ 10 w 80"/>
                        <a:gd name="T25" fmla="*/ 11 h 85"/>
                        <a:gd name="T26" fmla="*/ 10 w 80"/>
                        <a:gd name="T27" fmla="*/ 11 h 85"/>
                        <a:gd name="T28" fmla="*/ 10 w 80"/>
                        <a:gd name="T29" fmla="*/ 8 h 85"/>
                        <a:gd name="T30" fmla="*/ 13 w 80"/>
                        <a:gd name="T31" fmla="*/ 11 h 85"/>
                        <a:gd name="T32" fmla="*/ 18 w 80"/>
                        <a:gd name="T33" fmla="*/ 10 h 85"/>
                        <a:gd name="T34" fmla="*/ 18 w 80"/>
                        <a:gd name="T35" fmla="*/ 8 h 85"/>
                        <a:gd name="T36" fmla="*/ 17 w 80"/>
                        <a:gd name="T37" fmla="*/ 8 h 85"/>
                        <a:gd name="T38" fmla="*/ 18 w 80"/>
                        <a:gd name="T39" fmla="*/ 8 h 85"/>
                        <a:gd name="T40" fmla="*/ 18 w 80"/>
                        <a:gd name="T41" fmla="*/ 8 h 85"/>
                        <a:gd name="T42" fmla="*/ 13 w 80"/>
                        <a:gd name="T43" fmla="*/ 8 h 85"/>
                        <a:gd name="T44" fmla="*/ 15 w 80"/>
                        <a:gd name="T45" fmla="*/ 0 h 85"/>
                        <a:gd name="T46" fmla="*/ 10 w 80"/>
                        <a:gd name="T47" fmla="*/ 0 h 85"/>
                        <a:gd name="T48" fmla="*/ 10 w 80"/>
                        <a:gd name="T49" fmla="*/ 4 h 85"/>
                        <a:gd name="T50" fmla="*/ 10 w 80"/>
                        <a:gd name="T51" fmla="*/ 8 h 85"/>
                        <a:gd name="T52" fmla="*/ 10 w 80"/>
                        <a:gd name="T53" fmla="*/ 8 h 85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w 80"/>
                        <a:gd name="T82" fmla="*/ 0 h 85"/>
                        <a:gd name="T83" fmla="*/ 80 w 80"/>
                        <a:gd name="T84" fmla="*/ 85 h 85"/>
                      </a:gdLst>
                      <a:ahLst/>
                      <a:cxnLst>
                        <a:cxn ang="T54">
                          <a:pos x="T0" y="T1"/>
                        </a:cxn>
                        <a:cxn ang="T55">
                          <a:pos x="T2" y="T3"/>
                        </a:cxn>
                        <a:cxn ang="T56">
                          <a:pos x="T4" y="T5"/>
                        </a:cxn>
                        <a:cxn ang="T57">
                          <a:pos x="T6" y="T7"/>
                        </a:cxn>
                        <a:cxn ang="T58">
                          <a:pos x="T8" y="T9"/>
                        </a:cxn>
                        <a:cxn ang="T59">
                          <a:pos x="T10" y="T11"/>
                        </a:cxn>
                        <a:cxn ang="T60">
                          <a:pos x="T12" y="T13"/>
                        </a:cxn>
                        <a:cxn ang="T61">
                          <a:pos x="T14" y="T15"/>
                        </a:cxn>
                        <a:cxn ang="T62">
                          <a:pos x="T16" y="T17"/>
                        </a:cxn>
                        <a:cxn ang="T63">
                          <a:pos x="T18" y="T19"/>
                        </a:cxn>
                        <a:cxn ang="T64">
                          <a:pos x="T20" y="T21"/>
                        </a:cxn>
                        <a:cxn ang="T65">
                          <a:pos x="T22" y="T23"/>
                        </a:cxn>
                        <a:cxn ang="T66">
                          <a:pos x="T24" y="T25"/>
                        </a:cxn>
                        <a:cxn ang="T67">
                          <a:pos x="T26" y="T27"/>
                        </a:cxn>
                        <a:cxn ang="T68">
                          <a:pos x="T28" y="T29"/>
                        </a:cxn>
                        <a:cxn ang="T69">
                          <a:pos x="T30" y="T31"/>
                        </a:cxn>
                        <a:cxn ang="T70">
                          <a:pos x="T32" y="T33"/>
                        </a:cxn>
                        <a:cxn ang="T71">
                          <a:pos x="T34" y="T35"/>
                        </a:cxn>
                        <a:cxn ang="T72">
                          <a:pos x="T36" y="T37"/>
                        </a:cxn>
                        <a:cxn ang="T73">
                          <a:pos x="T38" y="T39"/>
                        </a:cxn>
                        <a:cxn ang="T74">
                          <a:pos x="T40" y="T41"/>
                        </a:cxn>
                        <a:cxn ang="T75">
                          <a:pos x="T42" y="T43"/>
                        </a:cxn>
                        <a:cxn ang="T76">
                          <a:pos x="T44" y="T45"/>
                        </a:cxn>
                        <a:cxn ang="T77">
                          <a:pos x="T46" y="T47"/>
                        </a:cxn>
                        <a:cxn ang="T78">
                          <a:pos x="T48" y="T49"/>
                        </a:cxn>
                        <a:cxn ang="T79">
                          <a:pos x="T50" y="T51"/>
                        </a:cxn>
                        <a:cxn ang="T80">
                          <a:pos x="T52" y="T53"/>
                        </a:cxn>
                      </a:cxnLst>
                      <a:rect l="T81" t="T82" r="T83" b="T84"/>
                      <a:pathLst>
                        <a:path w="80" h="85">
                          <a:moveTo>
                            <a:pt x="13" y="18"/>
                          </a:moveTo>
                          <a:lnTo>
                            <a:pt x="9" y="22"/>
                          </a:lnTo>
                          <a:lnTo>
                            <a:pt x="4" y="36"/>
                          </a:lnTo>
                          <a:lnTo>
                            <a:pt x="0" y="40"/>
                          </a:lnTo>
                          <a:lnTo>
                            <a:pt x="0" y="45"/>
                          </a:lnTo>
                          <a:lnTo>
                            <a:pt x="13" y="49"/>
                          </a:lnTo>
                          <a:lnTo>
                            <a:pt x="9" y="54"/>
                          </a:lnTo>
                          <a:lnTo>
                            <a:pt x="17" y="71"/>
                          </a:lnTo>
                          <a:lnTo>
                            <a:pt x="31" y="85"/>
                          </a:lnTo>
                          <a:lnTo>
                            <a:pt x="35" y="80"/>
                          </a:lnTo>
                          <a:lnTo>
                            <a:pt x="40" y="80"/>
                          </a:lnTo>
                          <a:lnTo>
                            <a:pt x="40" y="71"/>
                          </a:lnTo>
                          <a:lnTo>
                            <a:pt x="35" y="67"/>
                          </a:lnTo>
                          <a:lnTo>
                            <a:pt x="44" y="67"/>
                          </a:lnTo>
                          <a:lnTo>
                            <a:pt x="53" y="58"/>
                          </a:lnTo>
                          <a:lnTo>
                            <a:pt x="62" y="67"/>
                          </a:lnTo>
                          <a:lnTo>
                            <a:pt x="80" y="63"/>
                          </a:lnTo>
                          <a:lnTo>
                            <a:pt x="80" y="49"/>
                          </a:lnTo>
                          <a:lnTo>
                            <a:pt x="76" y="27"/>
                          </a:lnTo>
                          <a:lnTo>
                            <a:pt x="80" y="22"/>
                          </a:lnTo>
                          <a:lnTo>
                            <a:pt x="80" y="13"/>
                          </a:lnTo>
                          <a:lnTo>
                            <a:pt x="62" y="13"/>
                          </a:lnTo>
                          <a:lnTo>
                            <a:pt x="67" y="0"/>
                          </a:lnTo>
                          <a:lnTo>
                            <a:pt x="53" y="0"/>
                          </a:lnTo>
                          <a:lnTo>
                            <a:pt x="35" y="4"/>
                          </a:lnTo>
                          <a:lnTo>
                            <a:pt x="35" y="18"/>
                          </a:lnTo>
                          <a:lnTo>
                            <a:pt x="13" y="18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1" name="Freeform 3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556" y="2440"/>
                      <a:ext cx="38" cy="13"/>
                    </a:xfrm>
                    <a:custGeom>
                      <a:avLst/>
                      <a:gdLst>
                        <a:gd name="T0" fmla="*/ 0 w 40"/>
                        <a:gd name="T1" fmla="*/ 7 h 14"/>
                        <a:gd name="T2" fmla="*/ 10 w 40"/>
                        <a:gd name="T3" fmla="*/ 7 h 14"/>
                        <a:gd name="T4" fmla="*/ 10 w 40"/>
                        <a:gd name="T5" fmla="*/ 5 h 14"/>
                        <a:gd name="T6" fmla="*/ 10 w 40"/>
                        <a:gd name="T7" fmla="*/ 7 h 14"/>
                        <a:gd name="T8" fmla="*/ 10 w 40"/>
                        <a:gd name="T9" fmla="*/ 5 h 14"/>
                        <a:gd name="T10" fmla="*/ 10 w 40"/>
                        <a:gd name="T11" fmla="*/ 0 h 14"/>
                        <a:gd name="T12" fmla="*/ 10 w 40"/>
                        <a:gd name="T13" fmla="*/ 0 h 14"/>
                        <a:gd name="T14" fmla="*/ 4 w 40"/>
                        <a:gd name="T15" fmla="*/ 0 h 14"/>
                        <a:gd name="T16" fmla="*/ 4 w 40"/>
                        <a:gd name="T17" fmla="*/ 5 h 14"/>
                        <a:gd name="T18" fmla="*/ 0 w 40"/>
                        <a:gd name="T19" fmla="*/ 5 h 14"/>
                        <a:gd name="T20" fmla="*/ 0 w 40"/>
                        <a:gd name="T21" fmla="*/ 7 h 14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40"/>
                        <a:gd name="T34" fmla="*/ 0 h 14"/>
                        <a:gd name="T35" fmla="*/ 40 w 40"/>
                        <a:gd name="T36" fmla="*/ 14 h 14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40" h="14">
                          <a:moveTo>
                            <a:pt x="0" y="9"/>
                          </a:moveTo>
                          <a:lnTo>
                            <a:pt x="18" y="14"/>
                          </a:lnTo>
                          <a:lnTo>
                            <a:pt x="27" y="5"/>
                          </a:lnTo>
                          <a:lnTo>
                            <a:pt x="36" y="9"/>
                          </a:lnTo>
                          <a:lnTo>
                            <a:pt x="40" y="5"/>
                          </a:lnTo>
                          <a:lnTo>
                            <a:pt x="36" y="0"/>
                          </a:lnTo>
                          <a:lnTo>
                            <a:pt x="27" y="0"/>
                          </a:lnTo>
                          <a:lnTo>
                            <a:pt x="4" y="0"/>
                          </a:lnTo>
                          <a:lnTo>
                            <a:pt x="4" y="5"/>
                          </a:lnTo>
                          <a:lnTo>
                            <a:pt x="0" y="5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2" name="Freeform 34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737" y="2474"/>
                      <a:ext cx="59" cy="93"/>
                    </a:xfrm>
                    <a:custGeom>
                      <a:avLst/>
                      <a:gdLst>
                        <a:gd name="T0" fmla="*/ 4 w 62"/>
                        <a:gd name="T1" fmla="*/ 20 h 98"/>
                        <a:gd name="T2" fmla="*/ 10 w 62"/>
                        <a:gd name="T3" fmla="*/ 22 h 98"/>
                        <a:gd name="T4" fmla="*/ 10 w 62"/>
                        <a:gd name="T5" fmla="*/ 20 h 98"/>
                        <a:gd name="T6" fmla="*/ 10 w 62"/>
                        <a:gd name="T7" fmla="*/ 20 h 98"/>
                        <a:gd name="T8" fmla="*/ 10 w 62"/>
                        <a:gd name="T9" fmla="*/ 18 h 98"/>
                        <a:gd name="T10" fmla="*/ 13 w 62"/>
                        <a:gd name="T11" fmla="*/ 18 h 98"/>
                        <a:gd name="T12" fmla="*/ 14 w 62"/>
                        <a:gd name="T13" fmla="*/ 17 h 98"/>
                        <a:gd name="T14" fmla="*/ 13 w 62"/>
                        <a:gd name="T15" fmla="*/ 16 h 98"/>
                        <a:gd name="T16" fmla="*/ 11 w 62"/>
                        <a:gd name="T17" fmla="*/ 13 h 98"/>
                        <a:gd name="T18" fmla="*/ 11 w 62"/>
                        <a:gd name="T19" fmla="*/ 10 h 98"/>
                        <a:gd name="T20" fmla="*/ 10 w 62"/>
                        <a:gd name="T21" fmla="*/ 9 h 98"/>
                        <a:gd name="T22" fmla="*/ 11 w 62"/>
                        <a:gd name="T23" fmla="*/ 9 h 98"/>
                        <a:gd name="T24" fmla="*/ 11 w 62"/>
                        <a:gd name="T25" fmla="*/ 9 h 98"/>
                        <a:gd name="T26" fmla="*/ 10 w 62"/>
                        <a:gd name="T27" fmla="*/ 9 h 98"/>
                        <a:gd name="T28" fmla="*/ 10 w 62"/>
                        <a:gd name="T29" fmla="*/ 0 h 98"/>
                        <a:gd name="T30" fmla="*/ 10 w 62"/>
                        <a:gd name="T31" fmla="*/ 0 h 98"/>
                        <a:gd name="T32" fmla="*/ 10 w 62"/>
                        <a:gd name="T33" fmla="*/ 4 h 98"/>
                        <a:gd name="T34" fmla="*/ 4 w 62"/>
                        <a:gd name="T35" fmla="*/ 4 h 98"/>
                        <a:gd name="T36" fmla="*/ 4 w 62"/>
                        <a:gd name="T37" fmla="*/ 9 h 98"/>
                        <a:gd name="T38" fmla="*/ 4 w 62"/>
                        <a:gd name="T39" fmla="*/ 9 h 98"/>
                        <a:gd name="T40" fmla="*/ 9 w 62"/>
                        <a:gd name="T41" fmla="*/ 9 h 98"/>
                        <a:gd name="T42" fmla="*/ 4 w 62"/>
                        <a:gd name="T43" fmla="*/ 10 h 98"/>
                        <a:gd name="T44" fmla="*/ 0 w 62"/>
                        <a:gd name="T45" fmla="*/ 15 h 98"/>
                        <a:gd name="T46" fmla="*/ 4 w 62"/>
                        <a:gd name="T47" fmla="*/ 19 h 98"/>
                        <a:gd name="T48" fmla="*/ 4 w 62"/>
                        <a:gd name="T49" fmla="*/ 20 h 98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62"/>
                        <a:gd name="T76" fmla="*/ 0 h 98"/>
                        <a:gd name="T77" fmla="*/ 62 w 62"/>
                        <a:gd name="T78" fmla="*/ 98 h 98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62" h="98">
                          <a:moveTo>
                            <a:pt x="4" y="89"/>
                          </a:moveTo>
                          <a:lnTo>
                            <a:pt x="13" y="98"/>
                          </a:lnTo>
                          <a:lnTo>
                            <a:pt x="18" y="89"/>
                          </a:lnTo>
                          <a:lnTo>
                            <a:pt x="31" y="89"/>
                          </a:lnTo>
                          <a:lnTo>
                            <a:pt x="45" y="80"/>
                          </a:lnTo>
                          <a:lnTo>
                            <a:pt x="58" y="80"/>
                          </a:lnTo>
                          <a:lnTo>
                            <a:pt x="62" y="76"/>
                          </a:lnTo>
                          <a:lnTo>
                            <a:pt x="58" y="71"/>
                          </a:lnTo>
                          <a:lnTo>
                            <a:pt x="53" y="62"/>
                          </a:lnTo>
                          <a:lnTo>
                            <a:pt x="53" y="54"/>
                          </a:lnTo>
                          <a:lnTo>
                            <a:pt x="49" y="40"/>
                          </a:lnTo>
                          <a:lnTo>
                            <a:pt x="53" y="36"/>
                          </a:lnTo>
                          <a:lnTo>
                            <a:pt x="53" y="13"/>
                          </a:lnTo>
                          <a:lnTo>
                            <a:pt x="45" y="9"/>
                          </a:lnTo>
                          <a:lnTo>
                            <a:pt x="49" y="0"/>
                          </a:lnTo>
                          <a:lnTo>
                            <a:pt x="45" y="0"/>
                          </a:lnTo>
                          <a:lnTo>
                            <a:pt x="36" y="4"/>
                          </a:lnTo>
                          <a:lnTo>
                            <a:pt x="4" y="4"/>
                          </a:lnTo>
                          <a:lnTo>
                            <a:pt x="4" y="18"/>
                          </a:lnTo>
                          <a:lnTo>
                            <a:pt x="4" y="31"/>
                          </a:lnTo>
                          <a:lnTo>
                            <a:pt x="9" y="45"/>
                          </a:lnTo>
                          <a:lnTo>
                            <a:pt x="4" y="54"/>
                          </a:lnTo>
                          <a:lnTo>
                            <a:pt x="0" y="67"/>
                          </a:lnTo>
                          <a:lnTo>
                            <a:pt x="4" y="85"/>
                          </a:lnTo>
                          <a:lnTo>
                            <a:pt x="4" y="8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3" name="Freeform 3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581" y="2457"/>
                      <a:ext cx="93" cy="72"/>
                    </a:xfrm>
                    <a:custGeom>
                      <a:avLst/>
                      <a:gdLst>
                        <a:gd name="T0" fmla="*/ 0 w 98"/>
                        <a:gd name="T1" fmla="*/ 9 h 76"/>
                        <a:gd name="T2" fmla="*/ 4 w 98"/>
                        <a:gd name="T3" fmla="*/ 9 h 76"/>
                        <a:gd name="T4" fmla="*/ 9 w 98"/>
                        <a:gd name="T5" fmla="*/ 9 h 76"/>
                        <a:gd name="T6" fmla="*/ 9 w 98"/>
                        <a:gd name="T7" fmla="*/ 9 h 76"/>
                        <a:gd name="T8" fmla="*/ 9 w 98"/>
                        <a:gd name="T9" fmla="*/ 9 h 76"/>
                        <a:gd name="T10" fmla="*/ 9 w 98"/>
                        <a:gd name="T11" fmla="*/ 9 h 76"/>
                        <a:gd name="T12" fmla="*/ 9 w 98"/>
                        <a:gd name="T13" fmla="*/ 9 h 76"/>
                        <a:gd name="T14" fmla="*/ 10 w 98"/>
                        <a:gd name="T15" fmla="*/ 9 h 76"/>
                        <a:gd name="T16" fmla="*/ 12 w 98"/>
                        <a:gd name="T17" fmla="*/ 9 h 76"/>
                        <a:gd name="T18" fmla="*/ 12 w 98"/>
                        <a:gd name="T19" fmla="*/ 12 h 76"/>
                        <a:gd name="T20" fmla="*/ 13 w 98"/>
                        <a:gd name="T21" fmla="*/ 12 h 76"/>
                        <a:gd name="T22" fmla="*/ 17 w 98"/>
                        <a:gd name="T23" fmla="*/ 12 h 76"/>
                        <a:gd name="T24" fmla="*/ 17 w 98"/>
                        <a:gd name="T25" fmla="*/ 16 h 76"/>
                        <a:gd name="T26" fmla="*/ 19 w 98"/>
                        <a:gd name="T27" fmla="*/ 16 h 76"/>
                        <a:gd name="T28" fmla="*/ 20 w 98"/>
                        <a:gd name="T29" fmla="*/ 15 h 76"/>
                        <a:gd name="T30" fmla="*/ 20 w 98"/>
                        <a:gd name="T31" fmla="*/ 11 h 76"/>
                        <a:gd name="T32" fmla="*/ 22 w 98"/>
                        <a:gd name="T33" fmla="*/ 11 h 76"/>
                        <a:gd name="T34" fmla="*/ 21 w 98"/>
                        <a:gd name="T35" fmla="*/ 9 h 76"/>
                        <a:gd name="T36" fmla="*/ 22 w 98"/>
                        <a:gd name="T37" fmla="*/ 9 h 76"/>
                        <a:gd name="T38" fmla="*/ 20 w 98"/>
                        <a:gd name="T39" fmla="*/ 9 h 76"/>
                        <a:gd name="T40" fmla="*/ 20 w 98"/>
                        <a:gd name="T41" fmla="*/ 9 h 76"/>
                        <a:gd name="T42" fmla="*/ 19 w 98"/>
                        <a:gd name="T43" fmla="*/ 9 h 76"/>
                        <a:gd name="T44" fmla="*/ 18 w 98"/>
                        <a:gd name="T45" fmla="*/ 0 h 76"/>
                        <a:gd name="T46" fmla="*/ 13 w 98"/>
                        <a:gd name="T47" fmla="*/ 9 h 76"/>
                        <a:gd name="T48" fmla="*/ 10 w 98"/>
                        <a:gd name="T49" fmla="*/ 9 h 76"/>
                        <a:gd name="T50" fmla="*/ 9 w 98"/>
                        <a:gd name="T51" fmla="*/ 9 h 76"/>
                        <a:gd name="T52" fmla="*/ 9 w 98"/>
                        <a:gd name="T53" fmla="*/ 5 h 76"/>
                        <a:gd name="T54" fmla="*/ 9 w 98"/>
                        <a:gd name="T55" fmla="*/ 5 h 76"/>
                        <a:gd name="T56" fmla="*/ 9 w 98"/>
                        <a:gd name="T57" fmla="*/ 9 h 76"/>
                        <a:gd name="T58" fmla="*/ 4 w 98"/>
                        <a:gd name="T59" fmla="*/ 9 h 76"/>
                        <a:gd name="T60" fmla="*/ 0 w 98"/>
                        <a:gd name="T61" fmla="*/ 9 h 7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w 98"/>
                        <a:gd name="T94" fmla="*/ 0 h 76"/>
                        <a:gd name="T95" fmla="*/ 98 w 98"/>
                        <a:gd name="T96" fmla="*/ 76 h 76"/>
                      </a:gdLst>
                      <a:ahLst/>
                      <a:cxnLst>
                        <a:cxn ang="T62">
                          <a:pos x="T0" y="T1"/>
                        </a:cxn>
                        <a:cxn ang="T63">
                          <a:pos x="T2" y="T3"/>
                        </a:cxn>
                        <a:cxn ang="T64">
                          <a:pos x="T4" y="T5"/>
                        </a:cxn>
                        <a:cxn ang="T65">
                          <a:pos x="T6" y="T7"/>
                        </a:cxn>
                        <a:cxn ang="T66">
                          <a:pos x="T8" y="T9"/>
                        </a:cxn>
                        <a:cxn ang="T67">
                          <a:pos x="T10" y="T11"/>
                        </a:cxn>
                        <a:cxn ang="T68">
                          <a:pos x="T12" y="T13"/>
                        </a:cxn>
                        <a:cxn ang="T69">
                          <a:pos x="T14" y="T15"/>
                        </a:cxn>
                        <a:cxn ang="T70">
                          <a:pos x="T16" y="T17"/>
                        </a:cxn>
                        <a:cxn ang="T71">
                          <a:pos x="T18" y="T19"/>
                        </a:cxn>
                        <a:cxn ang="T72">
                          <a:pos x="T20" y="T21"/>
                        </a:cxn>
                        <a:cxn ang="T73">
                          <a:pos x="T22" y="T23"/>
                        </a:cxn>
                        <a:cxn ang="T74">
                          <a:pos x="T24" y="T25"/>
                        </a:cxn>
                        <a:cxn ang="T75">
                          <a:pos x="T26" y="T27"/>
                        </a:cxn>
                        <a:cxn ang="T76">
                          <a:pos x="T28" y="T29"/>
                        </a:cxn>
                        <a:cxn ang="T77">
                          <a:pos x="T30" y="T31"/>
                        </a:cxn>
                        <a:cxn ang="T78">
                          <a:pos x="T32" y="T33"/>
                        </a:cxn>
                        <a:cxn ang="T79">
                          <a:pos x="T34" y="T35"/>
                        </a:cxn>
                        <a:cxn ang="T80">
                          <a:pos x="T36" y="T37"/>
                        </a:cxn>
                        <a:cxn ang="T81">
                          <a:pos x="T38" y="T39"/>
                        </a:cxn>
                        <a:cxn ang="T82">
                          <a:pos x="T40" y="T41"/>
                        </a:cxn>
                        <a:cxn ang="T83">
                          <a:pos x="T42" y="T43"/>
                        </a:cxn>
                        <a:cxn ang="T84">
                          <a:pos x="T44" y="T45"/>
                        </a:cxn>
                        <a:cxn ang="T85">
                          <a:pos x="T46" y="T47"/>
                        </a:cxn>
                        <a:cxn ang="T86">
                          <a:pos x="T48" y="T49"/>
                        </a:cxn>
                        <a:cxn ang="T87">
                          <a:pos x="T50" y="T51"/>
                        </a:cxn>
                        <a:cxn ang="T88">
                          <a:pos x="T52" y="T53"/>
                        </a:cxn>
                        <a:cxn ang="T89">
                          <a:pos x="T54" y="T55"/>
                        </a:cxn>
                        <a:cxn ang="T90">
                          <a:pos x="T56" y="T57"/>
                        </a:cxn>
                        <a:cxn ang="T91">
                          <a:pos x="T58" y="T59"/>
                        </a:cxn>
                        <a:cxn ang="T92">
                          <a:pos x="T60" y="T61"/>
                        </a:cxn>
                      </a:cxnLst>
                      <a:rect l="T93" t="T94" r="T95" b="T96"/>
                      <a:pathLst>
                        <a:path w="98" h="76">
                          <a:moveTo>
                            <a:pt x="0" y="31"/>
                          </a:moveTo>
                          <a:lnTo>
                            <a:pt x="4" y="40"/>
                          </a:lnTo>
                          <a:lnTo>
                            <a:pt x="17" y="45"/>
                          </a:lnTo>
                          <a:lnTo>
                            <a:pt x="17" y="54"/>
                          </a:lnTo>
                          <a:lnTo>
                            <a:pt x="26" y="49"/>
                          </a:lnTo>
                          <a:lnTo>
                            <a:pt x="31" y="45"/>
                          </a:lnTo>
                          <a:lnTo>
                            <a:pt x="49" y="40"/>
                          </a:lnTo>
                          <a:lnTo>
                            <a:pt x="53" y="45"/>
                          </a:lnTo>
                          <a:lnTo>
                            <a:pt x="58" y="54"/>
                          </a:lnTo>
                          <a:lnTo>
                            <a:pt x="58" y="63"/>
                          </a:lnTo>
                          <a:lnTo>
                            <a:pt x="62" y="63"/>
                          </a:lnTo>
                          <a:lnTo>
                            <a:pt x="76" y="63"/>
                          </a:lnTo>
                          <a:lnTo>
                            <a:pt x="76" y="76"/>
                          </a:lnTo>
                          <a:lnTo>
                            <a:pt x="84" y="76"/>
                          </a:lnTo>
                          <a:lnTo>
                            <a:pt x="89" y="72"/>
                          </a:lnTo>
                          <a:lnTo>
                            <a:pt x="89" y="58"/>
                          </a:lnTo>
                          <a:lnTo>
                            <a:pt x="98" y="58"/>
                          </a:lnTo>
                          <a:lnTo>
                            <a:pt x="93" y="45"/>
                          </a:lnTo>
                          <a:lnTo>
                            <a:pt x="98" y="31"/>
                          </a:lnTo>
                          <a:lnTo>
                            <a:pt x="89" y="27"/>
                          </a:lnTo>
                          <a:lnTo>
                            <a:pt x="89" y="18"/>
                          </a:lnTo>
                          <a:lnTo>
                            <a:pt x="84" y="13"/>
                          </a:lnTo>
                          <a:lnTo>
                            <a:pt x="80" y="0"/>
                          </a:lnTo>
                          <a:lnTo>
                            <a:pt x="62" y="9"/>
                          </a:lnTo>
                          <a:lnTo>
                            <a:pt x="53" y="9"/>
                          </a:lnTo>
                          <a:lnTo>
                            <a:pt x="49" y="13"/>
                          </a:lnTo>
                          <a:lnTo>
                            <a:pt x="44" y="5"/>
                          </a:lnTo>
                          <a:lnTo>
                            <a:pt x="17" y="5"/>
                          </a:lnTo>
                          <a:lnTo>
                            <a:pt x="17" y="13"/>
                          </a:lnTo>
                          <a:lnTo>
                            <a:pt x="4" y="22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4" name="Freeform 3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665" y="2487"/>
                      <a:ext cx="80" cy="85"/>
                    </a:xfrm>
                    <a:custGeom>
                      <a:avLst/>
                      <a:gdLst>
                        <a:gd name="T0" fmla="*/ 0 w 85"/>
                        <a:gd name="T1" fmla="*/ 9 h 90"/>
                        <a:gd name="T2" fmla="*/ 0 w 85"/>
                        <a:gd name="T3" fmla="*/ 9 h 90"/>
                        <a:gd name="T4" fmla="*/ 8 w 85"/>
                        <a:gd name="T5" fmla="*/ 12 h 90"/>
                        <a:gd name="T6" fmla="*/ 8 w 85"/>
                        <a:gd name="T7" fmla="*/ 17 h 90"/>
                        <a:gd name="T8" fmla="*/ 8 w 85"/>
                        <a:gd name="T9" fmla="*/ 17 h 90"/>
                        <a:gd name="T10" fmla="*/ 8 w 85"/>
                        <a:gd name="T11" fmla="*/ 14 h 90"/>
                        <a:gd name="T12" fmla="*/ 8 w 85"/>
                        <a:gd name="T13" fmla="*/ 13 h 90"/>
                        <a:gd name="T14" fmla="*/ 14 w 85"/>
                        <a:gd name="T15" fmla="*/ 14 h 90"/>
                        <a:gd name="T16" fmla="*/ 14 w 85"/>
                        <a:gd name="T17" fmla="*/ 13 h 90"/>
                        <a:gd name="T18" fmla="*/ 13 w 85"/>
                        <a:gd name="T19" fmla="*/ 9 h 90"/>
                        <a:gd name="T20" fmla="*/ 14 w 85"/>
                        <a:gd name="T21" fmla="*/ 9 h 90"/>
                        <a:gd name="T22" fmla="*/ 15 w 85"/>
                        <a:gd name="T23" fmla="*/ 9 h 90"/>
                        <a:gd name="T24" fmla="*/ 14 w 85"/>
                        <a:gd name="T25" fmla="*/ 9 h 90"/>
                        <a:gd name="T26" fmla="*/ 13 w 85"/>
                        <a:gd name="T27" fmla="*/ 9 h 90"/>
                        <a:gd name="T28" fmla="*/ 12 w 85"/>
                        <a:gd name="T29" fmla="*/ 9 h 90"/>
                        <a:gd name="T30" fmla="*/ 8 w 85"/>
                        <a:gd name="T31" fmla="*/ 9 h 90"/>
                        <a:gd name="T32" fmla="*/ 8 w 85"/>
                        <a:gd name="T33" fmla="*/ 0 h 90"/>
                        <a:gd name="T34" fmla="*/ 8 w 85"/>
                        <a:gd name="T35" fmla="*/ 5 h 90"/>
                        <a:gd name="T36" fmla="*/ 8 w 85"/>
                        <a:gd name="T37" fmla="*/ 0 h 90"/>
                        <a:gd name="T38" fmla="*/ 8 w 85"/>
                        <a:gd name="T39" fmla="*/ 5 h 90"/>
                        <a:gd name="T40" fmla="*/ 8 w 85"/>
                        <a:gd name="T41" fmla="*/ 0 h 90"/>
                        <a:gd name="T42" fmla="*/ 4 w 85"/>
                        <a:gd name="T43" fmla="*/ 9 h 90"/>
                        <a:gd name="T44" fmla="*/ 8 w 85"/>
                        <a:gd name="T45" fmla="*/ 9 h 90"/>
                        <a:gd name="T46" fmla="*/ 0 w 85"/>
                        <a:gd name="T47" fmla="*/ 9 h 90"/>
                        <a:gd name="T48" fmla="*/ 0 w 85"/>
                        <a:gd name="T49" fmla="*/ 9 h 90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85"/>
                        <a:gd name="T76" fmla="*/ 0 h 90"/>
                        <a:gd name="T77" fmla="*/ 85 w 85"/>
                        <a:gd name="T78" fmla="*/ 90 h 90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85" h="90">
                          <a:moveTo>
                            <a:pt x="0" y="41"/>
                          </a:moveTo>
                          <a:lnTo>
                            <a:pt x="0" y="54"/>
                          </a:lnTo>
                          <a:lnTo>
                            <a:pt x="18" y="67"/>
                          </a:lnTo>
                          <a:lnTo>
                            <a:pt x="13" y="90"/>
                          </a:lnTo>
                          <a:lnTo>
                            <a:pt x="18" y="90"/>
                          </a:lnTo>
                          <a:lnTo>
                            <a:pt x="36" y="76"/>
                          </a:lnTo>
                          <a:lnTo>
                            <a:pt x="58" y="72"/>
                          </a:lnTo>
                          <a:lnTo>
                            <a:pt x="80" y="76"/>
                          </a:lnTo>
                          <a:lnTo>
                            <a:pt x="80" y="72"/>
                          </a:lnTo>
                          <a:lnTo>
                            <a:pt x="76" y="54"/>
                          </a:lnTo>
                          <a:lnTo>
                            <a:pt x="80" y="41"/>
                          </a:lnTo>
                          <a:lnTo>
                            <a:pt x="85" y="32"/>
                          </a:lnTo>
                          <a:lnTo>
                            <a:pt x="80" y="18"/>
                          </a:lnTo>
                          <a:lnTo>
                            <a:pt x="76" y="14"/>
                          </a:lnTo>
                          <a:lnTo>
                            <a:pt x="71" y="9"/>
                          </a:lnTo>
                          <a:lnTo>
                            <a:pt x="58" y="14"/>
                          </a:lnTo>
                          <a:lnTo>
                            <a:pt x="40" y="0"/>
                          </a:lnTo>
                          <a:lnTo>
                            <a:pt x="36" y="5"/>
                          </a:lnTo>
                          <a:lnTo>
                            <a:pt x="31" y="0"/>
                          </a:lnTo>
                          <a:lnTo>
                            <a:pt x="13" y="5"/>
                          </a:lnTo>
                          <a:lnTo>
                            <a:pt x="9" y="0"/>
                          </a:lnTo>
                          <a:lnTo>
                            <a:pt x="4" y="14"/>
                          </a:lnTo>
                          <a:lnTo>
                            <a:pt x="9" y="27"/>
                          </a:lnTo>
                          <a:lnTo>
                            <a:pt x="0" y="27"/>
                          </a:lnTo>
                          <a:lnTo>
                            <a:pt x="0" y="4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5" name="Freeform 3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238" y="2567"/>
                      <a:ext cx="114" cy="127"/>
                    </a:xfrm>
                    <a:custGeom>
                      <a:avLst/>
                      <a:gdLst>
                        <a:gd name="T0" fmla="*/ 0 w 121"/>
                        <a:gd name="T1" fmla="*/ 5 h 134"/>
                        <a:gd name="T2" fmla="*/ 8 w 121"/>
                        <a:gd name="T3" fmla="*/ 9 h 134"/>
                        <a:gd name="T4" fmla="*/ 8 w 121"/>
                        <a:gd name="T5" fmla="*/ 9 h 134"/>
                        <a:gd name="T6" fmla="*/ 8 w 121"/>
                        <a:gd name="T7" fmla="*/ 9 h 134"/>
                        <a:gd name="T8" fmla="*/ 5 w 121"/>
                        <a:gd name="T9" fmla="*/ 12 h 134"/>
                        <a:gd name="T10" fmla="*/ 5 w 121"/>
                        <a:gd name="T11" fmla="*/ 15 h 134"/>
                        <a:gd name="T12" fmla="*/ 8 w 121"/>
                        <a:gd name="T13" fmla="*/ 15 h 134"/>
                        <a:gd name="T14" fmla="*/ 5 w 121"/>
                        <a:gd name="T15" fmla="*/ 16 h 134"/>
                        <a:gd name="T16" fmla="*/ 0 w 121"/>
                        <a:gd name="T17" fmla="*/ 17 h 134"/>
                        <a:gd name="T18" fmla="*/ 8 w 121"/>
                        <a:gd name="T19" fmla="*/ 22 h 134"/>
                        <a:gd name="T20" fmla="*/ 13 w 121"/>
                        <a:gd name="T21" fmla="*/ 26 h 134"/>
                        <a:gd name="T22" fmla="*/ 15 w 121"/>
                        <a:gd name="T23" fmla="*/ 26 h 134"/>
                        <a:gd name="T24" fmla="*/ 16 w 121"/>
                        <a:gd name="T25" fmla="*/ 25 h 134"/>
                        <a:gd name="T26" fmla="*/ 17 w 121"/>
                        <a:gd name="T27" fmla="*/ 25 h 134"/>
                        <a:gd name="T28" fmla="*/ 17 w 121"/>
                        <a:gd name="T29" fmla="*/ 22 h 134"/>
                        <a:gd name="T30" fmla="*/ 18 w 121"/>
                        <a:gd name="T31" fmla="*/ 22 h 134"/>
                        <a:gd name="T32" fmla="*/ 18 w 121"/>
                        <a:gd name="T33" fmla="*/ 21 h 134"/>
                        <a:gd name="T34" fmla="*/ 20 w 121"/>
                        <a:gd name="T35" fmla="*/ 20 h 134"/>
                        <a:gd name="T36" fmla="*/ 19 w 121"/>
                        <a:gd name="T37" fmla="*/ 16 h 134"/>
                        <a:gd name="T38" fmla="*/ 18 w 121"/>
                        <a:gd name="T39" fmla="*/ 9 h 134"/>
                        <a:gd name="T40" fmla="*/ 21 w 121"/>
                        <a:gd name="T41" fmla="*/ 9 h 134"/>
                        <a:gd name="T42" fmla="*/ 19 w 121"/>
                        <a:gd name="T43" fmla="*/ 9 h 134"/>
                        <a:gd name="T44" fmla="*/ 17 w 121"/>
                        <a:gd name="T45" fmla="*/ 5 h 134"/>
                        <a:gd name="T46" fmla="*/ 16 w 121"/>
                        <a:gd name="T47" fmla="*/ 9 h 134"/>
                        <a:gd name="T48" fmla="*/ 15 w 121"/>
                        <a:gd name="T49" fmla="*/ 9 h 134"/>
                        <a:gd name="T50" fmla="*/ 10 w 121"/>
                        <a:gd name="T51" fmla="*/ 9 h 134"/>
                        <a:gd name="T52" fmla="*/ 8 w 121"/>
                        <a:gd name="T53" fmla="*/ 0 h 134"/>
                        <a:gd name="T54" fmla="*/ 8 w 121"/>
                        <a:gd name="T55" fmla="*/ 5 h 134"/>
                        <a:gd name="T56" fmla="*/ 8 w 121"/>
                        <a:gd name="T57" fmla="*/ 0 h 134"/>
                        <a:gd name="T58" fmla="*/ 5 w 121"/>
                        <a:gd name="T59" fmla="*/ 0 h 134"/>
                        <a:gd name="T60" fmla="*/ 0 w 121"/>
                        <a:gd name="T61" fmla="*/ 5 h 134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w 121"/>
                        <a:gd name="T94" fmla="*/ 0 h 134"/>
                        <a:gd name="T95" fmla="*/ 121 w 121"/>
                        <a:gd name="T96" fmla="*/ 134 h 134"/>
                      </a:gdLst>
                      <a:ahLst/>
                      <a:cxnLst>
                        <a:cxn ang="T62">
                          <a:pos x="T0" y="T1"/>
                        </a:cxn>
                        <a:cxn ang="T63">
                          <a:pos x="T2" y="T3"/>
                        </a:cxn>
                        <a:cxn ang="T64">
                          <a:pos x="T4" y="T5"/>
                        </a:cxn>
                        <a:cxn ang="T65">
                          <a:pos x="T6" y="T7"/>
                        </a:cxn>
                        <a:cxn ang="T66">
                          <a:pos x="T8" y="T9"/>
                        </a:cxn>
                        <a:cxn ang="T67">
                          <a:pos x="T10" y="T11"/>
                        </a:cxn>
                        <a:cxn ang="T68">
                          <a:pos x="T12" y="T13"/>
                        </a:cxn>
                        <a:cxn ang="T69">
                          <a:pos x="T14" y="T15"/>
                        </a:cxn>
                        <a:cxn ang="T70">
                          <a:pos x="T16" y="T17"/>
                        </a:cxn>
                        <a:cxn ang="T71">
                          <a:pos x="T18" y="T19"/>
                        </a:cxn>
                        <a:cxn ang="T72">
                          <a:pos x="T20" y="T21"/>
                        </a:cxn>
                        <a:cxn ang="T73">
                          <a:pos x="T22" y="T23"/>
                        </a:cxn>
                        <a:cxn ang="T74">
                          <a:pos x="T24" y="T25"/>
                        </a:cxn>
                        <a:cxn ang="T75">
                          <a:pos x="T26" y="T27"/>
                        </a:cxn>
                        <a:cxn ang="T76">
                          <a:pos x="T28" y="T29"/>
                        </a:cxn>
                        <a:cxn ang="T77">
                          <a:pos x="T30" y="T31"/>
                        </a:cxn>
                        <a:cxn ang="T78">
                          <a:pos x="T32" y="T33"/>
                        </a:cxn>
                        <a:cxn ang="T79">
                          <a:pos x="T34" y="T35"/>
                        </a:cxn>
                        <a:cxn ang="T80">
                          <a:pos x="T36" y="T37"/>
                        </a:cxn>
                        <a:cxn ang="T81">
                          <a:pos x="T38" y="T39"/>
                        </a:cxn>
                        <a:cxn ang="T82">
                          <a:pos x="T40" y="T41"/>
                        </a:cxn>
                        <a:cxn ang="T83">
                          <a:pos x="T42" y="T43"/>
                        </a:cxn>
                        <a:cxn ang="T84">
                          <a:pos x="T44" y="T45"/>
                        </a:cxn>
                        <a:cxn ang="T85">
                          <a:pos x="T46" y="T47"/>
                        </a:cxn>
                        <a:cxn ang="T86">
                          <a:pos x="T48" y="T49"/>
                        </a:cxn>
                        <a:cxn ang="T87">
                          <a:pos x="T50" y="T51"/>
                        </a:cxn>
                        <a:cxn ang="T88">
                          <a:pos x="T52" y="T53"/>
                        </a:cxn>
                        <a:cxn ang="T89">
                          <a:pos x="T54" y="T55"/>
                        </a:cxn>
                        <a:cxn ang="T90">
                          <a:pos x="T56" y="T57"/>
                        </a:cxn>
                        <a:cxn ang="T91">
                          <a:pos x="T58" y="T59"/>
                        </a:cxn>
                        <a:cxn ang="T92">
                          <a:pos x="T60" y="T61"/>
                        </a:cxn>
                      </a:cxnLst>
                      <a:rect l="T93" t="T94" r="T95" b="T96"/>
                      <a:pathLst>
                        <a:path w="121" h="134">
                          <a:moveTo>
                            <a:pt x="0" y="5"/>
                          </a:moveTo>
                          <a:lnTo>
                            <a:pt x="9" y="14"/>
                          </a:lnTo>
                          <a:lnTo>
                            <a:pt x="14" y="27"/>
                          </a:lnTo>
                          <a:lnTo>
                            <a:pt x="9" y="49"/>
                          </a:lnTo>
                          <a:lnTo>
                            <a:pt x="5" y="63"/>
                          </a:lnTo>
                          <a:lnTo>
                            <a:pt x="5" y="72"/>
                          </a:lnTo>
                          <a:lnTo>
                            <a:pt x="9" y="72"/>
                          </a:lnTo>
                          <a:lnTo>
                            <a:pt x="5" y="76"/>
                          </a:lnTo>
                          <a:lnTo>
                            <a:pt x="0" y="81"/>
                          </a:lnTo>
                          <a:lnTo>
                            <a:pt x="41" y="107"/>
                          </a:lnTo>
                          <a:lnTo>
                            <a:pt x="76" y="134"/>
                          </a:lnTo>
                          <a:lnTo>
                            <a:pt x="85" y="134"/>
                          </a:lnTo>
                          <a:lnTo>
                            <a:pt x="90" y="121"/>
                          </a:lnTo>
                          <a:lnTo>
                            <a:pt x="94" y="121"/>
                          </a:lnTo>
                          <a:lnTo>
                            <a:pt x="94" y="107"/>
                          </a:lnTo>
                          <a:lnTo>
                            <a:pt x="103" y="103"/>
                          </a:lnTo>
                          <a:lnTo>
                            <a:pt x="103" y="99"/>
                          </a:lnTo>
                          <a:lnTo>
                            <a:pt x="112" y="94"/>
                          </a:lnTo>
                          <a:lnTo>
                            <a:pt x="108" y="76"/>
                          </a:lnTo>
                          <a:lnTo>
                            <a:pt x="103" y="23"/>
                          </a:lnTo>
                          <a:lnTo>
                            <a:pt x="121" y="9"/>
                          </a:lnTo>
                          <a:lnTo>
                            <a:pt x="108" y="9"/>
                          </a:lnTo>
                          <a:lnTo>
                            <a:pt x="99" y="5"/>
                          </a:lnTo>
                          <a:lnTo>
                            <a:pt x="90" y="9"/>
                          </a:lnTo>
                          <a:lnTo>
                            <a:pt x="85" y="18"/>
                          </a:lnTo>
                          <a:lnTo>
                            <a:pt x="63" y="14"/>
                          </a:lnTo>
                          <a:lnTo>
                            <a:pt x="45" y="0"/>
                          </a:lnTo>
                          <a:lnTo>
                            <a:pt x="32" y="5"/>
                          </a:lnTo>
                          <a:lnTo>
                            <a:pt x="27" y="0"/>
                          </a:lnTo>
                          <a:lnTo>
                            <a:pt x="5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6" name="Freeform 38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46" y="3044"/>
                      <a:ext cx="38" cy="29"/>
                    </a:xfrm>
                    <a:custGeom>
                      <a:avLst/>
                      <a:gdLst>
                        <a:gd name="T0" fmla="*/ 9 w 40"/>
                        <a:gd name="T1" fmla="*/ 7 h 31"/>
                        <a:gd name="T2" fmla="*/ 10 w 40"/>
                        <a:gd name="T3" fmla="*/ 7 h 31"/>
                        <a:gd name="T4" fmla="*/ 10 w 40"/>
                        <a:gd name="T5" fmla="*/ 7 h 31"/>
                        <a:gd name="T6" fmla="*/ 10 w 40"/>
                        <a:gd name="T7" fmla="*/ 7 h 31"/>
                        <a:gd name="T8" fmla="*/ 10 w 40"/>
                        <a:gd name="T9" fmla="*/ 7 h 31"/>
                        <a:gd name="T10" fmla="*/ 10 w 40"/>
                        <a:gd name="T11" fmla="*/ 0 h 31"/>
                        <a:gd name="T12" fmla="*/ 9 w 40"/>
                        <a:gd name="T13" fmla="*/ 5 h 31"/>
                        <a:gd name="T14" fmla="*/ 0 w 40"/>
                        <a:gd name="T15" fmla="*/ 7 h 31"/>
                        <a:gd name="T16" fmla="*/ 9 w 40"/>
                        <a:gd name="T17" fmla="*/ 7 h 31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40"/>
                        <a:gd name="T28" fmla="*/ 0 h 31"/>
                        <a:gd name="T29" fmla="*/ 40 w 40"/>
                        <a:gd name="T30" fmla="*/ 31 h 31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40" h="31">
                          <a:moveTo>
                            <a:pt x="9" y="27"/>
                          </a:moveTo>
                          <a:lnTo>
                            <a:pt x="14" y="31"/>
                          </a:lnTo>
                          <a:lnTo>
                            <a:pt x="18" y="27"/>
                          </a:lnTo>
                          <a:lnTo>
                            <a:pt x="31" y="23"/>
                          </a:lnTo>
                          <a:lnTo>
                            <a:pt x="40" y="14"/>
                          </a:lnTo>
                          <a:lnTo>
                            <a:pt x="27" y="0"/>
                          </a:lnTo>
                          <a:lnTo>
                            <a:pt x="9" y="5"/>
                          </a:lnTo>
                          <a:lnTo>
                            <a:pt x="0" y="14"/>
                          </a:lnTo>
                          <a:lnTo>
                            <a:pt x="9" y="27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7" name="Freeform 3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623" y="2517"/>
                      <a:ext cx="59" cy="55"/>
                    </a:xfrm>
                    <a:custGeom>
                      <a:avLst/>
                      <a:gdLst>
                        <a:gd name="T0" fmla="*/ 0 w 63"/>
                        <a:gd name="T1" fmla="*/ 9 h 58"/>
                        <a:gd name="T2" fmla="*/ 7 w 63"/>
                        <a:gd name="T3" fmla="*/ 9 h 58"/>
                        <a:gd name="T4" fmla="*/ 7 w 63"/>
                        <a:gd name="T5" fmla="*/ 11 h 58"/>
                        <a:gd name="T6" fmla="*/ 7 w 63"/>
                        <a:gd name="T7" fmla="*/ 11 h 58"/>
                        <a:gd name="T8" fmla="*/ 8 w 63"/>
                        <a:gd name="T9" fmla="*/ 9 h 58"/>
                        <a:gd name="T10" fmla="*/ 7 w 63"/>
                        <a:gd name="T11" fmla="*/ 9 h 58"/>
                        <a:gd name="T12" fmla="*/ 7 w 63"/>
                        <a:gd name="T13" fmla="*/ 9 h 58"/>
                        <a:gd name="T14" fmla="*/ 7 w 63"/>
                        <a:gd name="T15" fmla="*/ 9 h 58"/>
                        <a:gd name="T16" fmla="*/ 7 w 63"/>
                        <a:gd name="T17" fmla="*/ 9 h 58"/>
                        <a:gd name="T18" fmla="*/ 7 w 63"/>
                        <a:gd name="T19" fmla="*/ 0 h 58"/>
                        <a:gd name="T20" fmla="*/ 7 w 63"/>
                        <a:gd name="T21" fmla="*/ 0 h 58"/>
                        <a:gd name="T22" fmla="*/ 7 w 63"/>
                        <a:gd name="T23" fmla="*/ 9 h 58"/>
                        <a:gd name="T24" fmla="*/ 7 w 63"/>
                        <a:gd name="T25" fmla="*/ 9 h 58"/>
                        <a:gd name="T26" fmla="*/ 7 w 63"/>
                        <a:gd name="T27" fmla="*/ 9 h 58"/>
                        <a:gd name="T28" fmla="*/ 5 w 63"/>
                        <a:gd name="T29" fmla="*/ 9 h 58"/>
                        <a:gd name="T30" fmla="*/ 0 w 63"/>
                        <a:gd name="T31" fmla="*/ 9 h 58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w 63"/>
                        <a:gd name="T49" fmla="*/ 0 h 58"/>
                        <a:gd name="T50" fmla="*/ 63 w 63"/>
                        <a:gd name="T51" fmla="*/ 58 h 58"/>
                      </a:gdLst>
                      <a:ahLst/>
                      <a:cxnLst>
                        <a:cxn ang="T32">
                          <a:pos x="T0" y="T1"/>
                        </a:cxn>
                        <a:cxn ang="T33">
                          <a:pos x="T2" y="T3"/>
                        </a:cxn>
                        <a:cxn ang="T34">
                          <a:pos x="T4" y="T5"/>
                        </a:cxn>
                        <a:cxn ang="T35">
                          <a:pos x="T6" y="T7"/>
                        </a:cxn>
                        <a:cxn ang="T36">
                          <a:pos x="T8" y="T9"/>
                        </a:cxn>
                        <a:cxn ang="T37">
                          <a:pos x="T10" y="T11"/>
                        </a:cxn>
                        <a:cxn ang="T38">
                          <a:pos x="T12" y="T13"/>
                        </a:cxn>
                        <a:cxn ang="T39">
                          <a:pos x="T14" y="T15"/>
                        </a:cxn>
                        <a:cxn ang="T40">
                          <a:pos x="T16" y="T17"/>
                        </a:cxn>
                        <a:cxn ang="T41">
                          <a:pos x="T18" y="T19"/>
                        </a:cxn>
                        <a:cxn ang="T42">
                          <a:pos x="T20" y="T21"/>
                        </a:cxn>
                        <a:cxn ang="T43">
                          <a:pos x="T22" y="T23"/>
                        </a:cxn>
                        <a:cxn ang="T44">
                          <a:pos x="T24" y="T25"/>
                        </a:cxn>
                        <a:cxn ang="T45">
                          <a:pos x="T26" y="T27"/>
                        </a:cxn>
                        <a:cxn ang="T46">
                          <a:pos x="T28" y="T29"/>
                        </a:cxn>
                        <a:cxn ang="T47">
                          <a:pos x="T30" y="T31"/>
                        </a:cxn>
                      </a:cxnLst>
                      <a:rect l="T48" t="T49" r="T50" b="T51"/>
                      <a:pathLst>
                        <a:path w="63" h="58">
                          <a:moveTo>
                            <a:pt x="0" y="22"/>
                          </a:moveTo>
                          <a:lnTo>
                            <a:pt x="9" y="26"/>
                          </a:lnTo>
                          <a:lnTo>
                            <a:pt x="49" y="58"/>
                          </a:lnTo>
                          <a:lnTo>
                            <a:pt x="58" y="58"/>
                          </a:lnTo>
                          <a:lnTo>
                            <a:pt x="63" y="35"/>
                          </a:lnTo>
                          <a:lnTo>
                            <a:pt x="45" y="22"/>
                          </a:lnTo>
                          <a:lnTo>
                            <a:pt x="45" y="9"/>
                          </a:lnTo>
                          <a:lnTo>
                            <a:pt x="40" y="13"/>
                          </a:lnTo>
                          <a:lnTo>
                            <a:pt x="32" y="13"/>
                          </a:lnTo>
                          <a:lnTo>
                            <a:pt x="32" y="0"/>
                          </a:lnTo>
                          <a:lnTo>
                            <a:pt x="18" y="0"/>
                          </a:lnTo>
                          <a:lnTo>
                            <a:pt x="18" y="9"/>
                          </a:lnTo>
                          <a:lnTo>
                            <a:pt x="14" y="9"/>
                          </a:lnTo>
                          <a:lnTo>
                            <a:pt x="14" y="13"/>
                          </a:lnTo>
                          <a:lnTo>
                            <a:pt x="5" y="17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8" name="Freeform 40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01" y="2145"/>
                      <a:ext cx="219" cy="215"/>
                    </a:xfrm>
                    <a:custGeom>
                      <a:avLst/>
                      <a:gdLst>
                        <a:gd name="T0" fmla="*/ 8 w 232"/>
                        <a:gd name="T1" fmla="*/ 0 h 228"/>
                        <a:gd name="T2" fmla="*/ 8 w 232"/>
                        <a:gd name="T3" fmla="*/ 5 h 228"/>
                        <a:gd name="T4" fmla="*/ 8 w 232"/>
                        <a:gd name="T5" fmla="*/ 8 h 228"/>
                        <a:gd name="T6" fmla="*/ 8 w 232"/>
                        <a:gd name="T7" fmla="*/ 8 h 228"/>
                        <a:gd name="T8" fmla="*/ 8 w 232"/>
                        <a:gd name="T9" fmla="*/ 8 h 228"/>
                        <a:gd name="T10" fmla="*/ 8 w 232"/>
                        <a:gd name="T11" fmla="*/ 8 h 228"/>
                        <a:gd name="T12" fmla="*/ 5 w 232"/>
                        <a:gd name="T13" fmla="*/ 8 h 228"/>
                        <a:gd name="T14" fmla="*/ 0 w 232"/>
                        <a:gd name="T15" fmla="*/ 9 h 228"/>
                        <a:gd name="T16" fmla="*/ 5 w 232"/>
                        <a:gd name="T17" fmla="*/ 11 h 228"/>
                        <a:gd name="T18" fmla="*/ 5 w 232"/>
                        <a:gd name="T19" fmla="*/ 15 h 228"/>
                        <a:gd name="T20" fmla="*/ 8 w 232"/>
                        <a:gd name="T21" fmla="*/ 18 h 228"/>
                        <a:gd name="T22" fmla="*/ 5 w 232"/>
                        <a:gd name="T23" fmla="*/ 20 h 228"/>
                        <a:gd name="T24" fmla="*/ 0 w 232"/>
                        <a:gd name="T25" fmla="*/ 22 h 228"/>
                        <a:gd name="T26" fmla="*/ 8 w 232"/>
                        <a:gd name="T27" fmla="*/ 24 h 228"/>
                        <a:gd name="T28" fmla="*/ 8 w 232"/>
                        <a:gd name="T29" fmla="*/ 24 h 228"/>
                        <a:gd name="T30" fmla="*/ 8 w 232"/>
                        <a:gd name="T31" fmla="*/ 25 h 228"/>
                        <a:gd name="T32" fmla="*/ 8 w 232"/>
                        <a:gd name="T33" fmla="*/ 25 h 228"/>
                        <a:gd name="T34" fmla="*/ 8 w 232"/>
                        <a:gd name="T35" fmla="*/ 27 h 228"/>
                        <a:gd name="T36" fmla="*/ 8 w 232"/>
                        <a:gd name="T37" fmla="*/ 29 h 228"/>
                        <a:gd name="T38" fmla="*/ 12 w 232"/>
                        <a:gd name="T39" fmla="*/ 29 h 228"/>
                        <a:gd name="T40" fmla="*/ 13 w 232"/>
                        <a:gd name="T41" fmla="*/ 31 h 228"/>
                        <a:gd name="T42" fmla="*/ 16 w 232"/>
                        <a:gd name="T43" fmla="*/ 29 h 228"/>
                        <a:gd name="T44" fmla="*/ 19 w 232"/>
                        <a:gd name="T45" fmla="*/ 27 h 228"/>
                        <a:gd name="T46" fmla="*/ 38 w 232"/>
                        <a:gd name="T47" fmla="*/ 39 h 228"/>
                        <a:gd name="T48" fmla="*/ 38 w 232"/>
                        <a:gd name="T49" fmla="*/ 38 h 228"/>
                        <a:gd name="T50" fmla="*/ 42 w 232"/>
                        <a:gd name="T51" fmla="*/ 38 h 228"/>
                        <a:gd name="T52" fmla="*/ 40 w 232"/>
                        <a:gd name="T53" fmla="*/ 34 h 228"/>
                        <a:gd name="T54" fmla="*/ 40 w 232"/>
                        <a:gd name="T55" fmla="*/ 11 h 228"/>
                        <a:gd name="T56" fmla="*/ 40 w 232"/>
                        <a:gd name="T57" fmla="*/ 9 h 228"/>
                        <a:gd name="T58" fmla="*/ 40 w 232"/>
                        <a:gd name="T59" fmla="*/ 8 h 228"/>
                        <a:gd name="T60" fmla="*/ 40 w 232"/>
                        <a:gd name="T61" fmla="*/ 8 h 228"/>
                        <a:gd name="T62" fmla="*/ 42 w 232"/>
                        <a:gd name="T63" fmla="*/ 8 h 228"/>
                        <a:gd name="T64" fmla="*/ 40 w 232"/>
                        <a:gd name="T65" fmla="*/ 8 h 228"/>
                        <a:gd name="T66" fmla="*/ 36 w 232"/>
                        <a:gd name="T67" fmla="*/ 8 h 228"/>
                        <a:gd name="T68" fmla="*/ 36 w 232"/>
                        <a:gd name="T69" fmla="*/ 8 h 228"/>
                        <a:gd name="T70" fmla="*/ 33 w 232"/>
                        <a:gd name="T71" fmla="*/ 5 h 228"/>
                        <a:gd name="T72" fmla="*/ 32 w 232"/>
                        <a:gd name="T73" fmla="*/ 5 h 228"/>
                        <a:gd name="T74" fmla="*/ 26 w 232"/>
                        <a:gd name="T75" fmla="*/ 8 h 228"/>
                        <a:gd name="T76" fmla="*/ 28 w 232"/>
                        <a:gd name="T77" fmla="*/ 8 h 228"/>
                        <a:gd name="T78" fmla="*/ 26 w 232"/>
                        <a:gd name="T79" fmla="*/ 8 h 228"/>
                        <a:gd name="T80" fmla="*/ 23 w 232"/>
                        <a:gd name="T81" fmla="*/ 8 h 228"/>
                        <a:gd name="T82" fmla="*/ 19 w 232"/>
                        <a:gd name="T83" fmla="*/ 8 h 228"/>
                        <a:gd name="T84" fmla="*/ 18 w 232"/>
                        <a:gd name="T85" fmla="*/ 8 h 228"/>
                        <a:gd name="T86" fmla="*/ 16 w 232"/>
                        <a:gd name="T87" fmla="*/ 8 h 228"/>
                        <a:gd name="T88" fmla="*/ 13 w 232"/>
                        <a:gd name="T89" fmla="*/ 5 h 228"/>
                        <a:gd name="T90" fmla="*/ 8 w 232"/>
                        <a:gd name="T91" fmla="*/ 5 h 228"/>
                        <a:gd name="T92" fmla="*/ 8 w 232"/>
                        <a:gd name="T93" fmla="*/ 0 h 228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w 232"/>
                        <a:gd name="T142" fmla="*/ 0 h 228"/>
                        <a:gd name="T143" fmla="*/ 232 w 232"/>
                        <a:gd name="T144" fmla="*/ 228 h 228"/>
                      </a:gdLst>
                      <a:ahLst/>
                      <a:cxnLst>
                        <a:cxn ang="T94">
                          <a:pos x="T0" y="T1"/>
                        </a:cxn>
                        <a:cxn ang="T95">
                          <a:pos x="T2" y="T3"/>
                        </a:cxn>
                        <a:cxn ang="T96">
                          <a:pos x="T4" y="T5"/>
                        </a:cxn>
                        <a:cxn ang="T97">
                          <a:pos x="T6" y="T7"/>
                        </a:cxn>
                        <a:cxn ang="T98">
                          <a:pos x="T8" y="T9"/>
                        </a:cxn>
                        <a:cxn ang="T99">
                          <a:pos x="T10" y="T11"/>
                        </a:cxn>
                        <a:cxn ang="T100">
                          <a:pos x="T12" y="T13"/>
                        </a:cxn>
                        <a:cxn ang="T101">
                          <a:pos x="T14" y="T15"/>
                        </a:cxn>
                        <a:cxn ang="T102">
                          <a:pos x="T16" y="T17"/>
                        </a:cxn>
                        <a:cxn ang="T103">
                          <a:pos x="T18" y="T19"/>
                        </a:cxn>
                        <a:cxn ang="T104">
                          <a:pos x="T20" y="T21"/>
                        </a:cxn>
                        <a:cxn ang="T105">
                          <a:pos x="T22" y="T23"/>
                        </a:cxn>
                        <a:cxn ang="T106">
                          <a:pos x="T24" y="T25"/>
                        </a:cxn>
                        <a:cxn ang="T107">
                          <a:pos x="T26" y="T27"/>
                        </a:cxn>
                        <a:cxn ang="T108">
                          <a:pos x="T28" y="T29"/>
                        </a:cxn>
                        <a:cxn ang="T109">
                          <a:pos x="T30" y="T31"/>
                        </a:cxn>
                        <a:cxn ang="T110">
                          <a:pos x="T32" y="T33"/>
                        </a:cxn>
                        <a:cxn ang="T111">
                          <a:pos x="T34" y="T35"/>
                        </a:cxn>
                        <a:cxn ang="T112">
                          <a:pos x="T36" y="T37"/>
                        </a:cxn>
                        <a:cxn ang="T113">
                          <a:pos x="T38" y="T39"/>
                        </a:cxn>
                        <a:cxn ang="T114">
                          <a:pos x="T40" y="T41"/>
                        </a:cxn>
                        <a:cxn ang="T115">
                          <a:pos x="T42" y="T43"/>
                        </a:cxn>
                        <a:cxn ang="T116">
                          <a:pos x="T44" y="T45"/>
                        </a:cxn>
                        <a:cxn ang="T117">
                          <a:pos x="T46" y="T47"/>
                        </a:cxn>
                        <a:cxn ang="T118">
                          <a:pos x="T48" y="T49"/>
                        </a:cxn>
                        <a:cxn ang="T119">
                          <a:pos x="T50" y="T51"/>
                        </a:cxn>
                        <a:cxn ang="T120">
                          <a:pos x="T52" y="T53"/>
                        </a:cxn>
                        <a:cxn ang="T121">
                          <a:pos x="T54" y="T55"/>
                        </a:cxn>
                        <a:cxn ang="T122">
                          <a:pos x="T56" y="T57"/>
                        </a:cxn>
                        <a:cxn ang="T123">
                          <a:pos x="T58" y="T59"/>
                        </a:cxn>
                        <a:cxn ang="T124">
                          <a:pos x="T60" y="T61"/>
                        </a:cxn>
                        <a:cxn ang="T125">
                          <a:pos x="T62" y="T63"/>
                        </a:cxn>
                        <a:cxn ang="T126">
                          <a:pos x="T64" y="T65"/>
                        </a:cxn>
                        <a:cxn ang="T127">
                          <a:pos x="T66" y="T67"/>
                        </a:cxn>
                        <a:cxn ang="T128">
                          <a:pos x="T68" y="T69"/>
                        </a:cxn>
                        <a:cxn ang="T129">
                          <a:pos x="T70" y="T71"/>
                        </a:cxn>
                        <a:cxn ang="T130">
                          <a:pos x="T72" y="T73"/>
                        </a:cxn>
                        <a:cxn ang="T131">
                          <a:pos x="T74" y="T75"/>
                        </a:cxn>
                        <a:cxn ang="T132">
                          <a:pos x="T76" y="T77"/>
                        </a:cxn>
                        <a:cxn ang="T133">
                          <a:pos x="T78" y="T79"/>
                        </a:cxn>
                        <a:cxn ang="T134">
                          <a:pos x="T80" y="T81"/>
                        </a:cxn>
                        <a:cxn ang="T135">
                          <a:pos x="T82" y="T83"/>
                        </a:cxn>
                        <a:cxn ang="T136">
                          <a:pos x="T84" y="T85"/>
                        </a:cxn>
                        <a:cxn ang="T137">
                          <a:pos x="T86" y="T87"/>
                        </a:cxn>
                        <a:cxn ang="T138">
                          <a:pos x="T88" y="T89"/>
                        </a:cxn>
                        <a:cxn ang="T139">
                          <a:pos x="T90" y="T91"/>
                        </a:cxn>
                        <a:cxn ang="T140">
                          <a:pos x="T92" y="T93"/>
                        </a:cxn>
                      </a:cxnLst>
                      <a:rect l="T141" t="T142" r="T143" b="T144"/>
                      <a:pathLst>
                        <a:path w="232" h="228">
                          <a:moveTo>
                            <a:pt x="40" y="0"/>
                          </a:moveTo>
                          <a:lnTo>
                            <a:pt x="36" y="5"/>
                          </a:lnTo>
                          <a:lnTo>
                            <a:pt x="36" y="14"/>
                          </a:lnTo>
                          <a:lnTo>
                            <a:pt x="27" y="23"/>
                          </a:lnTo>
                          <a:lnTo>
                            <a:pt x="18" y="27"/>
                          </a:lnTo>
                          <a:lnTo>
                            <a:pt x="18" y="50"/>
                          </a:lnTo>
                          <a:lnTo>
                            <a:pt x="5" y="54"/>
                          </a:lnTo>
                          <a:lnTo>
                            <a:pt x="0" y="58"/>
                          </a:lnTo>
                          <a:lnTo>
                            <a:pt x="5" y="67"/>
                          </a:lnTo>
                          <a:lnTo>
                            <a:pt x="5" y="85"/>
                          </a:lnTo>
                          <a:lnTo>
                            <a:pt x="9" y="99"/>
                          </a:lnTo>
                          <a:lnTo>
                            <a:pt x="5" y="112"/>
                          </a:lnTo>
                          <a:lnTo>
                            <a:pt x="0" y="121"/>
                          </a:lnTo>
                          <a:lnTo>
                            <a:pt x="13" y="139"/>
                          </a:lnTo>
                          <a:lnTo>
                            <a:pt x="9" y="143"/>
                          </a:lnTo>
                          <a:lnTo>
                            <a:pt x="18" y="148"/>
                          </a:lnTo>
                          <a:lnTo>
                            <a:pt x="27" y="148"/>
                          </a:lnTo>
                          <a:lnTo>
                            <a:pt x="45" y="161"/>
                          </a:lnTo>
                          <a:lnTo>
                            <a:pt x="45" y="166"/>
                          </a:lnTo>
                          <a:lnTo>
                            <a:pt x="67" y="166"/>
                          </a:lnTo>
                          <a:lnTo>
                            <a:pt x="72" y="179"/>
                          </a:lnTo>
                          <a:lnTo>
                            <a:pt x="85" y="170"/>
                          </a:lnTo>
                          <a:lnTo>
                            <a:pt x="98" y="161"/>
                          </a:lnTo>
                          <a:lnTo>
                            <a:pt x="210" y="228"/>
                          </a:lnTo>
                          <a:lnTo>
                            <a:pt x="210" y="219"/>
                          </a:lnTo>
                          <a:lnTo>
                            <a:pt x="232" y="219"/>
                          </a:lnTo>
                          <a:lnTo>
                            <a:pt x="228" y="193"/>
                          </a:lnTo>
                          <a:lnTo>
                            <a:pt x="228" y="67"/>
                          </a:lnTo>
                          <a:lnTo>
                            <a:pt x="223" y="58"/>
                          </a:lnTo>
                          <a:lnTo>
                            <a:pt x="228" y="50"/>
                          </a:lnTo>
                          <a:lnTo>
                            <a:pt x="223" y="41"/>
                          </a:lnTo>
                          <a:lnTo>
                            <a:pt x="232" y="27"/>
                          </a:lnTo>
                          <a:lnTo>
                            <a:pt x="228" y="23"/>
                          </a:lnTo>
                          <a:lnTo>
                            <a:pt x="197" y="18"/>
                          </a:lnTo>
                          <a:lnTo>
                            <a:pt x="197" y="9"/>
                          </a:lnTo>
                          <a:lnTo>
                            <a:pt x="183" y="5"/>
                          </a:lnTo>
                          <a:lnTo>
                            <a:pt x="174" y="5"/>
                          </a:lnTo>
                          <a:lnTo>
                            <a:pt x="152" y="18"/>
                          </a:lnTo>
                          <a:lnTo>
                            <a:pt x="156" y="41"/>
                          </a:lnTo>
                          <a:lnTo>
                            <a:pt x="147" y="50"/>
                          </a:lnTo>
                          <a:lnTo>
                            <a:pt x="125" y="41"/>
                          </a:lnTo>
                          <a:lnTo>
                            <a:pt x="98" y="36"/>
                          </a:lnTo>
                          <a:lnTo>
                            <a:pt x="94" y="32"/>
                          </a:lnTo>
                          <a:lnTo>
                            <a:pt x="85" y="14"/>
                          </a:lnTo>
                          <a:lnTo>
                            <a:pt x="72" y="5"/>
                          </a:lnTo>
                          <a:lnTo>
                            <a:pt x="49" y="5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29" name="Freeform 4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365" y="2796"/>
                      <a:ext cx="102" cy="207"/>
                    </a:xfrm>
                    <a:custGeom>
                      <a:avLst/>
                      <a:gdLst>
                        <a:gd name="T0" fmla="*/ 9 w 108"/>
                        <a:gd name="T1" fmla="*/ 41 h 219"/>
                        <a:gd name="T2" fmla="*/ 9 w 108"/>
                        <a:gd name="T3" fmla="*/ 39 h 219"/>
                        <a:gd name="T4" fmla="*/ 10 w 108"/>
                        <a:gd name="T5" fmla="*/ 39 h 219"/>
                        <a:gd name="T6" fmla="*/ 14 w 108"/>
                        <a:gd name="T7" fmla="*/ 33 h 219"/>
                        <a:gd name="T8" fmla="*/ 15 w 108"/>
                        <a:gd name="T9" fmla="*/ 27 h 219"/>
                        <a:gd name="T10" fmla="*/ 18 w 108"/>
                        <a:gd name="T11" fmla="*/ 18 h 219"/>
                        <a:gd name="T12" fmla="*/ 18 w 108"/>
                        <a:gd name="T13" fmla="*/ 16 h 219"/>
                        <a:gd name="T14" fmla="*/ 19 w 108"/>
                        <a:gd name="T15" fmla="*/ 14 h 219"/>
                        <a:gd name="T16" fmla="*/ 18 w 108"/>
                        <a:gd name="T17" fmla="*/ 10 h 219"/>
                        <a:gd name="T18" fmla="*/ 20 w 108"/>
                        <a:gd name="T19" fmla="*/ 13 h 219"/>
                        <a:gd name="T20" fmla="*/ 21 w 108"/>
                        <a:gd name="T21" fmla="*/ 9 h 219"/>
                        <a:gd name="T22" fmla="*/ 20 w 108"/>
                        <a:gd name="T23" fmla="*/ 9 h 219"/>
                        <a:gd name="T24" fmla="*/ 20 w 108"/>
                        <a:gd name="T25" fmla="*/ 9 h 219"/>
                        <a:gd name="T26" fmla="*/ 18 w 108"/>
                        <a:gd name="T27" fmla="*/ 0 h 219"/>
                        <a:gd name="T28" fmla="*/ 16 w 108"/>
                        <a:gd name="T29" fmla="*/ 8 h 219"/>
                        <a:gd name="T30" fmla="*/ 17 w 108"/>
                        <a:gd name="T31" fmla="*/ 9 h 219"/>
                        <a:gd name="T32" fmla="*/ 15 w 108"/>
                        <a:gd name="T33" fmla="*/ 9 h 219"/>
                        <a:gd name="T34" fmla="*/ 13 w 108"/>
                        <a:gd name="T35" fmla="*/ 9 h 219"/>
                        <a:gd name="T36" fmla="*/ 14 w 108"/>
                        <a:gd name="T37" fmla="*/ 9 h 219"/>
                        <a:gd name="T38" fmla="*/ 9 w 108"/>
                        <a:gd name="T39" fmla="*/ 9 h 219"/>
                        <a:gd name="T40" fmla="*/ 9 w 108"/>
                        <a:gd name="T41" fmla="*/ 13 h 219"/>
                        <a:gd name="T42" fmla="*/ 9 w 108"/>
                        <a:gd name="T43" fmla="*/ 13 h 219"/>
                        <a:gd name="T44" fmla="*/ 9 w 108"/>
                        <a:gd name="T45" fmla="*/ 15 h 219"/>
                        <a:gd name="T46" fmla="*/ 9 w 108"/>
                        <a:gd name="T47" fmla="*/ 17 h 219"/>
                        <a:gd name="T48" fmla="*/ 9 w 108"/>
                        <a:gd name="T49" fmla="*/ 23 h 219"/>
                        <a:gd name="T50" fmla="*/ 9 w 108"/>
                        <a:gd name="T51" fmla="*/ 26 h 219"/>
                        <a:gd name="T52" fmla="*/ 5 w 108"/>
                        <a:gd name="T53" fmla="*/ 27 h 219"/>
                        <a:gd name="T54" fmla="*/ 5 w 108"/>
                        <a:gd name="T55" fmla="*/ 29 h 219"/>
                        <a:gd name="T56" fmla="*/ 0 w 108"/>
                        <a:gd name="T57" fmla="*/ 31 h 219"/>
                        <a:gd name="T58" fmla="*/ 9 w 108"/>
                        <a:gd name="T59" fmla="*/ 35 h 219"/>
                        <a:gd name="T60" fmla="*/ 5 w 108"/>
                        <a:gd name="T61" fmla="*/ 35 h 219"/>
                        <a:gd name="T62" fmla="*/ 9 w 108"/>
                        <a:gd name="T63" fmla="*/ 38 h 219"/>
                        <a:gd name="T64" fmla="*/ 9 w 108"/>
                        <a:gd name="T65" fmla="*/ 41 h 219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108"/>
                        <a:gd name="T100" fmla="*/ 0 h 219"/>
                        <a:gd name="T101" fmla="*/ 108 w 108"/>
                        <a:gd name="T102" fmla="*/ 219 h 219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108" h="219">
                          <a:moveTo>
                            <a:pt x="27" y="219"/>
                          </a:moveTo>
                          <a:lnTo>
                            <a:pt x="41" y="210"/>
                          </a:lnTo>
                          <a:lnTo>
                            <a:pt x="58" y="205"/>
                          </a:lnTo>
                          <a:lnTo>
                            <a:pt x="72" y="174"/>
                          </a:lnTo>
                          <a:lnTo>
                            <a:pt x="76" y="151"/>
                          </a:lnTo>
                          <a:lnTo>
                            <a:pt x="94" y="93"/>
                          </a:lnTo>
                          <a:lnTo>
                            <a:pt x="94" y="80"/>
                          </a:lnTo>
                          <a:lnTo>
                            <a:pt x="99" y="71"/>
                          </a:lnTo>
                          <a:lnTo>
                            <a:pt x="94" y="58"/>
                          </a:lnTo>
                          <a:lnTo>
                            <a:pt x="103" y="67"/>
                          </a:lnTo>
                          <a:lnTo>
                            <a:pt x="108" y="53"/>
                          </a:lnTo>
                          <a:lnTo>
                            <a:pt x="103" y="35"/>
                          </a:lnTo>
                          <a:lnTo>
                            <a:pt x="103" y="26"/>
                          </a:lnTo>
                          <a:lnTo>
                            <a:pt x="90" y="0"/>
                          </a:lnTo>
                          <a:lnTo>
                            <a:pt x="81" y="8"/>
                          </a:lnTo>
                          <a:lnTo>
                            <a:pt x="85" y="17"/>
                          </a:lnTo>
                          <a:lnTo>
                            <a:pt x="76" y="22"/>
                          </a:lnTo>
                          <a:lnTo>
                            <a:pt x="67" y="22"/>
                          </a:lnTo>
                          <a:lnTo>
                            <a:pt x="72" y="35"/>
                          </a:lnTo>
                          <a:lnTo>
                            <a:pt x="54" y="53"/>
                          </a:lnTo>
                          <a:lnTo>
                            <a:pt x="27" y="67"/>
                          </a:lnTo>
                          <a:lnTo>
                            <a:pt x="18" y="67"/>
                          </a:lnTo>
                          <a:lnTo>
                            <a:pt x="18" y="76"/>
                          </a:lnTo>
                          <a:lnTo>
                            <a:pt x="9" y="84"/>
                          </a:lnTo>
                          <a:lnTo>
                            <a:pt x="18" y="120"/>
                          </a:lnTo>
                          <a:lnTo>
                            <a:pt x="9" y="143"/>
                          </a:lnTo>
                          <a:lnTo>
                            <a:pt x="5" y="147"/>
                          </a:lnTo>
                          <a:lnTo>
                            <a:pt x="5" y="156"/>
                          </a:lnTo>
                          <a:lnTo>
                            <a:pt x="0" y="165"/>
                          </a:lnTo>
                          <a:lnTo>
                            <a:pt x="9" y="183"/>
                          </a:lnTo>
                          <a:lnTo>
                            <a:pt x="5" y="187"/>
                          </a:lnTo>
                          <a:lnTo>
                            <a:pt x="9" y="201"/>
                          </a:lnTo>
                          <a:lnTo>
                            <a:pt x="27" y="21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0" name="Freeform 4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222" y="2757"/>
                      <a:ext cx="42" cy="114"/>
                    </a:xfrm>
                    <a:custGeom>
                      <a:avLst/>
                      <a:gdLst>
                        <a:gd name="T0" fmla="*/ 4 w 44"/>
                        <a:gd name="T1" fmla="*/ 5 h 121"/>
                        <a:gd name="T2" fmla="*/ 11 w 44"/>
                        <a:gd name="T3" fmla="*/ 8 h 121"/>
                        <a:gd name="T4" fmla="*/ 11 w 44"/>
                        <a:gd name="T5" fmla="*/ 8 h 121"/>
                        <a:gd name="T6" fmla="*/ 8 w 44"/>
                        <a:gd name="T7" fmla="*/ 8 h 121"/>
                        <a:gd name="T8" fmla="*/ 8 w 44"/>
                        <a:gd name="T9" fmla="*/ 8 h 121"/>
                        <a:gd name="T10" fmla="*/ 4 w 44"/>
                        <a:gd name="T11" fmla="*/ 8 h 121"/>
                        <a:gd name="T12" fmla="*/ 0 w 44"/>
                        <a:gd name="T13" fmla="*/ 11 h 121"/>
                        <a:gd name="T14" fmla="*/ 4 w 44"/>
                        <a:gd name="T15" fmla="*/ 12 h 121"/>
                        <a:gd name="T16" fmla="*/ 11 w 44"/>
                        <a:gd name="T17" fmla="*/ 14 h 121"/>
                        <a:gd name="T18" fmla="*/ 11 w 44"/>
                        <a:gd name="T19" fmla="*/ 14 h 121"/>
                        <a:gd name="T20" fmla="*/ 11 w 44"/>
                        <a:gd name="T21" fmla="*/ 16 h 121"/>
                        <a:gd name="T22" fmla="*/ 11 w 44"/>
                        <a:gd name="T23" fmla="*/ 18 h 121"/>
                        <a:gd name="T24" fmla="*/ 11 w 44"/>
                        <a:gd name="T25" fmla="*/ 21 h 121"/>
                        <a:gd name="T26" fmla="*/ 11 w 44"/>
                        <a:gd name="T27" fmla="*/ 20 h 121"/>
                        <a:gd name="T28" fmla="*/ 11 w 44"/>
                        <a:gd name="T29" fmla="*/ 19 h 121"/>
                        <a:gd name="T30" fmla="*/ 11 w 44"/>
                        <a:gd name="T31" fmla="*/ 18 h 121"/>
                        <a:gd name="T32" fmla="*/ 11 w 44"/>
                        <a:gd name="T33" fmla="*/ 13 h 121"/>
                        <a:gd name="T34" fmla="*/ 11 w 44"/>
                        <a:gd name="T35" fmla="*/ 10 h 121"/>
                        <a:gd name="T36" fmla="*/ 11 w 44"/>
                        <a:gd name="T37" fmla="*/ 9 h 121"/>
                        <a:gd name="T38" fmla="*/ 11 w 44"/>
                        <a:gd name="T39" fmla="*/ 11 h 121"/>
                        <a:gd name="T40" fmla="*/ 11 w 44"/>
                        <a:gd name="T41" fmla="*/ 11 h 121"/>
                        <a:gd name="T42" fmla="*/ 11 w 44"/>
                        <a:gd name="T43" fmla="*/ 14 h 121"/>
                        <a:gd name="T44" fmla="*/ 11 w 44"/>
                        <a:gd name="T45" fmla="*/ 15 h 121"/>
                        <a:gd name="T46" fmla="*/ 11 w 44"/>
                        <a:gd name="T47" fmla="*/ 13 h 121"/>
                        <a:gd name="T48" fmla="*/ 11 w 44"/>
                        <a:gd name="T49" fmla="*/ 12 h 121"/>
                        <a:gd name="T50" fmla="*/ 11 w 44"/>
                        <a:gd name="T51" fmla="*/ 8 h 121"/>
                        <a:gd name="T52" fmla="*/ 11 w 44"/>
                        <a:gd name="T53" fmla="*/ 8 h 121"/>
                        <a:gd name="T54" fmla="*/ 11 w 44"/>
                        <a:gd name="T55" fmla="*/ 8 h 121"/>
                        <a:gd name="T56" fmla="*/ 11 w 44"/>
                        <a:gd name="T57" fmla="*/ 8 h 121"/>
                        <a:gd name="T58" fmla="*/ 11 w 44"/>
                        <a:gd name="T59" fmla="*/ 8 h 121"/>
                        <a:gd name="T60" fmla="*/ 11 w 44"/>
                        <a:gd name="T61" fmla="*/ 8 h 121"/>
                        <a:gd name="T62" fmla="*/ 8 w 44"/>
                        <a:gd name="T63" fmla="*/ 0 h 121"/>
                        <a:gd name="T64" fmla="*/ 4 w 44"/>
                        <a:gd name="T65" fmla="*/ 5 h 121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44"/>
                        <a:gd name="T100" fmla="*/ 0 h 121"/>
                        <a:gd name="T101" fmla="*/ 44 w 44"/>
                        <a:gd name="T102" fmla="*/ 121 h 121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44" h="121">
                          <a:moveTo>
                            <a:pt x="4" y="5"/>
                          </a:moveTo>
                          <a:lnTo>
                            <a:pt x="13" y="18"/>
                          </a:lnTo>
                          <a:lnTo>
                            <a:pt x="13" y="27"/>
                          </a:lnTo>
                          <a:lnTo>
                            <a:pt x="8" y="27"/>
                          </a:lnTo>
                          <a:lnTo>
                            <a:pt x="8" y="49"/>
                          </a:lnTo>
                          <a:lnTo>
                            <a:pt x="4" y="54"/>
                          </a:lnTo>
                          <a:lnTo>
                            <a:pt x="0" y="67"/>
                          </a:lnTo>
                          <a:lnTo>
                            <a:pt x="4" y="72"/>
                          </a:lnTo>
                          <a:lnTo>
                            <a:pt x="13" y="81"/>
                          </a:lnTo>
                          <a:lnTo>
                            <a:pt x="22" y="81"/>
                          </a:lnTo>
                          <a:lnTo>
                            <a:pt x="26" y="90"/>
                          </a:lnTo>
                          <a:lnTo>
                            <a:pt x="22" y="103"/>
                          </a:lnTo>
                          <a:lnTo>
                            <a:pt x="31" y="121"/>
                          </a:lnTo>
                          <a:lnTo>
                            <a:pt x="40" y="117"/>
                          </a:lnTo>
                          <a:lnTo>
                            <a:pt x="35" y="108"/>
                          </a:lnTo>
                          <a:lnTo>
                            <a:pt x="44" y="103"/>
                          </a:lnTo>
                          <a:lnTo>
                            <a:pt x="44" y="76"/>
                          </a:lnTo>
                          <a:lnTo>
                            <a:pt x="35" y="63"/>
                          </a:lnTo>
                          <a:lnTo>
                            <a:pt x="26" y="58"/>
                          </a:lnTo>
                          <a:lnTo>
                            <a:pt x="31" y="67"/>
                          </a:lnTo>
                          <a:lnTo>
                            <a:pt x="35" y="81"/>
                          </a:lnTo>
                          <a:lnTo>
                            <a:pt x="31" y="85"/>
                          </a:lnTo>
                          <a:lnTo>
                            <a:pt x="31" y="76"/>
                          </a:lnTo>
                          <a:lnTo>
                            <a:pt x="22" y="72"/>
                          </a:lnTo>
                          <a:lnTo>
                            <a:pt x="22" y="54"/>
                          </a:lnTo>
                          <a:lnTo>
                            <a:pt x="13" y="45"/>
                          </a:lnTo>
                          <a:lnTo>
                            <a:pt x="17" y="41"/>
                          </a:lnTo>
                          <a:lnTo>
                            <a:pt x="17" y="18"/>
                          </a:lnTo>
                          <a:lnTo>
                            <a:pt x="17" y="9"/>
                          </a:lnTo>
                          <a:lnTo>
                            <a:pt x="8" y="0"/>
                          </a:lnTo>
                          <a:lnTo>
                            <a:pt x="4" y="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1" name="Freeform 4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614" y="2280"/>
                      <a:ext cx="224" cy="212"/>
                    </a:xfrm>
                    <a:custGeom>
                      <a:avLst/>
                      <a:gdLst>
                        <a:gd name="T0" fmla="*/ 5 w 237"/>
                        <a:gd name="T1" fmla="*/ 28 h 224"/>
                        <a:gd name="T2" fmla="*/ 0 w 237"/>
                        <a:gd name="T3" fmla="*/ 30 h 224"/>
                        <a:gd name="T4" fmla="*/ 5 w 237"/>
                        <a:gd name="T5" fmla="*/ 34 h 224"/>
                        <a:gd name="T6" fmla="*/ 9 w 237"/>
                        <a:gd name="T7" fmla="*/ 36 h 224"/>
                        <a:gd name="T8" fmla="*/ 9 w 237"/>
                        <a:gd name="T9" fmla="*/ 38 h 224"/>
                        <a:gd name="T10" fmla="*/ 9 w 237"/>
                        <a:gd name="T11" fmla="*/ 38 h 224"/>
                        <a:gd name="T12" fmla="*/ 9 w 237"/>
                        <a:gd name="T13" fmla="*/ 36 h 224"/>
                        <a:gd name="T14" fmla="*/ 9 w 237"/>
                        <a:gd name="T15" fmla="*/ 38 h 224"/>
                        <a:gd name="T16" fmla="*/ 9 w 237"/>
                        <a:gd name="T17" fmla="*/ 40 h 224"/>
                        <a:gd name="T18" fmla="*/ 9 w 237"/>
                        <a:gd name="T19" fmla="*/ 42 h 224"/>
                        <a:gd name="T20" fmla="*/ 12 w 237"/>
                        <a:gd name="T21" fmla="*/ 42 h 224"/>
                        <a:gd name="T22" fmla="*/ 13 w 237"/>
                        <a:gd name="T23" fmla="*/ 42 h 224"/>
                        <a:gd name="T24" fmla="*/ 17 w 237"/>
                        <a:gd name="T25" fmla="*/ 42 h 224"/>
                        <a:gd name="T26" fmla="*/ 18 w 237"/>
                        <a:gd name="T27" fmla="*/ 42 h 224"/>
                        <a:gd name="T28" fmla="*/ 19 w 237"/>
                        <a:gd name="T29" fmla="*/ 42 h 224"/>
                        <a:gd name="T30" fmla="*/ 20 w 237"/>
                        <a:gd name="T31" fmla="*/ 38 h 224"/>
                        <a:gd name="T32" fmla="*/ 22 w 237"/>
                        <a:gd name="T33" fmla="*/ 36 h 224"/>
                        <a:gd name="T34" fmla="*/ 22 w 237"/>
                        <a:gd name="T35" fmla="*/ 32 h 224"/>
                        <a:gd name="T36" fmla="*/ 24 w 237"/>
                        <a:gd name="T37" fmla="*/ 34 h 224"/>
                        <a:gd name="T38" fmla="*/ 30 w 237"/>
                        <a:gd name="T39" fmla="*/ 28 h 224"/>
                        <a:gd name="T40" fmla="*/ 33 w 237"/>
                        <a:gd name="T41" fmla="*/ 28 h 224"/>
                        <a:gd name="T42" fmla="*/ 35 w 237"/>
                        <a:gd name="T43" fmla="*/ 28 h 224"/>
                        <a:gd name="T44" fmla="*/ 36 w 237"/>
                        <a:gd name="T45" fmla="*/ 27 h 224"/>
                        <a:gd name="T46" fmla="*/ 38 w 237"/>
                        <a:gd name="T47" fmla="*/ 27 h 224"/>
                        <a:gd name="T48" fmla="*/ 42 w 237"/>
                        <a:gd name="T49" fmla="*/ 27 h 224"/>
                        <a:gd name="T50" fmla="*/ 43 w 237"/>
                        <a:gd name="T51" fmla="*/ 26 h 224"/>
                        <a:gd name="T52" fmla="*/ 43 w 237"/>
                        <a:gd name="T53" fmla="*/ 24 h 224"/>
                        <a:gd name="T54" fmla="*/ 43 w 237"/>
                        <a:gd name="T55" fmla="*/ 18 h 224"/>
                        <a:gd name="T56" fmla="*/ 41 w 237"/>
                        <a:gd name="T57" fmla="*/ 20 h 224"/>
                        <a:gd name="T58" fmla="*/ 41 w 237"/>
                        <a:gd name="T59" fmla="*/ 19 h 224"/>
                        <a:gd name="T60" fmla="*/ 41 w 237"/>
                        <a:gd name="T61" fmla="*/ 16 h 224"/>
                        <a:gd name="T62" fmla="*/ 39 w 237"/>
                        <a:gd name="T63" fmla="*/ 15 h 224"/>
                        <a:gd name="T64" fmla="*/ 38 w 237"/>
                        <a:gd name="T65" fmla="*/ 16 h 224"/>
                        <a:gd name="T66" fmla="*/ 38 w 237"/>
                        <a:gd name="T67" fmla="*/ 13 h 224"/>
                        <a:gd name="T68" fmla="*/ 35 w 237"/>
                        <a:gd name="T69" fmla="*/ 13 h 224"/>
                        <a:gd name="T70" fmla="*/ 35 w 237"/>
                        <a:gd name="T71" fmla="*/ 11 h 224"/>
                        <a:gd name="T72" fmla="*/ 20 w 237"/>
                        <a:gd name="T73" fmla="*/ 0 h 224"/>
                        <a:gd name="T74" fmla="*/ 17 w 237"/>
                        <a:gd name="T75" fmla="*/ 0 h 224"/>
                        <a:gd name="T76" fmla="*/ 19 w 237"/>
                        <a:gd name="T77" fmla="*/ 25 h 224"/>
                        <a:gd name="T78" fmla="*/ 20 w 237"/>
                        <a:gd name="T79" fmla="*/ 26 h 224"/>
                        <a:gd name="T80" fmla="*/ 20 w 237"/>
                        <a:gd name="T81" fmla="*/ 27 h 224"/>
                        <a:gd name="T82" fmla="*/ 9 w 237"/>
                        <a:gd name="T83" fmla="*/ 27 h 224"/>
                        <a:gd name="T84" fmla="*/ 9 w 237"/>
                        <a:gd name="T85" fmla="*/ 26 h 224"/>
                        <a:gd name="T86" fmla="*/ 9 w 237"/>
                        <a:gd name="T87" fmla="*/ 27 h 224"/>
                        <a:gd name="T88" fmla="*/ 9 w 237"/>
                        <a:gd name="T89" fmla="*/ 27 h 224"/>
                        <a:gd name="T90" fmla="*/ 9 w 237"/>
                        <a:gd name="T91" fmla="*/ 28 h 224"/>
                        <a:gd name="T92" fmla="*/ 9 w 237"/>
                        <a:gd name="T93" fmla="*/ 26 h 224"/>
                        <a:gd name="T94" fmla="*/ 9 w 237"/>
                        <a:gd name="T95" fmla="*/ 27 h 224"/>
                        <a:gd name="T96" fmla="*/ 9 w 237"/>
                        <a:gd name="T97" fmla="*/ 28 h 224"/>
                        <a:gd name="T98" fmla="*/ 5 w 237"/>
                        <a:gd name="T99" fmla="*/ 28 h 224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w 237"/>
                        <a:gd name="T151" fmla="*/ 0 h 224"/>
                        <a:gd name="T152" fmla="*/ 237 w 237"/>
                        <a:gd name="T153" fmla="*/ 224 h 224"/>
                      </a:gdLst>
                      <a:ahLst/>
                      <a:cxnLst>
                        <a:cxn ang="T100">
                          <a:pos x="T0" y="T1"/>
                        </a:cxn>
                        <a:cxn ang="T101">
                          <a:pos x="T2" y="T3"/>
                        </a:cxn>
                        <a:cxn ang="T102">
                          <a:pos x="T4" y="T5"/>
                        </a:cxn>
                        <a:cxn ang="T103">
                          <a:pos x="T6" y="T7"/>
                        </a:cxn>
                        <a:cxn ang="T104">
                          <a:pos x="T8" y="T9"/>
                        </a:cxn>
                        <a:cxn ang="T105">
                          <a:pos x="T10" y="T11"/>
                        </a:cxn>
                        <a:cxn ang="T106">
                          <a:pos x="T12" y="T13"/>
                        </a:cxn>
                        <a:cxn ang="T107">
                          <a:pos x="T14" y="T15"/>
                        </a:cxn>
                        <a:cxn ang="T108">
                          <a:pos x="T16" y="T17"/>
                        </a:cxn>
                        <a:cxn ang="T109">
                          <a:pos x="T18" y="T19"/>
                        </a:cxn>
                        <a:cxn ang="T110">
                          <a:pos x="T20" y="T21"/>
                        </a:cxn>
                        <a:cxn ang="T111">
                          <a:pos x="T22" y="T23"/>
                        </a:cxn>
                        <a:cxn ang="T112">
                          <a:pos x="T24" y="T25"/>
                        </a:cxn>
                        <a:cxn ang="T113">
                          <a:pos x="T26" y="T27"/>
                        </a:cxn>
                        <a:cxn ang="T114">
                          <a:pos x="T28" y="T29"/>
                        </a:cxn>
                        <a:cxn ang="T115">
                          <a:pos x="T30" y="T31"/>
                        </a:cxn>
                        <a:cxn ang="T116">
                          <a:pos x="T32" y="T33"/>
                        </a:cxn>
                        <a:cxn ang="T117">
                          <a:pos x="T34" y="T35"/>
                        </a:cxn>
                        <a:cxn ang="T118">
                          <a:pos x="T36" y="T37"/>
                        </a:cxn>
                        <a:cxn ang="T119">
                          <a:pos x="T38" y="T39"/>
                        </a:cxn>
                        <a:cxn ang="T120">
                          <a:pos x="T40" y="T41"/>
                        </a:cxn>
                        <a:cxn ang="T121">
                          <a:pos x="T42" y="T43"/>
                        </a:cxn>
                        <a:cxn ang="T122">
                          <a:pos x="T44" y="T45"/>
                        </a:cxn>
                        <a:cxn ang="T123">
                          <a:pos x="T46" y="T47"/>
                        </a:cxn>
                        <a:cxn ang="T124">
                          <a:pos x="T48" y="T49"/>
                        </a:cxn>
                        <a:cxn ang="T125">
                          <a:pos x="T50" y="T51"/>
                        </a:cxn>
                        <a:cxn ang="T126">
                          <a:pos x="T52" y="T53"/>
                        </a:cxn>
                        <a:cxn ang="T127">
                          <a:pos x="T54" y="T55"/>
                        </a:cxn>
                        <a:cxn ang="T128">
                          <a:pos x="T56" y="T57"/>
                        </a:cxn>
                        <a:cxn ang="T129">
                          <a:pos x="T58" y="T59"/>
                        </a:cxn>
                        <a:cxn ang="T130">
                          <a:pos x="T60" y="T61"/>
                        </a:cxn>
                        <a:cxn ang="T131">
                          <a:pos x="T62" y="T63"/>
                        </a:cxn>
                        <a:cxn ang="T132">
                          <a:pos x="T64" y="T65"/>
                        </a:cxn>
                        <a:cxn ang="T133">
                          <a:pos x="T66" y="T67"/>
                        </a:cxn>
                        <a:cxn ang="T134">
                          <a:pos x="T68" y="T69"/>
                        </a:cxn>
                        <a:cxn ang="T135">
                          <a:pos x="T70" y="T71"/>
                        </a:cxn>
                        <a:cxn ang="T136">
                          <a:pos x="T72" y="T73"/>
                        </a:cxn>
                        <a:cxn ang="T137">
                          <a:pos x="T74" y="T75"/>
                        </a:cxn>
                        <a:cxn ang="T138">
                          <a:pos x="T76" y="T77"/>
                        </a:cxn>
                        <a:cxn ang="T139">
                          <a:pos x="T78" y="T79"/>
                        </a:cxn>
                        <a:cxn ang="T140">
                          <a:pos x="T80" y="T81"/>
                        </a:cxn>
                        <a:cxn ang="T141">
                          <a:pos x="T82" y="T83"/>
                        </a:cxn>
                        <a:cxn ang="T142">
                          <a:pos x="T84" y="T85"/>
                        </a:cxn>
                        <a:cxn ang="T143">
                          <a:pos x="T86" y="T87"/>
                        </a:cxn>
                        <a:cxn ang="T144">
                          <a:pos x="T88" y="T89"/>
                        </a:cxn>
                        <a:cxn ang="T145">
                          <a:pos x="T90" y="T91"/>
                        </a:cxn>
                        <a:cxn ang="T146">
                          <a:pos x="T92" y="T93"/>
                        </a:cxn>
                        <a:cxn ang="T147">
                          <a:pos x="T94" y="T95"/>
                        </a:cxn>
                        <a:cxn ang="T148">
                          <a:pos x="T96" y="T97"/>
                        </a:cxn>
                        <a:cxn ang="T149">
                          <a:pos x="T98" y="T99"/>
                        </a:cxn>
                      </a:cxnLst>
                      <a:rect l="T150" t="T151" r="T152" b="T153"/>
                      <a:pathLst>
                        <a:path w="237" h="224">
                          <a:moveTo>
                            <a:pt x="5" y="152"/>
                          </a:moveTo>
                          <a:lnTo>
                            <a:pt x="0" y="161"/>
                          </a:lnTo>
                          <a:lnTo>
                            <a:pt x="5" y="175"/>
                          </a:lnTo>
                          <a:lnTo>
                            <a:pt x="14" y="184"/>
                          </a:lnTo>
                          <a:lnTo>
                            <a:pt x="18" y="197"/>
                          </a:lnTo>
                          <a:lnTo>
                            <a:pt x="27" y="197"/>
                          </a:lnTo>
                          <a:lnTo>
                            <a:pt x="45" y="188"/>
                          </a:lnTo>
                          <a:lnTo>
                            <a:pt x="49" y="201"/>
                          </a:lnTo>
                          <a:lnTo>
                            <a:pt x="54" y="206"/>
                          </a:lnTo>
                          <a:lnTo>
                            <a:pt x="54" y="215"/>
                          </a:lnTo>
                          <a:lnTo>
                            <a:pt x="63" y="219"/>
                          </a:lnTo>
                          <a:lnTo>
                            <a:pt x="67" y="224"/>
                          </a:lnTo>
                          <a:lnTo>
                            <a:pt x="85" y="219"/>
                          </a:lnTo>
                          <a:lnTo>
                            <a:pt x="90" y="224"/>
                          </a:lnTo>
                          <a:lnTo>
                            <a:pt x="94" y="219"/>
                          </a:lnTo>
                          <a:lnTo>
                            <a:pt x="103" y="193"/>
                          </a:lnTo>
                          <a:lnTo>
                            <a:pt x="112" y="188"/>
                          </a:lnTo>
                          <a:lnTo>
                            <a:pt x="116" y="170"/>
                          </a:lnTo>
                          <a:lnTo>
                            <a:pt x="125" y="175"/>
                          </a:lnTo>
                          <a:lnTo>
                            <a:pt x="161" y="148"/>
                          </a:lnTo>
                          <a:lnTo>
                            <a:pt x="179" y="152"/>
                          </a:lnTo>
                          <a:lnTo>
                            <a:pt x="188" y="152"/>
                          </a:lnTo>
                          <a:lnTo>
                            <a:pt x="192" y="143"/>
                          </a:lnTo>
                          <a:lnTo>
                            <a:pt x="201" y="143"/>
                          </a:lnTo>
                          <a:lnTo>
                            <a:pt x="228" y="143"/>
                          </a:lnTo>
                          <a:lnTo>
                            <a:pt x="237" y="134"/>
                          </a:lnTo>
                          <a:lnTo>
                            <a:pt x="237" y="121"/>
                          </a:lnTo>
                          <a:lnTo>
                            <a:pt x="237" y="85"/>
                          </a:lnTo>
                          <a:lnTo>
                            <a:pt x="224" y="94"/>
                          </a:lnTo>
                          <a:lnTo>
                            <a:pt x="219" y="90"/>
                          </a:lnTo>
                          <a:lnTo>
                            <a:pt x="224" y="76"/>
                          </a:lnTo>
                          <a:lnTo>
                            <a:pt x="210" y="72"/>
                          </a:lnTo>
                          <a:lnTo>
                            <a:pt x="206" y="76"/>
                          </a:lnTo>
                          <a:lnTo>
                            <a:pt x="201" y="67"/>
                          </a:lnTo>
                          <a:lnTo>
                            <a:pt x="188" y="67"/>
                          </a:lnTo>
                          <a:lnTo>
                            <a:pt x="188" y="58"/>
                          </a:lnTo>
                          <a:lnTo>
                            <a:pt x="103" y="0"/>
                          </a:lnTo>
                          <a:lnTo>
                            <a:pt x="85" y="0"/>
                          </a:lnTo>
                          <a:lnTo>
                            <a:pt x="94" y="130"/>
                          </a:lnTo>
                          <a:lnTo>
                            <a:pt x="99" y="134"/>
                          </a:lnTo>
                          <a:lnTo>
                            <a:pt x="99" y="139"/>
                          </a:lnTo>
                          <a:lnTo>
                            <a:pt x="45" y="143"/>
                          </a:lnTo>
                          <a:lnTo>
                            <a:pt x="41" y="134"/>
                          </a:lnTo>
                          <a:lnTo>
                            <a:pt x="32" y="143"/>
                          </a:lnTo>
                          <a:lnTo>
                            <a:pt x="23" y="139"/>
                          </a:lnTo>
                          <a:lnTo>
                            <a:pt x="18" y="148"/>
                          </a:lnTo>
                          <a:lnTo>
                            <a:pt x="14" y="134"/>
                          </a:lnTo>
                          <a:lnTo>
                            <a:pt x="9" y="139"/>
                          </a:lnTo>
                          <a:lnTo>
                            <a:pt x="14" y="152"/>
                          </a:lnTo>
                          <a:lnTo>
                            <a:pt x="5" y="15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2" name="Freeform 44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965" y="2099"/>
                      <a:ext cx="8" cy="9"/>
                    </a:xfrm>
                    <a:custGeom>
                      <a:avLst/>
                      <a:gdLst>
                        <a:gd name="T0" fmla="*/ 0 w 9"/>
                        <a:gd name="T1" fmla="*/ 0 h 9"/>
                        <a:gd name="T2" fmla="*/ 0 w 9"/>
                        <a:gd name="T3" fmla="*/ 0 h 9"/>
                        <a:gd name="T4" fmla="*/ 0 w 9"/>
                        <a:gd name="T5" fmla="*/ 0 h 9"/>
                        <a:gd name="T6" fmla="*/ 0 w 9"/>
                        <a:gd name="T7" fmla="*/ 0 h 9"/>
                        <a:gd name="T8" fmla="*/ 4 w 9"/>
                        <a:gd name="T9" fmla="*/ 5 h 9"/>
                        <a:gd name="T10" fmla="*/ 0 w 9"/>
                        <a:gd name="T11" fmla="*/ 5 h 9"/>
                        <a:gd name="T12" fmla="*/ 4 w 9"/>
                        <a:gd name="T13" fmla="*/ 9 h 9"/>
                        <a:gd name="T14" fmla="*/ 4 w 9"/>
                        <a:gd name="T15" fmla="*/ 9 h 9"/>
                        <a:gd name="T16" fmla="*/ 4 w 9"/>
                        <a:gd name="T17" fmla="*/ 5 h 9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9"/>
                        <a:gd name="T28" fmla="*/ 0 h 9"/>
                        <a:gd name="T29" fmla="*/ 9 w 9"/>
                        <a:gd name="T30" fmla="*/ 9 h 9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9" h="9">
                          <a:moveTo>
                            <a:pt x="0" y="0"/>
                          </a:moveTo>
                          <a:lnTo>
                            <a:pt x="0" y="0"/>
                          </a:lnTo>
                          <a:close/>
                          <a:moveTo>
                            <a:pt x="5" y="5"/>
                          </a:move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9" y="9"/>
                          </a:lnTo>
                          <a:lnTo>
                            <a:pt x="5" y="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3" name="Freeform 4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551" y="2247"/>
                      <a:ext cx="161" cy="177"/>
                    </a:xfrm>
                    <a:custGeom>
                      <a:avLst/>
                      <a:gdLst>
                        <a:gd name="T0" fmla="*/ 0 w 170"/>
                        <a:gd name="T1" fmla="*/ 19 h 187"/>
                        <a:gd name="T2" fmla="*/ 5 w 170"/>
                        <a:gd name="T3" fmla="*/ 20 h 187"/>
                        <a:gd name="T4" fmla="*/ 9 w 170"/>
                        <a:gd name="T5" fmla="*/ 20 h 187"/>
                        <a:gd name="T6" fmla="*/ 9 w 170"/>
                        <a:gd name="T7" fmla="*/ 22 h 187"/>
                        <a:gd name="T8" fmla="*/ 5 w 170"/>
                        <a:gd name="T9" fmla="*/ 24 h 187"/>
                        <a:gd name="T10" fmla="*/ 9 w 170"/>
                        <a:gd name="T11" fmla="*/ 25 h 187"/>
                        <a:gd name="T12" fmla="*/ 9 w 170"/>
                        <a:gd name="T13" fmla="*/ 28 h 187"/>
                        <a:gd name="T14" fmla="*/ 9 w 170"/>
                        <a:gd name="T15" fmla="*/ 28 h 187"/>
                        <a:gd name="T16" fmla="*/ 9 w 170"/>
                        <a:gd name="T17" fmla="*/ 30 h 187"/>
                        <a:gd name="T18" fmla="*/ 9 w 170"/>
                        <a:gd name="T19" fmla="*/ 32 h 187"/>
                        <a:gd name="T20" fmla="*/ 9 w 170"/>
                        <a:gd name="T21" fmla="*/ 32 h 187"/>
                        <a:gd name="T22" fmla="*/ 9 w 170"/>
                        <a:gd name="T23" fmla="*/ 30 h 187"/>
                        <a:gd name="T24" fmla="*/ 9 w 170"/>
                        <a:gd name="T25" fmla="*/ 32 h 187"/>
                        <a:gd name="T26" fmla="*/ 9 w 170"/>
                        <a:gd name="T27" fmla="*/ 32 h 187"/>
                        <a:gd name="T28" fmla="*/ 15 w 170"/>
                        <a:gd name="T29" fmla="*/ 36 h 187"/>
                        <a:gd name="T30" fmla="*/ 17 w 170"/>
                        <a:gd name="T31" fmla="*/ 36 h 187"/>
                        <a:gd name="T32" fmla="*/ 16 w 170"/>
                        <a:gd name="T33" fmla="*/ 34 h 187"/>
                        <a:gd name="T34" fmla="*/ 17 w 170"/>
                        <a:gd name="T35" fmla="*/ 32 h 187"/>
                        <a:gd name="T36" fmla="*/ 18 w 170"/>
                        <a:gd name="T37" fmla="*/ 36 h 187"/>
                        <a:gd name="T38" fmla="*/ 19 w 170"/>
                        <a:gd name="T39" fmla="*/ 34 h 187"/>
                        <a:gd name="T40" fmla="*/ 21 w 170"/>
                        <a:gd name="T41" fmla="*/ 34 h 187"/>
                        <a:gd name="T42" fmla="*/ 22 w 170"/>
                        <a:gd name="T43" fmla="*/ 32 h 187"/>
                        <a:gd name="T44" fmla="*/ 23 w 170"/>
                        <a:gd name="T45" fmla="*/ 34 h 187"/>
                        <a:gd name="T46" fmla="*/ 33 w 170"/>
                        <a:gd name="T47" fmla="*/ 34 h 187"/>
                        <a:gd name="T48" fmla="*/ 33 w 170"/>
                        <a:gd name="T49" fmla="*/ 32 h 187"/>
                        <a:gd name="T50" fmla="*/ 31 w 170"/>
                        <a:gd name="T51" fmla="*/ 32 h 187"/>
                        <a:gd name="T52" fmla="*/ 29 w 170"/>
                        <a:gd name="T53" fmla="*/ 9 h 187"/>
                        <a:gd name="T54" fmla="*/ 33 w 170"/>
                        <a:gd name="T55" fmla="*/ 9 h 187"/>
                        <a:gd name="T56" fmla="*/ 23 w 170"/>
                        <a:gd name="T57" fmla="*/ 0 h 187"/>
                        <a:gd name="T58" fmla="*/ 23 w 170"/>
                        <a:gd name="T59" fmla="*/ 9 h 187"/>
                        <a:gd name="T60" fmla="*/ 15 w 170"/>
                        <a:gd name="T61" fmla="*/ 9 h 187"/>
                        <a:gd name="T62" fmla="*/ 13 w 170"/>
                        <a:gd name="T63" fmla="*/ 11 h 187"/>
                        <a:gd name="T64" fmla="*/ 11 w 170"/>
                        <a:gd name="T65" fmla="*/ 11 h 187"/>
                        <a:gd name="T66" fmla="*/ 9 w 170"/>
                        <a:gd name="T67" fmla="*/ 12 h 187"/>
                        <a:gd name="T68" fmla="*/ 9 w 170"/>
                        <a:gd name="T69" fmla="*/ 19 h 187"/>
                        <a:gd name="T70" fmla="*/ 5 w 170"/>
                        <a:gd name="T71" fmla="*/ 19 h 187"/>
                        <a:gd name="T72" fmla="*/ 0 w 170"/>
                        <a:gd name="T73" fmla="*/ 19 h 187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170"/>
                        <a:gd name="T112" fmla="*/ 0 h 187"/>
                        <a:gd name="T113" fmla="*/ 170 w 170"/>
                        <a:gd name="T114" fmla="*/ 187 h 187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170" h="187">
                          <a:moveTo>
                            <a:pt x="0" y="89"/>
                          </a:moveTo>
                          <a:lnTo>
                            <a:pt x="5" y="98"/>
                          </a:lnTo>
                          <a:lnTo>
                            <a:pt x="9" y="98"/>
                          </a:lnTo>
                          <a:lnTo>
                            <a:pt x="9" y="107"/>
                          </a:lnTo>
                          <a:lnTo>
                            <a:pt x="5" y="120"/>
                          </a:lnTo>
                          <a:lnTo>
                            <a:pt x="14" y="125"/>
                          </a:lnTo>
                          <a:lnTo>
                            <a:pt x="9" y="147"/>
                          </a:lnTo>
                          <a:lnTo>
                            <a:pt x="14" y="152"/>
                          </a:lnTo>
                          <a:lnTo>
                            <a:pt x="9" y="160"/>
                          </a:lnTo>
                          <a:lnTo>
                            <a:pt x="9" y="169"/>
                          </a:lnTo>
                          <a:lnTo>
                            <a:pt x="14" y="165"/>
                          </a:lnTo>
                          <a:lnTo>
                            <a:pt x="41" y="160"/>
                          </a:lnTo>
                          <a:lnTo>
                            <a:pt x="45" y="169"/>
                          </a:lnTo>
                          <a:lnTo>
                            <a:pt x="54" y="169"/>
                          </a:lnTo>
                          <a:lnTo>
                            <a:pt x="72" y="187"/>
                          </a:lnTo>
                          <a:lnTo>
                            <a:pt x="81" y="187"/>
                          </a:lnTo>
                          <a:lnTo>
                            <a:pt x="76" y="174"/>
                          </a:lnTo>
                          <a:lnTo>
                            <a:pt x="81" y="169"/>
                          </a:lnTo>
                          <a:lnTo>
                            <a:pt x="85" y="183"/>
                          </a:lnTo>
                          <a:lnTo>
                            <a:pt x="90" y="174"/>
                          </a:lnTo>
                          <a:lnTo>
                            <a:pt x="99" y="178"/>
                          </a:lnTo>
                          <a:lnTo>
                            <a:pt x="108" y="169"/>
                          </a:lnTo>
                          <a:lnTo>
                            <a:pt x="112" y="178"/>
                          </a:lnTo>
                          <a:lnTo>
                            <a:pt x="166" y="174"/>
                          </a:lnTo>
                          <a:lnTo>
                            <a:pt x="166" y="169"/>
                          </a:lnTo>
                          <a:lnTo>
                            <a:pt x="161" y="165"/>
                          </a:lnTo>
                          <a:lnTo>
                            <a:pt x="152" y="35"/>
                          </a:lnTo>
                          <a:lnTo>
                            <a:pt x="170" y="35"/>
                          </a:lnTo>
                          <a:lnTo>
                            <a:pt x="116" y="0"/>
                          </a:lnTo>
                          <a:lnTo>
                            <a:pt x="116" y="17"/>
                          </a:lnTo>
                          <a:lnTo>
                            <a:pt x="72" y="17"/>
                          </a:lnTo>
                          <a:lnTo>
                            <a:pt x="67" y="58"/>
                          </a:lnTo>
                          <a:lnTo>
                            <a:pt x="58" y="58"/>
                          </a:lnTo>
                          <a:lnTo>
                            <a:pt x="54" y="62"/>
                          </a:lnTo>
                          <a:lnTo>
                            <a:pt x="54" y="89"/>
                          </a:lnTo>
                          <a:lnTo>
                            <a:pt x="5" y="93"/>
                          </a:lnTo>
                          <a:lnTo>
                            <a:pt x="0" y="8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4" name="Freeform 4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560" y="2914"/>
                      <a:ext cx="8" cy="12"/>
                    </a:xfrm>
                    <a:custGeom>
                      <a:avLst/>
                      <a:gdLst>
                        <a:gd name="T0" fmla="*/ 0 w 9"/>
                        <a:gd name="T1" fmla="*/ 6 h 13"/>
                        <a:gd name="T2" fmla="*/ 4 w 9"/>
                        <a:gd name="T3" fmla="*/ 4 h 13"/>
                        <a:gd name="T4" fmla="*/ 4 w 9"/>
                        <a:gd name="T5" fmla="*/ 0 h 13"/>
                        <a:gd name="T6" fmla="*/ 0 w 9"/>
                        <a:gd name="T7" fmla="*/ 0 h 13"/>
                        <a:gd name="T8" fmla="*/ 0 w 9"/>
                        <a:gd name="T9" fmla="*/ 4 h 13"/>
                        <a:gd name="T10" fmla="*/ 0 w 9"/>
                        <a:gd name="T11" fmla="*/ 6 h 13"/>
                        <a:gd name="T12" fmla="*/ 0 w 9"/>
                        <a:gd name="T13" fmla="*/ 6 h 13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9"/>
                        <a:gd name="T22" fmla="*/ 0 h 13"/>
                        <a:gd name="T23" fmla="*/ 9 w 9"/>
                        <a:gd name="T24" fmla="*/ 13 h 13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9" h="13">
                          <a:moveTo>
                            <a:pt x="0" y="13"/>
                          </a:moveTo>
                          <a:lnTo>
                            <a:pt x="9" y="4"/>
                          </a:lnTo>
                          <a:lnTo>
                            <a:pt x="4" y="0"/>
                          </a:lnTo>
                          <a:lnTo>
                            <a:pt x="0" y="0"/>
                          </a:lnTo>
                          <a:lnTo>
                            <a:pt x="0" y="4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5" name="Freeform 4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602" y="2103"/>
                      <a:ext cx="164" cy="135"/>
                    </a:xfrm>
                    <a:custGeom>
                      <a:avLst/>
                      <a:gdLst>
                        <a:gd name="T0" fmla="*/ 0 w 174"/>
                        <a:gd name="T1" fmla="*/ 25 h 143"/>
                        <a:gd name="T2" fmla="*/ 10 w 174"/>
                        <a:gd name="T3" fmla="*/ 25 h 143"/>
                        <a:gd name="T4" fmla="*/ 11 w 174"/>
                        <a:gd name="T5" fmla="*/ 23 h 143"/>
                        <a:gd name="T6" fmla="*/ 14 w 174"/>
                        <a:gd name="T7" fmla="*/ 22 h 143"/>
                        <a:gd name="T8" fmla="*/ 17 w 174"/>
                        <a:gd name="T9" fmla="*/ 21 h 143"/>
                        <a:gd name="T10" fmla="*/ 19 w 174"/>
                        <a:gd name="T11" fmla="*/ 21 h 143"/>
                        <a:gd name="T12" fmla="*/ 24 w 174"/>
                        <a:gd name="T13" fmla="*/ 15 h 143"/>
                        <a:gd name="T14" fmla="*/ 25 w 174"/>
                        <a:gd name="T15" fmla="*/ 12 h 143"/>
                        <a:gd name="T16" fmla="*/ 29 w 174"/>
                        <a:gd name="T17" fmla="*/ 13 h 143"/>
                        <a:gd name="T18" fmla="*/ 30 w 174"/>
                        <a:gd name="T19" fmla="*/ 11 h 143"/>
                        <a:gd name="T20" fmla="*/ 28 w 174"/>
                        <a:gd name="T21" fmla="*/ 9 h 143"/>
                        <a:gd name="T22" fmla="*/ 27 w 174"/>
                        <a:gd name="T23" fmla="*/ 8 h 143"/>
                        <a:gd name="T24" fmla="*/ 27 w 174"/>
                        <a:gd name="T25" fmla="*/ 8 h 143"/>
                        <a:gd name="T26" fmla="*/ 26 w 174"/>
                        <a:gd name="T27" fmla="*/ 8 h 143"/>
                        <a:gd name="T28" fmla="*/ 25 w 174"/>
                        <a:gd name="T29" fmla="*/ 8 h 143"/>
                        <a:gd name="T30" fmla="*/ 25 w 174"/>
                        <a:gd name="T31" fmla="*/ 4 h 143"/>
                        <a:gd name="T32" fmla="*/ 24 w 174"/>
                        <a:gd name="T33" fmla="*/ 8 h 143"/>
                        <a:gd name="T34" fmla="*/ 22 w 174"/>
                        <a:gd name="T35" fmla="*/ 8 h 143"/>
                        <a:gd name="T36" fmla="*/ 21 w 174"/>
                        <a:gd name="T37" fmla="*/ 4 h 143"/>
                        <a:gd name="T38" fmla="*/ 19 w 174"/>
                        <a:gd name="T39" fmla="*/ 0 h 143"/>
                        <a:gd name="T40" fmla="*/ 19 w 174"/>
                        <a:gd name="T41" fmla="*/ 4 h 143"/>
                        <a:gd name="T42" fmla="*/ 17 w 174"/>
                        <a:gd name="T43" fmla="*/ 8 h 143"/>
                        <a:gd name="T44" fmla="*/ 11 w 174"/>
                        <a:gd name="T45" fmla="*/ 8 h 143"/>
                        <a:gd name="T46" fmla="*/ 9 w 174"/>
                        <a:gd name="T47" fmla="*/ 8 h 143"/>
                        <a:gd name="T48" fmla="*/ 9 w 174"/>
                        <a:gd name="T49" fmla="*/ 11 h 143"/>
                        <a:gd name="T50" fmla="*/ 8 w 174"/>
                        <a:gd name="T51" fmla="*/ 13 h 143"/>
                        <a:gd name="T52" fmla="*/ 8 w 174"/>
                        <a:gd name="T53" fmla="*/ 17 h 143"/>
                        <a:gd name="T54" fmla="*/ 8 w 174"/>
                        <a:gd name="T55" fmla="*/ 18 h 143"/>
                        <a:gd name="T56" fmla="*/ 8 w 174"/>
                        <a:gd name="T57" fmla="*/ 19 h 143"/>
                        <a:gd name="T58" fmla="*/ 4 w 174"/>
                        <a:gd name="T59" fmla="*/ 24 h 143"/>
                        <a:gd name="T60" fmla="*/ 0 w 174"/>
                        <a:gd name="T61" fmla="*/ 25 h 143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w 174"/>
                        <a:gd name="T94" fmla="*/ 0 h 143"/>
                        <a:gd name="T95" fmla="*/ 174 w 174"/>
                        <a:gd name="T96" fmla="*/ 143 h 143"/>
                      </a:gdLst>
                      <a:ahLst/>
                      <a:cxnLst>
                        <a:cxn ang="T62">
                          <a:pos x="T0" y="T1"/>
                        </a:cxn>
                        <a:cxn ang="T63">
                          <a:pos x="T2" y="T3"/>
                        </a:cxn>
                        <a:cxn ang="T64">
                          <a:pos x="T4" y="T5"/>
                        </a:cxn>
                        <a:cxn ang="T65">
                          <a:pos x="T6" y="T7"/>
                        </a:cxn>
                        <a:cxn ang="T66">
                          <a:pos x="T8" y="T9"/>
                        </a:cxn>
                        <a:cxn ang="T67">
                          <a:pos x="T10" y="T11"/>
                        </a:cxn>
                        <a:cxn ang="T68">
                          <a:pos x="T12" y="T13"/>
                        </a:cxn>
                        <a:cxn ang="T69">
                          <a:pos x="T14" y="T15"/>
                        </a:cxn>
                        <a:cxn ang="T70">
                          <a:pos x="T16" y="T17"/>
                        </a:cxn>
                        <a:cxn ang="T71">
                          <a:pos x="T18" y="T19"/>
                        </a:cxn>
                        <a:cxn ang="T72">
                          <a:pos x="T20" y="T21"/>
                        </a:cxn>
                        <a:cxn ang="T73">
                          <a:pos x="T22" y="T23"/>
                        </a:cxn>
                        <a:cxn ang="T74">
                          <a:pos x="T24" y="T25"/>
                        </a:cxn>
                        <a:cxn ang="T75">
                          <a:pos x="T26" y="T27"/>
                        </a:cxn>
                        <a:cxn ang="T76">
                          <a:pos x="T28" y="T29"/>
                        </a:cxn>
                        <a:cxn ang="T77">
                          <a:pos x="T30" y="T31"/>
                        </a:cxn>
                        <a:cxn ang="T78">
                          <a:pos x="T32" y="T33"/>
                        </a:cxn>
                        <a:cxn ang="T79">
                          <a:pos x="T34" y="T35"/>
                        </a:cxn>
                        <a:cxn ang="T80">
                          <a:pos x="T36" y="T37"/>
                        </a:cxn>
                        <a:cxn ang="T81">
                          <a:pos x="T38" y="T39"/>
                        </a:cxn>
                        <a:cxn ang="T82">
                          <a:pos x="T40" y="T41"/>
                        </a:cxn>
                        <a:cxn ang="T83">
                          <a:pos x="T42" y="T43"/>
                        </a:cxn>
                        <a:cxn ang="T84">
                          <a:pos x="T44" y="T45"/>
                        </a:cxn>
                        <a:cxn ang="T85">
                          <a:pos x="T46" y="T47"/>
                        </a:cxn>
                        <a:cxn ang="T86">
                          <a:pos x="T48" y="T49"/>
                        </a:cxn>
                        <a:cxn ang="T87">
                          <a:pos x="T50" y="T51"/>
                        </a:cxn>
                        <a:cxn ang="T88">
                          <a:pos x="T52" y="T53"/>
                        </a:cxn>
                        <a:cxn ang="T89">
                          <a:pos x="T54" y="T55"/>
                        </a:cxn>
                        <a:cxn ang="T90">
                          <a:pos x="T56" y="T57"/>
                        </a:cxn>
                        <a:cxn ang="T91">
                          <a:pos x="T58" y="T59"/>
                        </a:cxn>
                        <a:cxn ang="T92">
                          <a:pos x="T60" y="T61"/>
                        </a:cxn>
                      </a:cxnLst>
                      <a:rect l="T93" t="T94" r="T95" b="T96"/>
                      <a:pathLst>
                        <a:path w="174" h="143">
                          <a:moveTo>
                            <a:pt x="0" y="138"/>
                          </a:moveTo>
                          <a:lnTo>
                            <a:pt x="62" y="143"/>
                          </a:lnTo>
                          <a:lnTo>
                            <a:pt x="67" y="129"/>
                          </a:lnTo>
                          <a:lnTo>
                            <a:pt x="76" y="116"/>
                          </a:lnTo>
                          <a:lnTo>
                            <a:pt x="94" y="111"/>
                          </a:lnTo>
                          <a:lnTo>
                            <a:pt x="103" y="111"/>
                          </a:lnTo>
                          <a:lnTo>
                            <a:pt x="143" y="80"/>
                          </a:lnTo>
                          <a:lnTo>
                            <a:pt x="152" y="67"/>
                          </a:lnTo>
                          <a:lnTo>
                            <a:pt x="170" y="71"/>
                          </a:lnTo>
                          <a:lnTo>
                            <a:pt x="174" y="62"/>
                          </a:lnTo>
                          <a:lnTo>
                            <a:pt x="165" y="58"/>
                          </a:lnTo>
                          <a:lnTo>
                            <a:pt x="161" y="40"/>
                          </a:lnTo>
                          <a:lnTo>
                            <a:pt x="161" y="26"/>
                          </a:lnTo>
                          <a:lnTo>
                            <a:pt x="156" y="13"/>
                          </a:lnTo>
                          <a:lnTo>
                            <a:pt x="147" y="9"/>
                          </a:lnTo>
                          <a:lnTo>
                            <a:pt x="147" y="4"/>
                          </a:lnTo>
                          <a:lnTo>
                            <a:pt x="138" y="9"/>
                          </a:lnTo>
                          <a:lnTo>
                            <a:pt x="129" y="9"/>
                          </a:lnTo>
                          <a:lnTo>
                            <a:pt x="116" y="4"/>
                          </a:lnTo>
                          <a:lnTo>
                            <a:pt x="107" y="0"/>
                          </a:lnTo>
                          <a:lnTo>
                            <a:pt x="103" y="4"/>
                          </a:lnTo>
                          <a:lnTo>
                            <a:pt x="94" y="22"/>
                          </a:lnTo>
                          <a:lnTo>
                            <a:pt x="67" y="40"/>
                          </a:lnTo>
                          <a:lnTo>
                            <a:pt x="58" y="53"/>
                          </a:lnTo>
                          <a:lnTo>
                            <a:pt x="58" y="62"/>
                          </a:lnTo>
                          <a:lnTo>
                            <a:pt x="49" y="71"/>
                          </a:lnTo>
                          <a:lnTo>
                            <a:pt x="49" y="89"/>
                          </a:lnTo>
                          <a:lnTo>
                            <a:pt x="54" y="94"/>
                          </a:lnTo>
                          <a:lnTo>
                            <a:pt x="54" y="98"/>
                          </a:lnTo>
                          <a:lnTo>
                            <a:pt x="4" y="134"/>
                          </a:lnTo>
                          <a:lnTo>
                            <a:pt x="0" y="138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6" name="Freeform 48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92" y="2774"/>
                      <a:ext cx="140" cy="245"/>
                    </a:xfrm>
                    <a:custGeom>
                      <a:avLst/>
                      <a:gdLst>
                        <a:gd name="T0" fmla="*/ 0 w 148"/>
                        <a:gd name="T1" fmla="*/ 16 h 259"/>
                        <a:gd name="T2" fmla="*/ 5 w 148"/>
                        <a:gd name="T3" fmla="*/ 17 h 259"/>
                        <a:gd name="T4" fmla="*/ 9 w 148"/>
                        <a:gd name="T5" fmla="*/ 17 h 259"/>
                        <a:gd name="T6" fmla="*/ 9 w 148"/>
                        <a:gd name="T7" fmla="*/ 19 h 259"/>
                        <a:gd name="T8" fmla="*/ 9 w 148"/>
                        <a:gd name="T9" fmla="*/ 25 h 259"/>
                        <a:gd name="T10" fmla="*/ 9 w 148"/>
                        <a:gd name="T11" fmla="*/ 26 h 259"/>
                        <a:gd name="T12" fmla="*/ 9 w 148"/>
                        <a:gd name="T13" fmla="*/ 28 h 259"/>
                        <a:gd name="T14" fmla="*/ 9 w 148"/>
                        <a:gd name="T15" fmla="*/ 32 h 259"/>
                        <a:gd name="T16" fmla="*/ 9 w 148"/>
                        <a:gd name="T17" fmla="*/ 36 h 259"/>
                        <a:gd name="T18" fmla="*/ 9 w 148"/>
                        <a:gd name="T19" fmla="*/ 37 h 259"/>
                        <a:gd name="T20" fmla="*/ 9 w 148"/>
                        <a:gd name="T21" fmla="*/ 43 h 259"/>
                        <a:gd name="T22" fmla="*/ 9 w 148"/>
                        <a:gd name="T23" fmla="*/ 44 h 259"/>
                        <a:gd name="T24" fmla="*/ 9 w 148"/>
                        <a:gd name="T25" fmla="*/ 46 h 259"/>
                        <a:gd name="T26" fmla="*/ 9 w 148"/>
                        <a:gd name="T27" fmla="*/ 46 h 259"/>
                        <a:gd name="T28" fmla="*/ 9 w 148"/>
                        <a:gd name="T29" fmla="*/ 49 h 259"/>
                        <a:gd name="T30" fmla="*/ 9 w 148"/>
                        <a:gd name="T31" fmla="*/ 48 h 259"/>
                        <a:gd name="T32" fmla="*/ 9 w 148"/>
                        <a:gd name="T33" fmla="*/ 46 h 259"/>
                        <a:gd name="T34" fmla="*/ 9 w 148"/>
                        <a:gd name="T35" fmla="*/ 46 h 259"/>
                        <a:gd name="T36" fmla="*/ 9 w 148"/>
                        <a:gd name="T37" fmla="*/ 44 h 259"/>
                        <a:gd name="T38" fmla="*/ 13 w 148"/>
                        <a:gd name="T39" fmla="*/ 42 h 259"/>
                        <a:gd name="T40" fmla="*/ 14 w 148"/>
                        <a:gd name="T41" fmla="*/ 40 h 259"/>
                        <a:gd name="T42" fmla="*/ 13 w 148"/>
                        <a:gd name="T43" fmla="*/ 40 h 259"/>
                        <a:gd name="T44" fmla="*/ 14 w 148"/>
                        <a:gd name="T45" fmla="*/ 38 h 259"/>
                        <a:gd name="T46" fmla="*/ 14 w 148"/>
                        <a:gd name="T47" fmla="*/ 35 h 259"/>
                        <a:gd name="T48" fmla="*/ 13 w 148"/>
                        <a:gd name="T49" fmla="*/ 34 h 259"/>
                        <a:gd name="T50" fmla="*/ 13 w 148"/>
                        <a:gd name="T51" fmla="*/ 35 h 259"/>
                        <a:gd name="T52" fmla="*/ 12 w 148"/>
                        <a:gd name="T53" fmla="*/ 30 h 259"/>
                        <a:gd name="T54" fmla="*/ 10 w 148"/>
                        <a:gd name="T55" fmla="*/ 28 h 259"/>
                        <a:gd name="T56" fmla="*/ 14 w 148"/>
                        <a:gd name="T57" fmla="*/ 25 h 259"/>
                        <a:gd name="T58" fmla="*/ 17 w 148"/>
                        <a:gd name="T59" fmla="*/ 25 h 259"/>
                        <a:gd name="T60" fmla="*/ 20 w 148"/>
                        <a:gd name="T61" fmla="*/ 22 h 259"/>
                        <a:gd name="T62" fmla="*/ 25 w 148"/>
                        <a:gd name="T63" fmla="*/ 19 h 259"/>
                        <a:gd name="T64" fmla="*/ 28 w 148"/>
                        <a:gd name="T65" fmla="*/ 15 h 259"/>
                        <a:gd name="T66" fmla="*/ 28 w 148"/>
                        <a:gd name="T67" fmla="*/ 9 h 259"/>
                        <a:gd name="T68" fmla="*/ 26 w 148"/>
                        <a:gd name="T69" fmla="*/ 9 h 259"/>
                        <a:gd name="T70" fmla="*/ 28 w 148"/>
                        <a:gd name="T71" fmla="*/ 5 h 259"/>
                        <a:gd name="T72" fmla="*/ 26 w 148"/>
                        <a:gd name="T73" fmla="*/ 0 h 259"/>
                        <a:gd name="T74" fmla="*/ 25 w 148"/>
                        <a:gd name="T75" fmla="*/ 9 h 259"/>
                        <a:gd name="T76" fmla="*/ 21 w 148"/>
                        <a:gd name="T77" fmla="*/ 9 h 259"/>
                        <a:gd name="T78" fmla="*/ 20 w 148"/>
                        <a:gd name="T79" fmla="*/ 9 h 259"/>
                        <a:gd name="T80" fmla="*/ 19 w 148"/>
                        <a:gd name="T81" fmla="*/ 9 h 259"/>
                        <a:gd name="T82" fmla="*/ 17 w 148"/>
                        <a:gd name="T83" fmla="*/ 9 h 259"/>
                        <a:gd name="T84" fmla="*/ 15 w 148"/>
                        <a:gd name="T85" fmla="*/ 9 h 259"/>
                        <a:gd name="T86" fmla="*/ 12 w 148"/>
                        <a:gd name="T87" fmla="*/ 9 h 259"/>
                        <a:gd name="T88" fmla="*/ 12 w 148"/>
                        <a:gd name="T89" fmla="*/ 9 h 259"/>
                        <a:gd name="T90" fmla="*/ 10 w 148"/>
                        <a:gd name="T91" fmla="*/ 9 h 259"/>
                        <a:gd name="T92" fmla="*/ 10 w 148"/>
                        <a:gd name="T93" fmla="*/ 9 h 259"/>
                        <a:gd name="T94" fmla="*/ 13 w 148"/>
                        <a:gd name="T95" fmla="*/ 9 h 259"/>
                        <a:gd name="T96" fmla="*/ 15 w 148"/>
                        <a:gd name="T97" fmla="*/ 10 h 259"/>
                        <a:gd name="T98" fmla="*/ 15 w 148"/>
                        <a:gd name="T99" fmla="*/ 17 h 259"/>
                        <a:gd name="T100" fmla="*/ 13 w 148"/>
                        <a:gd name="T101" fmla="*/ 18 h 259"/>
                        <a:gd name="T102" fmla="*/ 14 w 148"/>
                        <a:gd name="T103" fmla="*/ 20 h 259"/>
                        <a:gd name="T104" fmla="*/ 12 w 148"/>
                        <a:gd name="T105" fmla="*/ 20 h 259"/>
                        <a:gd name="T106" fmla="*/ 9 w 148"/>
                        <a:gd name="T107" fmla="*/ 17 h 259"/>
                        <a:gd name="T108" fmla="*/ 10 w 148"/>
                        <a:gd name="T109" fmla="*/ 14 h 259"/>
                        <a:gd name="T110" fmla="*/ 9 w 148"/>
                        <a:gd name="T111" fmla="*/ 12 h 259"/>
                        <a:gd name="T112" fmla="*/ 9 w 148"/>
                        <a:gd name="T113" fmla="*/ 12 h 259"/>
                        <a:gd name="T114" fmla="*/ 9 w 148"/>
                        <a:gd name="T115" fmla="*/ 9 h 259"/>
                        <a:gd name="T116" fmla="*/ 0 w 148"/>
                        <a:gd name="T117" fmla="*/ 14 h 259"/>
                        <a:gd name="T118" fmla="*/ 0 w 148"/>
                        <a:gd name="T119" fmla="*/ 16 h 259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w 148"/>
                        <a:gd name="T181" fmla="*/ 0 h 259"/>
                        <a:gd name="T182" fmla="*/ 148 w 148"/>
                        <a:gd name="T183" fmla="*/ 259 h 259"/>
                      </a:gdLst>
                      <a:ahLst/>
                      <a:cxnLst>
                        <a:cxn ang="T120">
                          <a:pos x="T0" y="T1"/>
                        </a:cxn>
                        <a:cxn ang="T121">
                          <a:pos x="T2" y="T3"/>
                        </a:cxn>
                        <a:cxn ang="T122">
                          <a:pos x="T4" y="T5"/>
                        </a:cxn>
                        <a:cxn ang="T123">
                          <a:pos x="T6" y="T7"/>
                        </a:cxn>
                        <a:cxn ang="T124">
                          <a:pos x="T8" y="T9"/>
                        </a:cxn>
                        <a:cxn ang="T125">
                          <a:pos x="T10" y="T11"/>
                        </a:cxn>
                        <a:cxn ang="T126">
                          <a:pos x="T12" y="T13"/>
                        </a:cxn>
                        <a:cxn ang="T127">
                          <a:pos x="T14" y="T15"/>
                        </a:cxn>
                        <a:cxn ang="T128">
                          <a:pos x="T16" y="T17"/>
                        </a:cxn>
                        <a:cxn ang="T129">
                          <a:pos x="T18" y="T19"/>
                        </a:cxn>
                        <a:cxn ang="T130">
                          <a:pos x="T20" y="T21"/>
                        </a:cxn>
                        <a:cxn ang="T131">
                          <a:pos x="T22" y="T23"/>
                        </a:cxn>
                        <a:cxn ang="T132">
                          <a:pos x="T24" y="T25"/>
                        </a:cxn>
                        <a:cxn ang="T133">
                          <a:pos x="T26" y="T27"/>
                        </a:cxn>
                        <a:cxn ang="T134">
                          <a:pos x="T28" y="T29"/>
                        </a:cxn>
                        <a:cxn ang="T135">
                          <a:pos x="T30" y="T31"/>
                        </a:cxn>
                        <a:cxn ang="T136">
                          <a:pos x="T32" y="T33"/>
                        </a:cxn>
                        <a:cxn ang="T137">
                          <a:pos x="T34" y="T35"/>
                        </a:cxn>
                        <a:cxn ang="T138">
                          <a:pos x="T36" y="T37"/>
                        </a:cxn>
                        <a:cxn ang="T139">
                          <a:pos x="T38" y="T39"/>
                        </a:cxn>
                        <a:cxn ang="T140">
                          <a:pos x="T40" y="T41"/>
                        </a:cxn>
                        <a:cxn ang="T141">
                          <a:pos x="T42" y="T43"/>
                        </a:cxn>
                        <a:cxn ang="T142">
                          <a:pos x="T44" y="T45"/>
                        </a:cxn>
                        <a:cxn ang="T143">
                          <a:pos x="T46" y="T47"/>
                        </a:cxn>
                        <a:cxn ang="T144">
                          <a:pos x="T48" y="T49"/>
                        </a:cxn>
                        <a:cxn ang="T145">
                          <a:pos x="T50" y="T51"/>
                        </a:cxn>
                        <a:cxn ang="T146">
                          <a:pos x="T52" y="T53"/>
                        </a:cxn>
                        <a:cxn ang="T147">
                          <a:pos x="T54" y="T55"/>
                        </a:cxn>
                        <a:cxn ang="T148">
                          <a:pos x="T56" y="T57"/>
                        </a:cxn>
                        <a:cxn ang="T149">
                          <a:pos x="T58" y="T59"/>
                        </a:cxn>
                        <a:cxn ang="T150">
                          <a:pos x="T60" y="T61"/>
                        </a:cxn>
                        <a:cxn ang="T151">
                          <a:pos x="T62" y="T63"/>
                        </a:cxn>
                        <a:cxn ang="T152">
                          <a:pos x="T64" y="T65"/>
                        </a:cxn>
                        <a:cxn ang="T153">
                          <a:pos x="T66" y="T67"/>
                        </a:cxn>
                        <a:cxn ang="T154">
                          <a:pos x="T68" y="T69"/>
                        </a:cxn>
                        <a:cxn ang="T155">
                          <a:pos x="T70" y="T71"/>
                        </a:cxn>
                        <a:cxn ang="T156">
                          <a:pos x="T72" y="T73"/>
                        </a:cxn>
                        <a:cxn ang="T157">
                          <a:pos x="T74" y="T75"/>
                        </a:cxn>
                        <a:cxn ang="T158">
                          <a:pos x="T76" y="T77"/>
                        </a:cxn>
                        <a:cxn ang="T159">
                          <a:pos x="T78" y="T79"/>
                        </a:cxn>
                        <a:cxn ang="T160">
                          <a:pos x="T80" y="T81"/>
                        </a:cxn>
                        <a:cxn ang="T161">
                          <a:pos x="T82" y="T83"/>
                        </a:cxn>
                        <a:cxn ang="T162">
                          <a:pos x="T84" y="T85"/>
                        </a:cxn>
                        <a:cxn ang="T163">
                          <a:pos x="T86" y="T87"/>
                        </a:cxn>
                        <a:cxn ang="T164">
                          <a:pos x="T88" y="T89"/>
                        </a:cxn>
                        <a:cxn ang="T165">
                          <a:pos x="T90" y="T91"/>
                        </a:cxn>
                        <a:cxn ang="T166">
                          <a:pos x="T92" y="T93"/>
                        </a:cxn>
                        <a:cxn ang="T167">
                          <a:pos x="T94" y="T95"/>
                        </a:cxn>
                        <a:cxn ang="T168">
                          <a:pos x="T96" y="T97"/>
                        </a:cxn>
                        <a:cxn ang="T169">
                          <a:pos x="T98" y="T99"/>
                        </a:cxn>
                        <a:cxn ang="T170">
                          <a:pos x="T100" y="T101"/>
                        </a:cxn>
                        <a:cxn ang="T171">
                          <a:pos x="T102" y="T103"/>
                        </a:cxn>
                        <a:cxn ang="T172">
                          <a:pos x="T104" y="T105"/>
                        </a:cxn>
                        <a:cxn ang="T173">
                          <a:pos x="T106" y="T107"/>
                        </a:cxn>
                        <a:cxn ang="T174">
                          <a:pos x="T108" y="T109"/>
                        </a:cxn>
                        <a:cxn ang="T175">
                          <a:pos x="T110" y="T111"/>
                        </a:cxn>
                        <a:cxn ang="T176">
                          <a:pos x="T112" y="T113"/>
                        </a:cxn>
                        <a:cxn ang="T177">
                          <a:pos x="T114" y="T115"/>
                        </a:cxn>
                        <a:cxn ang="T178">
                          <a:pos x="T116" y="T117"/>
                        </a:cxn>
                        <a:cxn ang="T179">
                          <a:pos x="T118" y="T119"/>
                        </a:cxn>
                      </a:cxnLst>
                      <a:rect l="T180" t="T181" r="T182" b="T183"/>
                      <a:pathLst>
                        <a:path w="148" h="259">
                          <a:moveTo>
                            <a:pt x="0" y="81"/>
                          </a:moveTo>
                          <a:lnTo>
                            <a:pt x="5" y="85"/>
                          </a:lnTo>
                          <a:lnTo>
                            <a:pt x="18" y="85"/>
                          </a:lnTo>
                          <a:lnTo>
                            <a:pt x="36" y="94"/>
                          </a:lnTo>
                          <a:lnTo>
                            <a:pt x="40" y="130"/>
                          </a:lnTo>
                          <a:lnTo>
                            <a:pt x="36" y="139"/>
                          </a:lnTo>
                          <a:lnTo>
                            <a:pt x="40" y="148"/>
                          </a:lnTo>
                          <a:lnTo>
                            <a:pt x="32" y="170"/>
                          </a:lnTo>
                          <a:lnTo>
                            <a:pt x="18" y="188"/>
                          </a:lnTo>
                          <a:lnTo>
                            <a:pt x="18" y="192"/>
                          </a:lnTo>
                          <a:lnTo>
                            <a:pt x="23" y="228"/>
                          </a:lnTo>
                          <a:lnTo>
                            <a:pt x="23" y="237"/>
                          </a:lnTo>
                          <a:lnTo>
                            <a:pt x="23" y="242"/>
                          </a:lnTo>
                          <a:lnTo>
                            <a:pt x="23" y="246"/>
                          </a:lnTo>
                          <a:lnTo>
                            <a:pt x="23" y="259"/>
                          </a:lnTo>
                          <a:lnTo>
                            <a:pt x="36" y="255"/>
                          </a:lnTo>
                          <a:lnTo>
                            <a:pt x="36" y="242"/>
                          </a:lnTo>
                          <a:lnTo>
                            <a:pt x="27" y="242"/>
                          </a:lnTo>
                          <a:lnTo>
                            <a:pt x="36" y="233"/>
                          </a:lnTo>
                          <a:lnTo>
                            <a:pt x="67" y="219"/>
                          </a:lnTo>
                          <a:lnTo>
                            <a:pt x="72" y="210"/>
                          </a:lnTo>
                          <a:lnTo>
                            <a:pt x="67" y="210"/>
                          </a:lnTo>
                          <a:lnTo>
                            <a:pt x="72" y="201"/>
                          </a:lnTo>
                          <a:lnTo>
                            <a:pt x="72" y="183"/>
                          </a:lnTo>
                          <a:lnTo>
                            <a:pt x="67" y="179"/>
                          </a:lnTo>
                          <a:lnTo>
                            <a:pt x="67" y="183"/>
                          </a:lnTo>
                          <a:lnTo>
                            <a:pt x="63" y="157"/>
                          </a:lnTo>
                          <a:lnTo>
                            <a:pt x="58" y="152"/>
                          </a:lnTo>
                          <a:lnTo>
                            <a:pt x="72" y="134"/>
                          </a:lnTo>
                          <a:lnTo>
                            <a:pt x="85" y="130"/>
                          </a:lnTo>
                          <a:lnTo>
                            <a:pt x="99" y="112"/>
                          </a:lnTo>
                          <a:lnTo>
                            <a:pt x="134" y="94"/>
                          </a:lnTo>
                          <a:lnTo>
                            <a:pt x="148" y="76"/>
                          </a:lnTo>
                          <a:lnTo>
                            <a:pt x="148" y="54"/>
                          </a:lnTo>
                          <a:lnTo>
                            <a:pt x="143" y="54"/>
                          </a:lnTo>
                          <a:lnTo>
                            <a:pt x="148" y="5"/>
                          </a:lnTo>
                          <a:lnTo>
                            <a:pt x="143" y="0"/>
                          </a:lnTo>
                          <a:lnTo>
                            <a:pt x="130" y="9"/>
                          </a:lnTo>
                          <a:lnTo>
                            <a:pt x="107" y="9"/>
                          </a:lnTo>
                          <a:lnTo>
                            <a:pt x="103" y="18"/>
                          </a:lnTo>
                          <a:lnTo>
                            <a:pt x="94" y="14"/>
                          </a:lnTo>
                          <a:lnTo>
                            <a:pt x="85" y="23"/>
                          </a:lnTo>
                          <a:lnTo>
                            <a:pt x="76" y="14"/>
                          </a:lnTo>
                          <a:lnTo>
                            <a:pt x="63" y="18"/>
                          </a:lnTo>
                          <a:lnTo>
                            <a:pt x="63" y="23"/>
                          </a:lnTo>
                          <a:lnTo>
                            <a:pt x="58" y="31"/>
                          </a:lnTo>
                          <a:lnTo>
                            <a:pt x="58" y="40"/>
                          </a:lnTo>
                          <a:lnTo>
                            <a:pt x="67" y="45"/>
                          </a:lnTo>
                          <a:lnTo>
                            <a:pt x="76" y="58"/>
                          </a:lnTo>
                          <a:lnTo>
                            <a:pt x="76" y="85"/>
                          </a:lnTo>
                          <a:lnTo>
                            <a:pt x="67" y="90"/>
                          </a:lnTo>
                          <a:lnTo>
                            <a:pt x="72" y="99"/>
                          </a:lnTo>
                          <a:lnTo>
                            <a:pt x="63" y="103"/>
                          </a:lnTo>
                          <a:lnTo>
                            <a:pt x="54" y="85"/>
                          </a:lnTo>
                          <a:lnTo>
                            <a:pt x="58" y="72"/>
                          </a:lnTo>
                          <a:lnTo>
                            <a:pt x="54" y="63"/>
                          </a:lnTo>
                          <a:lnTo>
                            <a:pt x="45" y="63"/>
                          </a:lnTo>
                          <a:lnTo>
                            <a:pt x="36" y="54"/>
                          </a:lnTo>
                          <a:lnTo>
                            <a:pt x="0" y="72"/>
                          </a:lnTo>
                          <a:lnTo>
                            <a:pt x="0" y="8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7" name="Freeform 4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35" y="2867"/>
                      <a:ext cx="181" cy="185"/>
                    </a:xfrm>
                    <a:custGeom>
                      <a:avLst/>
                      <a:gdLst>
                        <a:gd name="T0" fmla="*/ 4 w 192"/>
                        <a:gd name="T1" fmla="*/ 4 h 196"/>
                        <a:gd name="T2" fmla="*/ 8 w 192"/>
                        <a:gd name="T3" fmla="*/ 0 h 196"/>
                        <a:gd name="T4" fmla="*/ 8 w 192"/>
                        <a:gd name="T5" fmla="*/ 0 h 196"/>
                        <a:gd name="T6" fmla="*/ 8 w 192"/>
                        <a:gd name="T7" fmla="*/ 8 h 196"/>
                        <a:gd name="T8" fmla="*/ 8 w 192"/>
                        <a:gd name="T9" fmla="*/ 4 h 196"/>
                        <a:gd name="T10" fmla="*/ 19 w 192"/>
                        <a:gd name="T11" fmla="*/ 4 h 196"/>
                        <a:gd name="T12" fmla="*/ 21 w 192"/>
                        <a:gd name="T13" fmla="*/ 8 h 196"/>
                        <a:gd name="T14" fmla="*/ 23 w 192"/>
                        <a:gd name="T15" fmla="*/ 8 h 196"/>
                        <a:gd name="T16" fmla="*/ 29 w 192"/>
                        <a:gd name="T17" fmla="*/ 8 h 196"/>
                        <a:gd name="T18" fmla="*/ 31 w 192"/>
                        <a:gd name="T19" fmla="*/ 4 h 196"/>
                        <a:gd name="T20" fmla="*/ 33 w 192"/>
                        <a:gd name="T21" fmla="*/ 8 h 196"/>
                        <a:gd name="T22" fmla="*/ 31 w 192"/>
                        <a:gd name="T23" fmla="*/ 8 h 196"/>
                        <a:gd name="T24" fmla="*/ 30 w 192"/>
                        <a:gd name="T25" fmla="*/ 8 h 196"/>
                        <a:gd name="T26" fmla="*/ 28 w 192"/>
                        <a:gd name="T27" fmla="*/ 8 h 196"/>
                        <a:gd name="T28" fmla="*/ 25 w 192"/>
                        <a:gd name="T29" fmla="*/ 8 h 196"/>
                        <a:gd name="T30" fmla="*/ 24 w 192"/>
                        <a:gd name="T31" fmla="*/ 8 h 196"/>
                        <a:gd name="T32" fmla="*/ 24 w 192"/>
                        <a:gd name="T33" fmla="*/ 15 h 196"/>
                        <a:gd name="T34" fmla="*/ 22 w 192"/>
                        <a:gd name="T35" fmla="*/ 15 h 196"/>
                        <a:gd name="T36" fmla="*/ 21 w 192"/>
                        <a:gd name="T37" fmla="*/ 23 h 196"/>
                        <a:gd name="T38" fmla="*/ 21 w 192"/>
                        <a:gd name="T39" fmla="*/ 34 h 196"/>
                        <a:gd name="T40" fmla="*/ 20 w 192"/>
                        <a:gd name="T41" fmla="*/ 34 h 196"/>
                        <a:gd name="T42" fmla="*/ 20 w 192"/>
                        <a:gd name="T43" fmla="*/ 36 h 196"/>
                        <a:gd name="T44" fmla="*/ 17 w 192"/>
                        <a:gd name="T45" fmla="*/ 34 h 196"/>
                        <a:gd name="T46" fmla="*/ 14 w 192"/>
                        <a:gd name="T47" fmla="*/ 34 h 196"/>
                        <a:gd name="T48" fmla="*/ 14 w 192"/>
                        <a:gd name="T49" fmla="*/ 33 h 196"/>
                        <a:gd name="T50" fmla="*/ 14 w 192"/>
                        <a:gd name="T51" fmla="*/ 33 h 196"/>
                        <a:gd name="T52" fmla="*/ 11 w 192"/>
                        <a:gd name="T53" fmla="*/ 34 h 196"/>
                        <a:gd name="T54" fmla="*/ 8 w 192"/>
                        <a:gd name="T55" fmla="*/ 30 h 196"/>
                        <a:gd name="T56" fmla="*/ 8 w 192"/>
                        <a:gd name="T57" fmla="*/ 28 h 196"/>
                        <a:gd name="T58" fmla="*/ 8 w 192"/>
                        <a:gd name="T59" fmla="*/ 21 h 196"/>
                        <a:gd name="T60" fmla="*/ 8 w 192"/>
                        <a:gd name="T61" fmla="*/ 18 h 196"/>
                        <a:gd name="T62" fmla="*/ 8 w 192"/>
                        <a:gd name="T63" fmla="*/ 8 h 196"/>
                        <a:gd name="T64" fmla="*/ 0 w 192"/>
                        <a:gd name="T65" fmla="*/ 8 h 196"/>
                        <a:gd name="T66" fmla="*/ 4 w 192"/>
                        <a:gd name="T67" fmla="*/ 4 h 19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192"/>
                        <a:gd name="T103" fmla="*/ 0 h 196"/>
                        <a:gd name="T104" fmla="*/ 192 w 192"/>
                        <a:gd name="T105" fmla="*/ 196 h 196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192" h="196">
                          <a:moveTo>
                            <a:pt x="4" y="4"/>
                          </a:moveTo>
                          <a:lnTo>
                            <a:pt x="9" y="0"/>
                          </a:lnTo>
                          <a:lnTo>
                            <a:pt x="27" y="0"/>
                          </a:lnTo>
                          <a:lnTo>
                            <a:pt x="40" y="8"/>
                          </a:lnTo>
                          <a:lnTo>
                            <a:pt x="49" y="4"/>
                          </a:lnTo>
                          <a:lnTo>
                            <a:pt x="103" y="4"/>
                          </a:lnTo>
                          <a:lnTo>
                            <a:pt x="116" y="17"/>
                          </a:lnTo>
                          <a:lnTo>
                            <a:pt x="134" y="17"/>
                          </a:lnTo>
                          <a:lnTo>
                            <a:pt x="170" y="8"/>
                          </a:lnTo>
                          <a:lnTo>
                            <a:pt x="178" y="4"/>
                          </a:lnTo>
                          <a:lnTo>
                            <a:pt x="192" y="13"/>
                          </a:lnTo>
                          <a:lnTo>
                            <a:pt x="178" y="17"/>
                          </a:lnTo>
                          <a:lnTo>
                            <a:pt x="174" y="26"/>
                          </a:lnTo>
                          <a:lnTo>
                            <a:pt x="165" y="17"/>
                          </a:lnTo>
                          <a:lnTo>
                            <a:pt x="147" y="22"/>
                          </a:lnTo>
                          <a:lnTo>
                            <a:pt x="138" y="22"/>
                          </a:lnTo>
                          <a:lnTo>
                            <a:pt x="138" y="80"/>
                          </a:lnTo>
                          <a:lnTo>
                            <a:pt x="125" y="80"/>
                          </a:lnTo>
                          <a:lnTo>
                            <a:pt x="120" y="125"/>
                          </a:lnTo>
                          <a:lnTo>
                            <a:pt x="120" y="187"/>
                          </a:lnTo>
                          <a:lnTo>
                            <a:pt x="111" y="187"/>
                          </a:lnTo>
                          <a:lnTo>
                            <a:pt x="111" y="196"/>
                          </a:lnTo>
                          <a:lnTo>
                            <a:pt x="94" y="192"/>
                          </a:lnTo>
                          <a:lnTo>
                            <a:pt x="80" y="192"/>
                          </a:lnTo>
                          <a:lnTo>
                            <a:pt x="80" y="183"/>
                          </a:lnTo>
                          <a:lnTo>
                            <a:pt x="76" y="183"/>
                          </a:lnTo>
                          <a:lnTo>
                            <a:pt x="67" y="187"/>
                          </a:lnTo>
                          <a:lnTo>
                            <a:pt x="53" y="169"/>
                          </a:lnTo>
                          <a:lnTo>
                            <a:pt x="49" y="160"/>
                          </a:lnTo>
                          <a:lnTo>
                            <a:pt x="40" y="111"/>
                          </a:lnTo>
                          <a:lnTo>
                            <a:pt x="40" y="93"/>
                          </a:lnTo>
                          <a:lnTo>
                            <a:pt x="22" y="44"/>
                          </a:lnTo>
                          <a:lnTo>
                            <a:pt x="0" y="22"/>
                          </a:lnTo>
                          <a:lnTo>
                            <a:pt x="4" y="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8" name="Freeform 50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783" y="2302"/>
                      <a:ext cx="215" cy="164"/>
                    </a:xfrm>
                    <a:custGeom>
                      <a:avLst/>
                      <a:gdLst>
                        <a:gd name="T0" fmla="*/ 0 w 228"/>
                        <a:gd name="T1" fmla="*/ 22 h 174"/>
                        <a:gd name="T2" fmla="*/ 0 w 228"/>
                        <a:gd name="T3" fmla="*/ 24 h 174"/>
                        <a:gd name="T4" fmla="*/ 8 w 228"/>
                        <a:gd name="T5" fmla="*/ 25 h 174"/>
                        <a:gd name="T6" fmla="*/ 8 w 228"/>
                        <a:gd name="T7" fmla="*/ 27 h 174"/>
                        <a:gd name="T8" fmla="*/ 8 w 228"/>
                        <a:gd name="T9" fmla="*/ 28 h 174"/>
                        <a:gd name="T10" fmla="*/ 8 w 228"/>
                        <a:gd name="T11" fmla="*/ 27 h 174"/>
                        <a:gd name="T12" fmla="*/ 8 w 228"/>
                        <a:gd name="T13" fmla="*/ 30 h 174"/>
                        <a:gd name="T14" fmla="*/ 8 w 228"/>
                        <a:gd name="T15" fmla="*/ 30 h 174"/>
                        <a:gd name="T16" fmla="*/ 8 w 228"/>
                        <a:gd name="T17" fmla="*/ 28 h 174"/>
                        <a:gd name="T18" fmla="*/ 8 w 228"/>
                        <a:gd name="T19" fmla="*/ 30 h 174"/>
                        <a:gd name="T20" fmla="*/ 8 w 228"/>
                        <a:gd name="T21" fmla="*/ 28 h 174"/>
                        <a:gd name="T22" fmla="*/ 9 w 228"/>
                        <a:gd name="T23" fmla="*/ 26 h 174"/>
                        <a:gd name="T24" fmla="*/ 9 w 228"/>
                        <a:gd name="T25" fmla="*/ 25 h 174"/>
                        <a:gd name="T26" fmla="*/ 12 w 228"/>
                        <a:gd name="T27" fmla="*/ 24 h 174"/>
                        <a:gd name="T28" fmla="*/ 17 w 228"/>
                        <a:gd name="T29" fmla="*/ 25 h 174"/>
                        <a:gd name="T30" fmla="*/ 19 w 228"/>
                        <a:gd name="T31" fmla="*/ 27 h 174"/>
                        <a:gd name="T32" fmla="*/ 22 w 228"/>
                        <a:gd name="T33" fmla="*/ 26 h 174"/>
                        <a:gd name="T34" fmla="*/ 24 w 228"/>
                        <a:gd name="T35" fmla="*/ 26 h 174"/>
                        <a:gd name="T36" fmla="*/ 27 w 228"/>
                        <a:gd name="T37" fmla="*/ 25 h 174"/>
                        <a:gd name="T38" fmla="*/ 29 w 228"/>
                        <a:gd name="T39" fmla="*/ 26 h 174"/>
                        <a:gd name="T40" fmla="*/ 33 w 228"/>
                        <a:gd name="T41" fmla="*/ 25 h 174"/>
                        <a:gd name="T42" fmla="*/ 33 w 228"/>
                        <a:gd name="T43" fmla="*/ 23 h 174"/>
                        <a:gd name="T44" fmla="*/ 33 w 228"/>
                        <a:gd name="T45" fmla="*/ 22 h 174"/>
                        <a:gd name="T46" fmla="*/ 37 w 228"/>
                        <a:gd name="T47" fmla="*/ 19 h 174"/>
                        <a:gd name="T48" fmla="*/ 38 w 228"/>
                        <a:gd name="T49" fmla="*/ 10 h 174"/>
                        <a:gd name="T50" fmla="*/ 39 w 228"/>
                        <a:gd name="T51" fmla="*/ 8 h 174"/>
                        <a:gd name="T52" fmla="*/ 38 w 228"/>
                        <a:gd name="T53" fmla="*/ 8 h 174"/>
                        <a:gd name="T54" fmla="*/ 38 w 228"/>
                        <a:gd name="T55" fmla="*/ 8 h 174"/>
                        <a:gd name="T56" fmla="*/ 37 w 228"/>
                        <a:gd name="T57" fmla="*/ 4 h 174"/>
                        <a:gd name="T58" fmla="*/ 35 w 228"/>
                        <a:gd name="T59" fmla="*/ 8 h 174"/>
                        <a:gd name="T60" fmla="*/ 33 w 228"/>
                        <a:gd name="T61" fmla="*/ 0 h 174"/>
                        <a:gd name="T62" fmla="*/ 29 w 228"/>
                        <a:gd name="T63" fmla="*/ 0 h 174"/>
                        <a:gd name="T64" fmla="*/ 17 w 228"/>
                        <a:gd name="T65" fmla="*/ 8 h 174"/>
                        <a:gd name="T66" fmla="*/ 9 w 228"/>
                        <a:gd name="T67" fmla="*/ 10 h 174"/>
                        <a:gd name="T68" fmla="*/ 9 w 228"/>
                        <a:gd name="T69" fmla="*/ 18 h 174"/>
                        <a:gd name="T70" fmla="*/ 9 w 228"/>
                        <a:gd name="T71" fmla="*/ 20 h 174"/>
                        <a:gd name="T72" fmla="*/ 8 w 228"/>
                        <a:gd name="T73" fmla="*/ 21 h 174"/>
                        <a:gd name="T74" fmla="*/ 8 w 228"/>
                        <a:gd name="T75" fmla="*/ 21 h 174"/>
                        <a:gd name="T76" fmla="*/ 8 w 228"/>
                        <a:gd name="T77" fmla="*/ 21 h 174"/>
                        <a:gd name="T78" fmla="*/ 8 w 228"/>
                        <a:gd name="T79" fmla="*/ 22 h 174"/>
                        <a:gd name="T80" fmla="*/ 0 w 228"/>
                        <a:gd name="T81" fmla="*/ 22 h 174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228"/>
                        <a:gd name="T124" fmla="*/ 0 h 174"/>
                        <a:gd name="T125" fmla="*/ 228 w 228"/>
                        <a:gd name="T126" fmla="*/ 174 h 174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228" h="174">
                          <a:moveTo>
                            <a:pt x="0" y="129"/>
                          </a:moveTo>
                          <a:lnTo>
                            <a:pt x="0" y="138"/>
                          </a:lnTo>
                          <a:lnTo>
                            <a:pt x="9" y="152"/>
                          </a:lnTo>
                          <a:lnTo>
                            <a:pt x="9" y="161"/>
                          </a:lnTo>
                          <a:lnTo>
                            <a:pt x="18" y="165"/>
                          </a:lnTo>
                          <a:lnTo>
                            <a:pt x="27" y="161"/>
                          </a:lnTo>
                          <a:lnTo>
                            <a:pt x="27" y="174"/>
                          </a:lnTo>
                          <a:lnTo>
                            <a:pt x="31" y="174"/>
                          </a:lnTo>
                          <a:lnTo>
                            <a:pt x="40" y="165"/>
                          </a:lnTo>
                          <a:lnTo>
                            <a:pt x="54" y="174"/>
                          </a:lnTo>
                          <a:lnTo>
                            <a:pt x="54" y="165"/>
                          </a:lnTo>
                          <a:lnTo>
                            <a:pt x="58" y="156"/>
                          </a:lnTo>
                          <a:lnTo>
                            <a:pt x="58" y="147"/>
                          </a:lnTo>
                          <a:lnTo>
                            <a:pt x="71" y="143"/>
                          </a:lnTo>
                          <a:lnTo>
                            <a:pt x="94" y="147"/>
                          </a:lnTo>
                          <a:lnTo>
                            <a:pt x="107" y="161"/>
                          </a:lnTo>
                          <a:lnTo>
                            <a:pt x="121" y="156"/>
                          </a:lnTo>
                          <a:lnTo>
                            <a:pt x="138" y="156"/>
                          </a:lnTo>
                          <a:lnTo>
                            <a:pt x="156" y="152"/>
                          </a:lnTo>
                          <a:lnTo>
                            <a:pt x="170" y="156"/>
                          </a:lnTo>
                          <a:lnTo>
                            <a:pt x="188" y="147"/>
                          </a:lnTo>
                          <a:lnTo>
                            <a:pt x="188" y="134"/>
                          </a:lnTo>
                          <a:lnTo>
                            <a:pt x="192" y="125"/>
                          </a:lnTo>
                          <a:lnTo>
                            <a:pt x="214" y="107"/>
                          </a:lnTo>
                          <a:lnTo>
                            <a:pt x="219" y="62"/>
                          </a:lnTo>
                          <a:lnTo>
                            <a:pt x="228" y="44"/>
                          </a:lnTo>
                          <a:lnTo>
                            <a:pt x="219" y="35"/>
                          </a:lnTo>
                          <a:lnTo>
                            <a:pt x="219" y="22"/>
                          </a:lnTo>
                          <a:lnTo>
                            <a:pt x="210" y="4"/>
                          </a:lnTo>
                          <a:lnTo>
                            <a:pt x="197" y="13"/>
                          </a:lnTo>
                          <a:lnTo>
                            <a:pt x="192" y="0"/>
                          </a:lnTo>
                          <a:lnTo>
                            <a:pt x="170" y="0"/>
                          </a:lnTo>
                          <a:lnTo>
                            <a:pt x="94" y="53"/>
                          </a:lnTo>
                          <a:lnTo>
                            <a:pt x="58" y="62"/>
                          </a:lnTo>
                          <a:lnTo>
                            <a:pt x="58" y="98"/>
                          </a:lnTo>
                          <a:lnTo>
                            <a:pt x="58" y="111"/>
                          </a:lnTo>
                          <a:lnTo>
                            <a:pt x="49" y="120"/>
                          </a:lnTo>
                          <a:lnTo>
                            <a:pt x="22" y="120"/>
                          </a:lnTo>
                          <a:lnTo>
                            <a:pt x="13" y="120"/>
                          </a:lnTo>
                          <a:lnTo>
                            <a:pt x="9" y="129"/>
                          </a:lnTo>
                          <a:lnTo>
                            <a:pt x="0" y="12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39" name="Freeform 5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821" y="2437"/>
                      <a:ext cx="152" cy="139"/>
                    </a:xfrm>
                    <a:custGeom>
                      <a:avLst/>
                      <a:gdLst>
                        <a:gd name="T0" fmla="*/ 5 w 161"/>
                        <a:gd name="T1" fmla="*/ 22 h 147"/>
                        <a:gd name="T2" fmla="*/ 0 w 161"/>
                        <a:gd name="T3" fmla="*/ 19 h 147"/>
                        <a:gd name="T4" fmla="*/ 0 w 161"/>
                        <a:gd name="T5" fmla="*/ 16 h 147"/>
                        <a:gd name="T6" fmla="*/ 8 w 161"/>
                        <a:gd name="T7" fmla="*/ 15 h 147"/>
                        <a:gd name="T8" fmla="*/ 8 w 161"/>
                        <a:gd name="T9" fmla="*/ 13 h 147"/>
                        <a:gd name="T10" fmla="*/ 8 w 161"/>
                        <a:gd name="T11" fmla="*/ 9 h 147"/>
                        <a:gd name="T12" fmla="*/ 8 w 161"/>
                        <a:gd name="T13" fmla="*/ 9 h 147"/>
                        <a:gd name="T14" fmla="*/ 8 w 161"/>
                        <a:gd name="T15" fmla="*/ 9 h 147"/>
                        <a:gd name="T16" fmla="*/ 8 w 161"/>
                        <a:gd name="T17" fmla="*/ 9 h 147"/>
                        <a:gd name="T18" fmla="*/ 8 w 161"/>
                        <a:gd name="T19" fmla="*/ 9 h 147"/>
                        <a:gd name="T20" fmla="*/ 8 w 161"/>
                        <a:gd name="T21" fmla="*/ 4 h 147"/>
                        <a:gd name="T22" fmla="*/ 8 w 161"/>
                        <a:gd name="T23" fmla="*/ 0 h 147"/>
                        <a:gd name="T24" fmla="*/ 8 w 161"/>
                        <a:gd name="T25" fmla="*/ 4 h 147"/>
                        <a:gd name="T26" fmla="*/ 12 w 161"/>
                        <a:gd name="T27" fmla="*/ 9 h 147"/>
                        <a:gd name="T28" fmla="*/ 15 w 161"/>
                        <a:gd name="T29" fmla="*/ 9 h 147"/>
                        <a:gd name="T30" fmla="*/ 19 w 161"/>
                        <a:gd name="T31" fmla="*/ 9 h 147"/>
                        <a:gd name="T32" fmla="*/ 22 w 161"/>
                        <a:gd name="T33" fmla="*/ 9 h 147"/>
                        <a:gd name="T34" fmla="*/ 24 w 161"/>
                        <a:gd name="T35" fmla="*/ 9 h 147"/>
                        <a:gd name="T36" fmla="*/ 26 w 161"/>
                        <a:gd name="T37" fmla="*/ 4 h 147"/>
                        <a:gd name="T38" fmla="*/ 26 w 161"/>
                        <a:gd name="T39" fmla="*/ 9 h 147"/>
                        <a:gd name="T40" fmla="*/ 28 w 161"/>
                        <a:gd name="T41" fmla="*/ 9 h 147"/>
                        <a:gd name="T42" fmla="*/ 28 w 161"/>
                        <a:gd name="T43" fmla="*/ 9 h 147"/>
                        <a:gd name="T44" fmla="*/ 26 w 161"/>
                        <a:gd name="T45" fmla="*/ 9 h 147"/>
                        <a:gd name="T46" fmla="*/ 26 w 161"/>
                        <a:gd name="T47" fmla="*/ 13 h 147"/>
                        <a:gd name="T48" fmla="*/ 25 w 161"/>
                        <a:gd name="T49" fmla="*/ 13 h 147"/>
                        <a:gd name="T50" fmla="*/ 25 w 161"/>
                        <a:gd name="T51" fmla="*/ 16 h 147"/>
                        <a:gd name="T52" fmla="*/ 24 w 161"/>
                        <a:gd name="T53" fmla="*/ 17 h 147"/>
                        <a:gd name="T54" fmla="*/ 22 w 161"/>
                        <a:gd name="T55" fmla="*/ 21 h 147"/>
                        <a:gd name="T56" fmla="*/ 20 w 161"/>
                        <a:gd name="T57" fmla="*/ 20 h 147"/>
                        <a:gd name="T58" fmla="*/ 19 w 161"/>
                        <a:gd name="T59" fmla="*/ 20 h 147"/>
                        <a:gd name="T60" fmla="*/ 17 w 161"/>
                        <a:gd name="T61" fmla="*/ 24 h 147"/>
                        <a:gd name="T62" fmla="*/ 16 w 161"/>
                        <a:gd name="T63" fmla="*/ 25 h 147"/>
                        <a:gd name="T64" fmla="*/ 15 w 161"/>
                        <a:gd name="T65" fmla="*/ 25 h 147"/>
                        <a:gd name="T66" fmla="*/ 15 w 161"/>
                        <a:gd name="T67" fmla="*/ 25 h 147"/>
                        <a:gd name="T68" fmla="*/ 12 w 161"/>
                        <a:gd name="T69" fmla="*/ 25 h 147"/>
                        <a:gd name="T70" fmla="*/ 11 w 161"/>
                        <a:gd name="T71" fmla="*/ 25 h 147"/>
                        <a:gd name="T72" fmla="*/ 9 w 161"/>
                        <a:gd name="T73" fmla="*/ 26 h 147"/>
                        <a:gd name="T74" fmla="*/ 8 w 161"/>
                        <a:gd name="T75" fmla="*/ 27 h 147"/>
                        <a:gd name="T76" fmla="*/ 8 w 161"/>
                        <a:gd name="T77" fmla="*/ 25 h 147"/>
                        <a:gd name="T78" fmla="*/ 8 w 161"/>
                        <a:gd name="T79" fmla="*/ 24 h 147"/>
                        <a:gd name="T80" fmla="*/ 8 w 161"/>
                        <a:gd name="T81" fmla="*/ 22 h 147"/>
                        <a:gd name="T82" fmla="*/ 5 w 161"/>
                        <a:gd name="T83" fmla="*/ 22 h 147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w 161"/>
                        <a:gd name="T127" fmla="*/ 0 h 147"/>
                        <a:gd name="T128" fmla="*/ 161 w 161"/>
                        <a:gd name="T129" fmla="*/ 147 h 147"/>
                      </a:gdLst>
                      <a:ahLst/>
                      <a:cxnLst>
                        <a:cxn ang="T84">
                          <a:pos x="T0" y="T1"/>
                        </a:cxn>
                        <a:cxn ang="T85">
                          <a:pos x="T2" y="T3"/>
                        </a:cxn>
                        <a:cxn ang="T86">
                          <a:pos x="T4" y="T5"/>
                        </a:cxn>
                        <a:cxn ang="T87">
                          <a:pos x="T6" y="T7"/>
                        </a:cxn>
                        <a:cxn ang="T88">
                          <a:pos x="T8" y="T9"/>
                        </a:cxn>
                        <a:cxn ang="T89">
                          <a:pos x="T10" y="T11"/>
                        </a:cxn>
                        <a:cxn ang="T90">
                          <a:pos x="T12" y="T13"/>
                        </a:cxn>
                        <a:cxn ang="T91">
                          <a:pos x="T14" y="T15"/>
                        </a:cxn>
                        <a:cxn ang="T92">
                          <a:pos x="T16" y="T17"/>
                        </a:cxn>
                        <a:cxn ang="T93">
                          <a:pos x="T18" y="T19"/>
                        </a:cxn>
                        <a:cxn ang="T94">
                          <a:pos x="T20" y="T21"/>
                        </a:cxn>
                        <a:cxn ang="T95">
                          <a:pos x="T22" y="T23"/>
                        </a:cxn>
                        <a:cxn ang="T96">
                          <a:pos x="T24" y="T25"/>
                        </a:cxn>
                        <a:cxn ang="T97">
                          <a:pos x="T26" y="T27"/>
                        </a:cxn>
                        <a:cxn ang="T98">
                          <a:pos x="T28" y="T29"/>
                        </a:cxn>
                        <a:cxn ang="T99">
                          <a:pos x="T30" y="T31"/>
                        </a:cxn>
                        <a:cxn ang="T100">
                          <a:pos x="T32" y="T33"/>
                        </a:cxn>
                        <a:cxn ang="T101">
                          <a:pos x="T34" y="T35"/>
                        </a:cxn>
                        <a:cxn ang="T102">
                          <a:pos x="T36" y="T37"/>
                        </a:cxn>
                        <a:cxn ang="T103">
                          <a:pos x="T38" y="T39"/>
                        </a:cxn>
                        <a:cxn ang="T104">
                          <a:pos x="T40" y="T41"/>
                        </a:cxn>
                        <a:cxn ang="T105">
                          <a:pos x="T42" y="T43"/>
                        </a:cxn>
                        <a:cxn ang="T106">
                          <a:pos x="T44" y="T45"/>
                        </a:cxn>
                        <a:cxn ang="T107">
                          <a:pos x="T46" y="T47"/>
                        </a:cxn>
                        <a:cxn ang="T108">
                          <a:pos x="T48" y="T49"/>
                        </a:cxn>
                        <a:cxn ang="T109">
                          <a:pos x="T50" y="T51"/>
                        </a:cxn>
                        <a:cxn ang="T110">
                          <a:pos x="T52" y="T53"/>
                        </a:cxn>
                        <a:cxn ang="T111">
                          <a:pos x="T54" y="T55"/>
                        </a:cxn>
                        <a:cxn ang="T112">
                          <a:pos x="T56" y="T57"/>
                        </a:cxn>
                        <a:cxn ang="T113">
                          <a:pos x="T58" y="T59"/>
                        </a:cxn>
                        <a:cxn ang="T114">
                          <a:pos x="T60" y="T61"/>
                        </a:cxn>
                        <a:cxn ang="T115">
                          <a:pos x="T62" y="T63"/>
                        </a:cxn>
                        <a:cxn ang="T116">
                          <a:pos x="T64" y="T65"/>
                        </a:cxn>
                        <a:cxn ang="T117">
                          <a:pos x="T66" y="T67"/>
                        </a:cxn>
                        <a:cxn ang="T118">
                          <a:pos x="T68" y="T69"/>
                        </a:cxn>
                        <a:cxn ang="T119">
                          <a:pos x="T70" y="T71"/>
                        </a:cxn>
                        <a:cxn ang="T120">
                          <a:pos x="T72" y="T73"/>
                        </a:cxn>
                        <a:cxn ang="T121">
                          <a:pos x="T74" y="T75"/>
                        </a:cxn>
                        <a:cxn ang="T122">
                          <a:pos x="T76" y="T77"/>
                        </a:cxn>
                        <a:cxn ang="T123">
                          <a:pos x="T78" y="T79"/>
                        </a:cxn>
                        <a:cxn ang="T124">
                          <a:pos x="T80" y="T81"/>
                        </a:cxn>
                        <a:cxn ang="T125">
                          <a:pos x="T82" y="T83"/>
                        </a:cxn>
                      </a:cxnLst>
                      <a:rect l="T126" t="T127" r="T128" b="T129"/>
                      <a:pathLst>
                        <a:path w="161" h="147">
                          <a:moveTo>
                            <a:pt x="5" y="111"/>
                          </a:moveTo>
                          <a:lnTo>
                            <a:pt x="0" y="98"/>
                          </a:lnTo>
                          <a:lnTo>
                            <a:pt x="0" y="80"/>
                          </a:lnTo>
                          <a:lnTo>
                            <a:pt x="9" y="76"/>
                          </a:lnTo>
                          <a:lnTo>
                            <a:pt x="14" y="67"/>
                          </a:lnTo>
                          <a:lnTo>
                            <a:pt x="14" y="49"/>
                          </a:lnTo>
                          <a:lnTo>
                            <a:pt x="9" y="40"/>
                          </a:lnTo>
                          <a:lnTo>
                            <a:pt x="14" y="31"/>
                          </a:lnTo>
                          <a:lnTo>
                            <a:pt x="14" y="22"/>
                          </a:lnTo>
                          <a:lnTo>
                            <a:pt x="18" y="13"/>
                          </a:lnTo>
                          <a:lnTo>
                            <a:pt x="18" y="4"/>
                          </a:lnTo>
                          <a:lnTo>
                            <a:pt x="31" y="0"/>
                          </a:lnTo>
                          <a:lnTo>
                            <a:pt x="54" y="4"/>
                          </a:lnTo>
                          <a:lnTo>
                            <a:pt x="67" y="18"/>
                          </a:lnTo>
                          <a:lnTo>
                            <a:pt x="81" y="13"/>
                          </a:lnTo>
                          <a:lnTo>
                            <a:pt x="98" y="13"/>
                          </a:lnTo>
                          <a:lnTo>
                            <a:pt x="116" y="9"/>
                          </a:lnTo>
                          <a:lnTo>
                            <a:pt x="130" y="13"/>
                          </a:lnTo>
                          <a:lnTo>
                            <a:pt x="148" y="4"/>
                          </a:lnTo>
                          <a:lnTo>
                            <a:pt x="152" y="9"/>
                          </a:lnTo>
                          <a:lnTo>
                            <a:pt x="161" y="22"/>
                          </a:lnTo>
                          <a:lnTo>
                            <a:pt x="161" y="35"/>
                          </a:lnTo>
                          <a:lnTo>
                            <a:pt x="152" y="40"/>
                          </a:lnTo>
                          <a:lnTo>
                            <a:pt x="148" y="67"/>
                          </a:lnTo>
                          <a:lnTo>
                            <a:pt x="143" y="67"/>
                          </a:lnTo>
                          <a:lnTo>
                            <a:pt x="139" y="80"/>
                          </a:lnTo>
                          <a:lnTo>
                            <a:pt x="130" y="85"/>
                          </a:lnTo>
                          <a:lnTo>
                            <a:pt x="116" y="107"/>
                          </a:lnTo>
                          <a:lnTo>
                            <a:pt x="107" y="102"/>
                          </a:lnTo>
                          <a:lnTo>
                            <a:pt x="98" y="102"/>
                          </a:lnTo>
                          <a:lnTo>
                            <a:pt x="90" y="129"/>
                          </a:lnTo>
                          <a:lnTo>
                            <a:pt x="85" y="134"/>
                          </a:lnTo>
                          <a:lnTo>
                            <a:pt x="81" y="134"/>
                          </a:lnTo>
                          <a:lnTo>
                            <a:pt x="81" y="138"/>
                          </a:lnTo>
                          <a:lnTo>
                            <a:pt x="67" y="138"/>
                          </a:lnTo>
                          <a:lnTo>
                            <a:pt x="63" y="134"/>
                          </a:lnTo>
                          <a:lnTo>
                            <a:pt x="58" y="143"/>
                          </a:lnTo>
                          <a:lnTo>
                            <a:pt x="49" y="147"/>
                          </a:lnTo>
                          <a:lnTo>
                            <a:pt x="40" y="138"/>
                          </a:lnTo>
                          <a:lnTo>
                            <a:pt x="36" y="129"/>
                          </a:lnTo>
                          <a:lnTo>
                            <a:pt x="23" y="116"/>
                          </a:lnTo>
                          <a:lnTo>
                            <a:pt x="5" y="11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0" name="Freeform 52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560" y="2457"/>
                      <a:ext cx="38" cy="29"/>
                    </a:xfrm>
                    <a:custGeom>
                      <a:avLst/>
                      <a:gdLst>
                        <a:gd name="T0" fmla="*/ 0 w 40"/>
                        <a:gd name="T1" fmla="*/ 7 h 31"/>
                        <a:gd name="T2" fmla="*/ 5 w 40"/>
                        <a:gd name="T3" fmla="*/ 7 h 31"/>
                        <a:gd name="T4" fmla="*/ 10 w 40"/>
                        <a:gd name="T5" fmla="*/ 7 h 31"/>
                        <a:gd name="T6" fmla="*/ 10 w 40"/>
                        <a:gd name="T7" fmla="*/ 7 h 31"/>
                        <a:gd name="T8" fmla="*/ 10 w 40"/>
                        <a:gd name="T9" fmla="*/ 7 h 31"/>
                        <a:gd name="T10" fmla="*/ 10 w 40"/>
                        <a:gd name="T11" fmla="*/ 7 h 31"/>
                        <a:gd name="T12" fmla="*/ 10 w 40"/>
                        <a:gd name="T13" fmla="*/ 7 h 31"/>
                        <a:gd name="T14" fmla="*/ 10 w 40"/>
                        <a:gd name="T15" fmla="*/ 7 h 31"/>
                        <a:gd name="T16" fmla="*/ 10 w 40"/>
                        <a:gd name="T17" fmla="*/ 7 h 31"/>
                        <a:gd name="T18" fmla="*/ 10 w 40"/>
                        <a:gd name="T19" fmla="*/ 7 h 31"/>
                        <a:gd name="T20" fmla="*/ 10 w 40"/>
                        <a:gd name="T21" fmla="*/ 5 h 31"/>
                        <a:gd name="T22" fmla="*/ 10 w 40"/>
                        <a:gd name="T23" fmla="*/ 0 h 31"/>
                        <a:gd name="T24" fmla="*/ 0 w 40"/>
                        <a:gd name="T25" fmla="*/ 7 h 31"/>
                        <a:gd name="T26" fmla="*/ 10 w 40"/>
                        <a:gd name="T27" fmla="*/ 7 h 31"/>
                        <a:gd name="T28" fmla="*/ 9 w 40"/>
                        <a:gd name="T29" fmla="*/ 7 h 31"/>
                        <a:gd name="T30" fmla="*/ 9 w 40"/>
                        <a:gd name="T31" fmla="*/ 7 h 31"/>
                        <a:gd name="T32" fmla="*/ 5 w 40"/>
                        <a:gd name="T33" fmla="*/ 7 h 31"/>
                        <a:gd name="T34" fmla="*/ 5 w 40"/>
                        <a:gd name="T35" fmla="*/ 7 h 31"/>
                        <a:gd name="T36" fmla="*/ 5 w 40"/>
                        <a:gd name="T37" fmla="*/ 7 h 31"/>
                        <a:gd name="T38" fmla="*/ 10 w 40"/>
                        <a:gd name="T39" fmla="*/ 7 h 31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w 40"/>
                        <a:gd name="T61" fmla="*/ 0 h 31"/>
                        <a:gd name="T62" fmla="*/ 40 w 40"/>
                        <a:gd name="T63" fmla="*/ 31 h 31"/>
                      </a:gdLst>
                      <a:ahLst/>
                      <a:cxnLst>
                        <a:cxn ang="T40">
                          <a:pos x="T0" y="T1"/>
                        </a:cxn>
                        <a:cxn ang="T41">
                          <a:pos x="T2" y="T3"/>
                        </a:cxn>
                        <a:cxn ang="T42">
                          <a:pos x="T4" y="T5"/>
                        </a:cxn>
                        <a:cxn ang="T43">
                          <a:pos x="T6" y="T7"/>
                        </a:cxn>
                        <a:cxn ang="T44">
                          <a:pos x="T8" y="T9"/>
                        </a:cxn>
                        <a:cxn ang="T45">
                          <a:pos x="T10" y="T11"/>
                        </a:cxn>
                        <a:cxn ang="T46">
                          <a:pos x="T12" y="T13"/>
                        </a:cxn>
                        <a:cxn ang="T47">
                          <a:pos x="T14" y="T15"/>
                        </a:cxn>
                        <a:cxn ang="T48">
                          <a:pos x="T16" y="T17"/>
                        </a:cxn>
                        <a:cxn ang="T49">
                          <a:pos x="T18" y="T19"/>
                        </a:cxn>
                        <a:cxn ang="T50">
                          <a:pos x="T20" y="T21"/>
                        </a:cxn>
                        <a:cxn ang="T51">
                          <a:pos x="T22" y="T23"/>
                        </a:cxn>
                        <a:cxn ang="T52">
                          <a:pos x="T24" y="T25"/>
                        </a:cxn>
                        <a:cxn ang="T53">
                          <a:pos x="T26" y="T27"/>
                        </a:cxn>
                        <a:cxn ang="T54">
                          <a:pos x="T28" y="T29"/>
                        </a:cxn>
                        <a:cxn ang="T55">
                          <a:pos x="T30" y="T31"/>
                        </a:cxn>
                        <a:cxn ang="T56">
                          <a:pos x="T32" y="T33"/>
                        </a:cxn>
                        <a:cxn ang="T57">
                          <a:pos x="T34" y="T35"/>
                        </a:cxn>
                        <a:cxn ang="T58">
                          <a:pos x="T36" y="T37"/>
                        </a:cxn>
                        <a:cxn ang="T59">
                          <a:pos x="T38" y="T39"/>
                        </a:cxn>
                      </a:cxnLst>
                      <a:rect l="T60" t="T61" r="T62" b="T63"/>
                      <a:pathLst>
                        <a:path w="40" h="31">
                          <a:moveTo>
                            <a:pt x="0" y="9"/>
                          </a:moveTo>
                          <a:lnTo>
                            <a:pt x="5" y="13"/>
                          </a:lnTo>
                          <a:lnTo>
                            <a:pt x="14" y="13"/>
                          </a:lnTo>
                          <a:lnTo>
                            <a:pt x="14" y="18"/>
                          </a:lnTo>
                          <a:lnTo>
                            <a:pt x="23" y="13"/>
                          </a:lnTo>
                          <a:lnTo>
                            <a:pt x="14" y="22"/>
                          </a:lnTo>
                          <a:lnTo>
                            <a:pt x="14" y="27"/>
                          </a:lnTo>
                          <a:lnTo>
                            <a:pt x="23" y="31"/>
                          </a:lnTo>
                          <a:lnTo>
                            <a:pt x="27" y="22"/>
                          </a:lnTo>
                          <a:lnTo>
                            <a:pt x="40" y="13"/>
                          </a:lnTo>
                          <a:lnTo>
                            <a:pt x="40" y="5"/>
                          </a:lnTo>
                          <a:lnTo>
                            <a:pt x="27" y="0"/>
                          </a:lnTo>
                          <a:lnTo>
                            <a:pt x="0" y="9"/>
                          </a:lnTo>
                          <a:close/>
                          <a:moveTo>
                            <a:pt x="14" y="22"/>
                          </a:moveTo>
                          <a:lnTo>
                            <a:pt x="9" y="22"/>
                          </a:lnTo>
                          <a:lnTo>
                            <a:pt x="9" y="18"/>
                          </a:lnTo>
                          <a:lnTo>
                            <a:pt x="5" y="18"/>
                          </a:lnTo>
                          <a:lnTo>
                            <a:pt x="5" y="22"/>
                          </a:lnTo>
                          <a:lnTo>
                            <a:pt x="5" y="31"/>
                          </a:lnTo>
                          <a:lnTo>
                            <a:pt x="14" y="2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1" name="Freeform 5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526" y="2926"/>
                      <a:ext cx="13" cy="9"/>
                    </a:xfrm>
                    <a:custGeom>
                      <a:avLst/>
                      <a:gdLst>
                        <a:gd name="T0" fmla="*/ 7 w 14"/>
                        <a:gd name="T1" fmla="*/ 0 h 9"/>
                        <a:gd name="T2" fmla="*/ 0 w 14"/>
                        <a:gd name="T3" fmla="*/ 0 h 9"/>
                        <a:gd name="T4" fmla="*/ 0 w 14"/>
                        <a:gd name="T5" fmla="*/ 5 h 9"/>
                        <a:gd name="T6" fmla="*/ 5 w 14"/>
                        <a:gd name="T7" fmla="*/ 9 h 9"/>
                        <a:gd name="T8" fmla="*/ 7 w 14"/>
                        <a:gd name="T9" fmla="*/ 9 h 9"/>
                        <a:gd name="T10" fmla="*/ 7 w 14"/>
                        <a:gd name="T11" fmla="*/ 5 h 9"/>
                        <a:gd name="T12" fmla="*/ 7 w 14"/>
                        <a:gd name="T13" fmla="*/ 5 h 9"/>
                        <a:gd name="T14" fmla="*/ 7 w 14"/>
                        <a:gd name="T15" fmla="*/ 0 h 9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w 14"/>
                        <a:gd name="T25" fmla="*/ 0 h 9"/>
                        <a:gd name="T26" fmla="*/ 14 w 14"/>
                        <a:gd name="T27" fmla="*/ 9 h 9"/>
                      </a:gdLst>
                      <a:ahLst/>
                      <a:cxnLst>
                        <a:cxn ang="T16">
                          <a:pos x="T0" y="T1"/>
                        </a:cxn>
                        <a:cxn ang="T17">
                          <a:pos x="T2" y="T3"/>
                        </a:cxn>
                        <a:cxn ang="T18">
                          <a:pos x="T4" y="T5"/>
                        </a:cxn>
                        <a:cxn ang="T19">
                          <a:pos x="T6" y="T7"/>
                        </a:cxn>
                        <a:cxn ang="T20">
                          <a:pos x="T8" y="T9"/>
                        </a:cxn>
                        <a:cxn ang="T21">
                          <a:pos x="T10" y="T11"/>
                        </a:cxn>
                        <a:cxn ang="T22">
                          <a:pos x="T12" y="T13"/>
                        </a:cxn>
                        <a:cxn ang="T23">
                          <a:pos x="T14" y="T15"/>
                        </a:cxn>
                      </a:cxnLst>
                      <a:rect l="T24" t="T25" r="T26" b="T27"/>
                      <a:pathLst>
                        <a:path w="14" h="9">
                          <a:moveTo>
                            <a:pt x="9" y="0"/>
                          </a:moveTo>
                          <a:lnTo>
                            <a:pt x="0" y="0"/>
                          </a:lnTo>
                          <a:lnTo>
                            <a:pt x="0" y="5"/>
                          </a:lnTo>
                          <a:lnTo>
                            <a:pt x="5" y="9"/>
                          </a:lnTo>
                          <a:lnTo>
                            <a:pt x="9" y="9"/>
                          </a:lnTo>
                          <a:lnTo>
                            <a:pt x="14" y="5"/>
                          </a:lnTo>
                          <a:lnTo>
                            <a:pt x="9" y="5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2" name="Freeform 54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75" y="2647"/>
                      <a:ext cx="22" cy="21"/>
                    </a:xfrm>
                    <a:custGeom>
                      <a:avLst/>
                      <a:gdLst>
                        <a:gd name="T0" fmla="*/ 0 w 23"/>
                        <a:gd name="T1" fmla="*/ 11 h 22"/>
                        <a:gd name="T2" fmla="*/ 0 w 23"/>
                        <a:gd name="T3" fmla="*/ 11 h 22"/>
                        <a:gd name="T4" fmla="*/ 0 w 23"/>
                        <a:gd name="T5" fmla="*/ 9 h 22"/>
                        <a:gd name="T6" fmla="*/ 9 w 23"/>
                        <a:gd name="T7" fmla="*/ 5 h 22"/>
                        <a:gd name="T8" fmla="*/ 11 w 23"/>
                        <a:gd name="T9" fmla="*/ 0 h 22"/>
                        <a:gd name="T10" fmla="*/ 11 w 23"/>
                        <a:gd name="T11" fmla="*/ 5 h 22"/>
                        <a:gd name="T12" fmla="*/ 11 w 23"/>
                        <a:gd name="T13" fmla="*/ 11 h 22"/>
                        <a:gd name="T14" fmla="*/ 11 w 23"/>
                        <a:gd name="T15" fmla="*/ 11 h 22"/>
                        <a:gd name="T16" fmla="*/ 9 w 23"/>
                        <a:gd name="T17" fmla="*/ 11 h 22"/>
                        <a:gd name="T18" fmla="*/ 0 w 23"/>
                        <a:gd name="T19" fmla="*/ 11 h 22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3"/>
                        <a:gd name="T31" fmla="*/ 0 h 22"/>
                        <a:gd name="T32" fmla="*/ 23 w 23"/>
                        <a:gd name="T33" fmla="*/ 22 h 22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3" h="22">
                          <a:moveTo>
                            <a:pt x="0" y="22"/>
                          </a:moveTo>
                          <a:lnTo>
                            <a:pt x="0" y="14"/>
                          </a:lnTo>
                          <a:lnTo>
                            <a:pt x="0" y="9"/>
                          </a:lnTo>
                          <a:lnTo>
                            <a:pt x="9" y="5"/>
                          </a:lnTo>
                          <a:lnTo>
                            <a:pt x="18" y="0"/>
                          </a:lnTo>
                          <a:lnTo>
                            <a:pt x="23" y="5"/>
                          </a:lnTo>
                          <a:lnTo>
                            <a:pt x="23" y="18"/>
                          </a:lnTo>
                          <a:lnTo>
                            <a:pt x="14" y="18"/>
                          </a:lnTo>
                          <a:lnTo>
                            <a:pt x="9" y="22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3" name="Freeform 55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872" y="2609"/>
                      <a:ext cx="12" cy="26"/>
                    </a:xfrm>
                    <a:custGeom>
                      <a:avLst/>
                      <a:gdLst>
                        <a:gd name="T0" fmla="*/ 4 w 13"/>
                        <a:gd name="T1" fmla="*/ 13 h 27"/>
                        <a:gd name="T2" fmla="*/ 4 w 13"/>
                        <a:gd name="T3" fmla="*/ 13 h 27"/>
                        <a:gd name="T4" fmla="*/ 6 w 13"/>
                        <a:gd name="T5" fmla="*/ 13 h 27"/>
                        <a:gd name="T6" fmla="*/ 4 w 13"/>
                        <a:gd name="T7" fmla="*/ 13 h 27"/>
                        <a:gd name="T8" fmla="*/ 0 w 13"/>
                        <a:gd name="T9" fmla="*/ 13 h 27"/>
                        <a:gd name="T10" fmla="*/ 0 w 13"/>
                        <a:gd name="T11" fmla="*/ 13 h 27"/>
                        <a:gd name="T12" fmla="*/ 4 w 13"/>
                        <a:gd name="T13" fmla="*/ 13 h 27"/>
                        <a:gd name="T14" fmla="*/ 6 w 13"/>
                        <a:gd name="T15" fmla="*/ 0 h 27"/>
                        <a:gd name="T16" fmla="*/ 6 w 13"/>
                        <a:gd name="T17" fmla="*/ 0 h 27"/>
                        <a:gd name="T18" fmla="*/ 6 w 13"/>
                        <a:gd name="T19" fmla="*/ 4 h 27"/>
                        <a:gd name="T20" fmla="*/ 6 w 13"/>
                        <a:gd name="T21" fmla="*/ 0 h 27"/>
                        <a:gd name="T22" fmla="*/ 6 w 13"/>
                        <a:gd name="T23" fmla="*/ 0 h 27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w 13"/>
                        <a:gd name="T37" fmla="*/ 0 h 27"/>
                        <a:gd name="T38" fmla="*/ 13 w 13"/>
                        <a:gd name="T39" fmla="*/ 27 h 27"/>
                      </a:gdLst>
                      <a:ahLst/>
                      <a:cxnLst>
                        <a:cxn ang="T24">
                          <a:pos x="T0" y="T1"/>
                        </a:cxn>
                        <a:cxn ang="T25">
                          <a:pos x="T2" y="T3"/>
                        </a:cxn>
                        <a:cxn ang="T26">
                          <a:pos x="T4" y="T5"/>
                        </a:cxn>
                        <a:cxn ang="T27">
                          <a:pos x="T6" y="T7"/>
                        </a:cxn>
                        <a:cxn ang="T28">
                          <a:pos x="T8" y="T9"/>
                        </a:cxn>
                        <a:cxn ang="T29">
                          <a:pos x="T10" y="T11"/>
                        </a:cxn>
                        <a:cxn ang="T30">
                          <a:pos x="T12" y="T13"/>
                        </a:cxn>
                        <a:cxn ang="T31">
                          <a:pos x="T14" y="T15"/>
                        </a:cxn>
                        <a:cxn ang="T32">
                          <a:pos x="T16" y="T17"/>
                        </a:cxn>
                        <a:cxn ang="T33">
                          <a:pos x="T18" y="T19"/>
                        </a:cxn>
                        <a:cxn ang="T34">
                          <a:pos x="T20" y="T21"/>
                        </a:cxn>
                        <a:cxn ang="T35">
                          <a:pos x="T22" y="T23"/>
                        </a:cxn>
                      </a:cxnLst>
                      <a:rect l="T36" t="T37" r="T38" b="T39"/>
                      <a:pathLst>
                        <a:path w="13" h="27">
                          <a:moveTo>
                            <a:pt x="4" y="27"/>
                          </a:moveTo>
                          <a:lnTo>
                            <a:pt x="4" y="22"/>
                          </a:lnTo>
                          <a:lnTo>
                            <a:pt x="9" y="18"/>
                          </a:lnTo>
                          <a:lnTo>
                            <a:pt x="4" y="18"/>
                          </a:lnTo>
                          <a:lnTo>
                            <a:pt x="0" y="22"/>
                          </a:lnTo>
                          <a:lnTo>
                            <a:pt x="4" y="27"/>
                          </a:lnTo>
                          <a:close/>
                          <a:moveTo>
                            <a:pt x="13" y="0"/>
                          </a:moveTo>
                          <a:lnTo>
                            <a:pt x="9" y="0"/>
                          </a:lnTo>
                          <a:lnTo>
                            <a:pt x="13" y="4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4" name="Freeform 5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547" y="2398"/>
                      <a:ext cx="84" cy="72"/>
                    </a:xfrm>
                    <a:custGeom>
                      <a:avLst/>
                      <a:gdLst>
                        <a:gd name="T0" fmla="*/ 8 w 89"/>
                        <a:gd name="T1" fmla="*/ 9 h 76"/>
                        <a:gd name="T2" fmla="*/ 4 w 89"/>
                        <a:gd name="T3" fmla="*/ 12 h 76"/>
                        <a:gd name="T4" fmla="*/ 8 w 89"/>
                        <a:gd name="T5" fmla="*/ 15 h 76"/>
                        <a:gd name="T6" fmla="*/ 8 w 89"/>
                        <a:gd name="T7" fmla="*/ 15 h 76"/>
                        <a:gd name="T8" fmla="*/ 8 w 89"/>
                        <a:gd name="T9" fmla="*/ 12 h 76"/>
                        <a:gd name="T10" fmla="*/ 8 w 89"/>
                        <a:gd name="T11" fmla="*/ 14 h 76"/>
                        <a:gd name="T12" fmla="*/ 15 w 89"/>
                        <a:gd name="T13" fmla="*/ 14 h 76"/>
                        <a:gd name="T14" fmla="*/ 16 w 89"/>
                        <a:gd name="T15" fmla="*/ 16 h 76"/>
                        <a:gd name="T16" fmla="*/ 17 w 89"/>
                        <a:gd name="T17" fmla="*/ 15 h 76"/>
                        <a:gd name="T18" fmla="*/ 16 w 89"/>
                        <a:gd name="T19" fmla="*/ 11 h 76"/>
                        <a:gd name="T20" fmla="*/ 14 w 89"/>
                        <a:gd name="T21" fmla="*/ 9 h 76"/>
                        <a:gd name="T22" fmla="*/ 13 w 89"/>
                        <a:gd name="T23" fmla="*/ 9 h 76"/>
                        <a:gd name="T24" fmla="*/ 14 w 89"/>
                        <a:gd name="T25" fmla="*/ 9 h 76"/>
                        <a:gd name="T26" fmla="*/ 9 w 89"/>
                        <a:gd name="T27" fmla="*/ 9 h 76"/>
                        <a:gd name="T28" fmla="*/ 8 w 89"/>
                        <a:gd name="T29" fmla="*/ 9 h 76"/>
                        <a:gd name="T30" fmla="*/ 8 w 89"/>
                        <a:gd name="T31" fmla="*/ 0 h 76"/>
                        <a:gd name="T32" fmla="*/ 8 w 89"/>
                        <a:gd name="T33" fmla="*/ 5 h 76"/>
                        <a:gd name="T34" fmla="*/ 8 w 89"/>
                        <a:gd name="T35" fmla="*/ 9 h 76"/>
                        <a:gd name="T36" fmla="*/ 8 w 89"/>
                        <a:gd name="T37" fmla="*/ 9 h 76"/>
                        <a:gd name="T38" fmla="*/ 0 w 89"/>
                        <a:gd name="T39" fmla="*/ 9 h 76"/>
                        <a:gd name="T40" fmla="*/ 8 w 89"/>
                        <a:gd name="T41" fmla="*/ 9 h 76"/>
                        <a:gd name="T42" fmla="*/ 8 w 89"/>
                        <a:gd name="T43" fmla="*/ 9 h 76"/>
                        <a:gd name="T44" fmla="*/ 8 w 89"/>
                        <a:gd name="T45" fmla="*/ 9 h 76"/>
                        <a:gd name="T46" fmla="*/ 8 w 89"/>
                        <a:gd name="T47" fmla="*/ 9 h 76"/>
                        <a:gd name="T48" fmla="*/ 8 w 89"/>
                        <a:gd name="T49" fmla="*/ 9 h 76"/>
                        <a:gd name="T50" fmla="*/ 8 w 89"/>
                        <a:gd name="T51" fmla="*/ 9 h 76"/>
                        <a:gd name="T52" fmla="*/ 8 w 89"/>
                        <a:gd name="T53" fmla="*/ 9 h 76"/>
                        <a:gd name="T54" fmla="*/ 8 w 89"/>
                        <a:gd name="T55" fmla="*/ 11 h 76"/>
                        <a:gd name="T56" fmla="*/ 8 w 89"/>
                        <a:gd name="T57" fmla="*/ 9 h 7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89"/>
                        <a:gd name="T88" fmla="*/ 0 h 76"/>
                        <a:gd name="T89" fmla="*/ 89 w 89"/>
                        <a:gd name="T90" fmla="*/ 76 h 76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89" h="76">
                          <a:moveTo>
                            <a:pt x="9" y="54"/>
                          </a:moveTo>
                          <a:lnTo>
                            <a:pt x="4" y="63"/>
                          </a:lnTo>
                          <a:lnTo>
                            <a:pt x="9" y="72"/>
                          </a:lnTo>
                          <a:lnTo>
                            <a:pt x="13" y="72"/>
                          </a:lnTo>
                          <a:lnTo>
                            <a:pt x="40" y="63"/>
                          </a:lnTo>
                          <a:lnTo>
                            <a:pt x="53" y="68"/>
                          </a:lnTo>
                          <a:lnTo>
                            <a:pt x="80" y="68"/>
                          </a:lnTo>
                          <a:lnTo>
                            <a:pt x="85" y="76"/>
                          </a:lnTo>
                          <a:lnTo>
                            <a:pt x="89" y="72"/>
                          </a:lnTo>
                          <a:lnTo>
                            <a:pt x="85" y="59"/>
                          </a:lnTo>
                          <a:lnTo>
                            <a:pt x="76" y="50"/>
                          </a:lnTo>
                          <a:lnTo>
                            <a:pt x="71" y="36"/>
                          </a:lnTo>
                          <a:lnTo>
                            <a:pt x="76" y="27"/>
                          </a:lnTo>
                          <a:lnTo>
                            <a:pt x="58" y="9"/>
                          </a:lnTo>
                          <a:lnTo>
                            <a:pt x="49" y="9"/>
                          </a:lnTo>
                          <a:lnTo>
                            <a:pt x="45" y="0"/>
                          </a:lnTo>
                          <a:lnTo>
                            <a:pt x="18" y="5"/>
                          </a:lnTo>
                          <a:lnTo>
                            <a:pt x="13" y="9"/>
                          </a:lnTo>
                          <a:lnTo>
                            <a:pt x="9" y="14"/>
                          </a:lnTo>
                          <a:lnTo>
                            <a:pt x="0" y="27"/>
                          </a:lnTo>
                          <a:lnTo>
                            <a:pt x="9" y="41"/>
                          </a:lnTo>
                          <a:lnTo>
                            <a:pt x="13" y="45"/>
                          </a:lnTo>
                          <a:lnTo>
                            <a:pt x="36" y="45"/>
                          </a:lnTo>
                          <a:lnTo>
                            <a:pt x="45" y="45"/>
                          </a:lnTo>
                          <a:lnTo>
                            <a:pt x="49" y="50"/>
                          </a:lnTo>
                          <a:lnTo>
                            <a:pt x="45" y="54"/>
                          </a:lnTo>
                          <a:lnTo>
                            <a:pt x="36" y="50"/>
                          </a:lnTo>
                          <a:lnTo>
                            <a:pt x="27" y="59"/>
                          </a:lnTo>
                          <a:lnTo>
                            <a:pt x="9" y="5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5" name="Freeform 5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597" y="2495"/>
                      <a:ext cx="42" cy="43"/>
                    </a:xfrm>
                    <a:custGeom>
                      <a:avLst/>
                      <a:gdLst>
                        <a:gd name="T0" fmla="*/ 0 w 45"/>
                        <a:gd name="T1" fmla="*/ 11 h 45"/>
                        <a:gd name="T2" fmla="*/ 5 w 45"/>
                        <a:gd name="T3" fmla="*/ 11 h 45"/>
                        <a:gd name="T4" fmla="*/ 7 w 45"/>
                        <a:gd name="T5" fmla="*/ 11 h 45"/>
                        <a:gd name="T6" fmla="*/ 7 w 45"/>
                        <a:gd name="T7" fmla="*/ 11 h 45"/>
                        <a:gd name="T8" fmla="*/ 7 w 45"/>
                        <a:gd name="T9" fmla="*/ 11 h 45"/>
                        <a:gd name="T10" fmla="*/ 7 w 45"/>
                        <a:gd name="T11" fmla="*/ 11 h 45"/>
                        <a:gd name="T12" fmla="*/ 7 w 45"/>
                        <a:gd name="T13" fmla="*/ 11 h 45"/>
                        <a:gd name="T14" fmla="*/ 7 w 45"/>
                        <a:gd name="T15" fmla="*/ 11 h 45"/>
                        <a:gd name="T16" fmla="*/ 7 w 45"/>
                        <a:gd name="T17" fmla="*/ 11 h 45"/>
                        <a:gd name="T18" fmla="*/ 7 w 45"/>
                        <a:gd name="T19" fmla="*/ 11 h 45"/>
                        <a:gd name="T20" fmla="*/ 7 w 45"/>
                        <a:gd name="T21" fmla="*/ 11 h 45"/>
                        <a:gd name="T22" fmla="*/ 7 w 45"/>
                        <a:gd name="T23" fmla="*/ 11 h 45"/>
                        <a:gd name="T24" fmla="*/ 7 w 45"/>
                        <a:gd name="T25" fmla="*/ 5 h 45"/>
                        <a:gd name="T26" fmla="*/ 7 w 45"/>
                        <a:gd name="T27" fmla="*/ 0 h 45"/>
                        <a:gd name="T28" fmla="*/ 7 w 45"/>
                        <a:gd name="T29" fmla="*/ 5 h 45"/>
                        <a:gd name="T30" fmla="*/ 7 w 45"/>
                        <a:gd name="T31" fmla="*/ 9 h 45"/>
                        <a:gd name="T32" fmla="*/ 0 w 45"/>
                        <a:gd name="T33" fmla="*/ 11 h 45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5"/>
                        <a:gd name="T52" fmla="*/ 0 h 45"/>
                        <a:gd name="T53" fmla="*/ 45 w 45"/>
                        <a:gd name="T54" fmla="*/ 45 h 45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5" h="45">
                          <a:moveTo>
                            <a:pt x="0" y="14"/>
                          </a:moveTo>
                          <a:lnTo>
                            <a:pt x="5" y="27"/>
                          </a:lnTo>
                          <a:lnTo>
                            <a:pt x="9" y="27"/>
                          </a:lnTo>
                          <a:lnTo>
                            <a:pt x="9" y="36"/>
                          </a:lnTo>
                          <a:lnTo>
                            <a:pt x="27" y="45"/>
                          </a:lnTo>
                          <a:lnTo>
                            <a:pt x="32" y="40"/>
                          </a:lnTo>
                          <a:lnTo>
                            <a:pt x="41" y="36"/>
                          </a:lnTo>
                          <a:lnTo>
                            <a:pt x="41" y="32"/>
                          </a:lnTo>
                          <a:lnTo>
                            <a:pt x="45" y="32"/>
                          </a:lnTo>
                          <a:lnTo>
                            <a:pt x="45" y="23"/>
                          </a:lnTo>
                          <a:lnTo>
                            <a:pt x="41" y="23"/>
                          </a:lnTo>
                          <a:lnTo>
                            <a:pt x="41" y="14"/>
                          </a:lnTo>
                          <a:lnTo>
                            <a:pt x="36" y="5"/>
                          </a:lnTo>
                          <a:lnTo>
                            <a:pt x="32" y="0"/>
                          </a:lnTo>
                          <a:lnTo>
                            <a:pt x="14" y="5"/>
                          </a:lnTo>
                          <a:lnTo>
                            <a:pt x="9" y="9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6" name="Freeform 58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336" y="2466"/>
                      <a:ext cx="144" cy="190"/>
                    </a:xfrm>
                    <a:custGeom>
                      <a:avLst/>
                      <a:gdLst>
                        <a:gd name="T0" fmla="*/ 9 w 152"/>
                        <a:gd name="T1" fmla="*/ 38 h 201"/>
                        <a:gd name="T2" fmla="*/ 9 w 152"/>
                        <a:gd name="T3" fmla="*/ 33 h 201"/>
                        <a:gd name="T4" fmla="*/ 11 w 152"/>
                        <a:gd name="T5" fmla="*/ 27 h 201"/>
                        <a:gd name="T6" fmla="*/ 12 w 152"/>
                        <a:gd name="T7" fmla="*/ 27 h 201"/>
                        <a:gd name="T8" fmla="*/ 15 w 152"/>
                        <a:gd name="T9" fmla="*/ 26 h 201"/>
                        <a:gd name="T10" fmla="*/ 18 w 152"/>
                        <a:gd name="T11" fmla="*/ 25 h 201"/>
                        <a:gd name="T12" fmla="*/ 24 w 152"/>
                        <a:gd name="T13" fmla="*/ 19 h 201"/>
                        <a:gd name="T14" fmla="*/ 26 w 152"/>
                        <a:gd name="T15" fmla="*/ 12 h 201"/>
                        <a:gd name="T16" fmla="*/ 27 w 152"/>
                        <a:gd name="T17" fmla="*/ 9 h 201"/>
                        <a:gd name="T18" fmla="*/ 27 w 152"/>
                        <a:gd name="T19" fmla="*/ 9 h 201"/>
                        <a:gd name="T20" fmla="*/ 29 w 152"/>
                        <a:gd name="T21" fmla="*/ 9 h 201"/>
                        <a:gd name="T22" fmla="*/ 30 w 152"/>
                        <a:gd name="T23" fmla="*/ 9 h 201"/>
                        <a:gd name="T24" fmla="*/ 29 w 152"/>
                        <a:gd name="T25" fmla="*/ 9 h 201"/>
                        <a:gd name="T26" fmla="*/ 29 w 152"/>
                        <a:gd name="T27" fmla="*/ 0 h 201"/>
                        <a:gd name="T28" fmla="*/ 27 w 152"/>
                        <a:gd name="T29" fmla="*/ 0 h 201"/>
                        <a:gd name="T30" fmla="*/ 26 w 152"/>
                        <a:gd name="T31" fmla="*/ 4 h 201"/>
                        <a:gd name="T32" fmla="*/ 26 w 152"/>
                        <a:gd name="T33" fmla="*/ 4 h 201"/>
                        <a:gd name="T34" fmla="*/ 21 w 152"/>
                        <a:gd name="T35" fmla="*/ 9 h 201"/>
                        <a:gd name="T36" fmla="*/ 19 w 152"/>
                        <a:gd name="T37" fmla="*/ 9 h 201"/>
                        <a:gd name="T38" fmla="*/ 17 w 152"/>
                        <a:gd name="T39" fmla="*/ 9 h 201"/>
                        <a:gd name="T40" fmla="*/ 13 w 152"/>
                        <a:gd name="T41" fmla="*/ 9 h 201"/>
                        <a:gd name="T42" fmla="*/ 9 w 152"/>
                        <a:gd name="T43" fmla="*/ 9 h 201"/>
                        <a:gd name="T44" fmla="*/ 9 w 152"/>
                        <a:gd name="T45" fmla="*/ 9 h 201"/>
                        <a:gd name="T46" fmla="*/ 9 w 152"/>
                        <a:gd name="T47" fmla="*/ 9 h 201"/>
                        <a:gd name="T48" fmla="*/ 9 w 152"/>
                        <a:gd name="T49" fmla="*/ 9 h 201"/>
                        <a:gd name="T50" fmla="*/ 9 w 152"/>
                        <a:gd name="T51" fmla="*/ 9 h 201"/>
                        <a:gd name="T52" fmla="*/ 9 w 152"/>
                        <a:gd name="T53" fmla="*/ 9 h 201"/>
                        <a:gd name="T54" fmla="*/ 17 w 152"/>
                        <a:gd name="T55" fmla="*/ 12 h 201"/>
                        <a:gd name="T56" fmla="*/ 21 w 152"/>
                        <a:gd name="T57" fmla="*/ 12 h 201"/>
                        <a:gd name="T58" fmla="*/ 9 w 152"/>
                        <a:gd name="T59" fmla="*/ 20 h 201"/>
                        <a:gd name="T60" fmla="*/ 9 w 152"/>
                        <a:gd name="T61" fmla="*/ 21 h 201"/>
                        <a:gd name="T62" fmla="*/ 9 w 152"/>
                        <a:gd name="T63" fmla="*/ 22 h 201"/>
                        <a:gd name="T64" fmla="*/ 0 w 152"/>
                        <a:gd name="T65" fmla="*/ 24 h 201"/>
                        <a:gd name="T66" fmla="*/ 5 w 152"/>
                        <a:gd name="T67" fmla="*/ 35 h 201"/>
                        <a:gd name="T68" fmla="*/ 9 w 152"/>
                        <a:gd name="T69" fmla="*/ 38 h 201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w 152"/>
                        <a:gd name="T106" fmla="*/ 0 h 201"/>
                        <a:gd name="T107" fmla="*/ 152 w 152"/>
                        <a:gd name="T108" fmla="*/ 201 h 201"/>
                      </a:gdLst>
                      <a:ahLst/>
                      <a:cxnLst>
                        <a:cxn ang="T70">
                          <a:pos x="T0" y="T1"/>
                        </a:cxn>
                        <a:cxn ang="T71">
                          <a:pos x="T2" y="T3"/>
                        </a:cxn>
                        <a:cxn ang="T72">
                          <a:pos x="T4" y="T5"/>
                        </a:cxn>
                        <a:cxn ang="T73">
                          <a:pos x="T6" y="T7"/>
                        </a:cxn>
                        <a:cxn ang="T74">
                          <a:pos x="T8" y="T9"/>
                        </a:cxn>
                        <a:cxn ang="T75">
                          <a:pos x="T10" y="T11"/>
                        </a:cxn>
                        <a:cxn ang="T76">
                          <a:pos x="T12" y="T13"/>
                        </a:cxn>
                        <a:cxn ang="T77">
                          <a:pos x="T14" y="T15"/>
                        </a:cxn>
                        <a:cxn ang="T78">
                          <a:pos x="T16" y="T17"/>
                        </a:cxn>
                        <a:cxn ang="T79">
                          <a:pos x="T18" y="T19"/>
                        </a:cxn>
                        <a:cxn ang="T80">
                          <a:pos x="T20" y="T21"/>
                        </a:cxn>
                        <a:cxn ang="T81">
                          <a:pos x="T22" y="T23"/>
                        </a:cxn>
                        <a:cxn ang="T82">
                          <a:pos x="T24" y="T25"/>
                        </a:cxn>
                        <a:cxn ang="T83">
                          <a:pos x="T26" y="T27"/>
                        </a:cxn>
                        <a:cxn ang="T84">
                          <a:pos x="T28" y="T29"/>
                        </a:cxn>
                        <a:cxn ang="T85">
                          <a:pos x="T30" y="T31"/>
                        </a:cxn>
                        <a:cxn ang="T86">
                          <a:pos x="T32" y="T33"/>
                        </a:cxn>
                        <a:cxn ang="T87">
                          <a:pos x="T34" y="T35"/>
                        </a:cxn>
                        <a:cxn ang="T88">
                          <a:pos x="T36" y="T37"/>
                        </a:cxn>
                        <a:cxn ang="T89">
                          <a:pos x="T38" y="T39"/>
                        </a:cxn>
                        <a:cxn ang="T90">
                          <a:pos x="T40" y="T41"/>
                        </a:cxn>
                        <a:cxn ang="T91">
                          <a:pos x="T42" y="T43"/>
                        </a:cxn>
                        <a:cxn ang="T92">
                          <a:pos x="T44" y="T45"/>
                        </a:cxn>
                        <a:cxn ang="T93">
                          <a:pos x="T46" y="T47"/>
                        </a:cxn>
                        <a:cxn ang="T94">
                          <a:pos x="T48" y="T49"/>
                        </a:cxn>
                        <a:cxn ang="T95">
                          <a:pos x="T50" y="T51"/>
                        </a:cxn>
                        <a:cxn ang="T96">
                          <a:pos x="T52" y="T53"/>
                        </a:cxn>
                        <a:cxn ang="T97">
                          <a:pos x="T54" y="T55"/>
                        </a:cxn>
                        <a:cxn ang="T98">
                          <a:pos x="T56" y="T57"/>
                        </a:cxn>
                        <a:cxn ang="T99">
                          <a:pos x="T58" y="T59"/>
                        </a:cxn>
                        <a:cxn ang="T100">
                          <a:pos x="T60" y="T61"/>
                        </a:cxn>
                        <a:cxn ang="T101">
                          <a:pos x="T62" y="T63"/>
                        </a:cxn>
                        <a:cxn ang="T102">
                          <a:pos x="T64" y="T65"/>
                        </a:cxn>
                        <a:cxn ang="T103">
                          <a:pos x="T66" y="T67"/>
                        </a:cxn>
                        <a:cxn ang="T104">
                          <a:pos x="T68" y="T69"/>
                        </a:cxn>
                      </a:cxnLst>
                      <a:rect l="T105" t="T106" r="T107" b="T108"/>
                      <a:pathLst>
                        <a:path w="152" h="201">
                          <a:moveTo>
                            <a:pt x="9" y="201"/>
                          </a:moveTo>
                          <a:lnTo>
                            <a:pt x="31" y="179"/>
                          </a:lnTo>
                          <a:lnTo>
                            <a:pt x="58" y="147"/>
                          </a:lnTo>
                          <a:lnTo>
                            <a:pt x="63" y="147"/>
                          </a:lnTo>
                          <a:lnTo>
                            <a:pt x="72" y="139"/>
                          </a:lnTo>
                          <a:lnTo>
                            <a:pt x="85" y="134"/>
                          </a:lnTo>
                          <a:lnTo>
                            <a:pt x="116" y="94"/>
                          </a:lnTo>
                          <a:lnTo>
                            <a:pt x="130" y="63"/>
                          </a:lnTo>
                          <a:lnTo>
                            <a:pt x="143" y="45"/>
                          </a:lnTo>
                          <a:lnTo>
                            <a:pt x="139" y="40"/>
                          </a:lnTo>
                          <a:lnTo>
                            <a:pt x="148" y="27"/>
                          </a:lnTo>
                          <a:lnTo>
                            <a:pt x="152" y="22"/>
                          </a:lnTo>
                          <a:lnTo>
                            <a:pt x="148" y="22"/>
                          </a:lnTo>
                          <a:lnTo>
                            <a:pt x="148" y="0"/>
                          </a:lnTo>
                          <a:lnTo>
                            <a:pt x="139" y="0"/>
                          </a:lnTo>
                          <a:lnTo>
                            <a:pt x="134" y="4"/>
                          </a:lnTo>
                          <a:lnTo>
                            <a:pt x="130" y="4"/>
                          </a:lnTo>
                          <a:lnTo>
                            <a:pt x="103" y="13"/>
                          </a:lnTo>
                          <a:lnTo>
                            <a:pt x="89" y="13"/>
                          </a:lnTo>
                          <a:lnTo>
                            <a:pt x="81" y="22"/>
                          </a:lnTo>
                          <a:lnTo>
                            <a:pt x="67" y="18"/>
                          </a:lnTo>
                          <a:lnTo>
                            <a:pt x="54" y="22"/>
                          </a:lnTo>
                          <a:lnTo>
                            <a:pt x="36" y="9"/>
                          </a:lnTo>
                          <a:lnTo>
                            <a:pt x="31" y="13"/>
                          </a:lnTo>
                          <a:lnTo>
                            <a:pt x="27" y="22"/>
                          </a:lnTo>
                          <a:lnTo>
                            <a:pt x="36" y="36"/>
                          </a:lnTo>
                          <a:lnTo>
                            <a:pt x="45" y="45"/>
                          </a:lnTo>
                          <a:lnTo>
                            <a:pt x="81" y="63"/>
                          </a:lnTo>
                          <a:lnTo>
                            <a:pt x="103" y="63"/>
                          </a:lnTo>
                          <a:lnTo>
                            <a:pt x="54" y="103"/>
                          </a:lnTo>
                          <a:lnTo>
                            <a:pt x="27" y="107"/>
                          </a:lnTo>
                          <a:lnTo>
                            <a:pt x="18" y="116"/>
                          </a:lnTo>
                          <a:lnTo>
                            <a:pt x="0" y="130"/>
                          </a:lnTo>
                          <a:lnTo>
                            <a:pt x="5" y="183"/>
                          </a:lnTo>
                          <a:lnTo>
                            <a:pt x="9" y="20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7" name="Freeform 59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999" y="2943"/>
                      <a:ext cx="228" cy="202"/>
                    </a:xfrm>
                    <a:custGeom>
                      <a:avLst/>
                      <a:gdLst>
                        <a:gd name="T0" fmla="*/ 9 w 241"/>
                        <a:gd name="T1" fmla="*/ 21 h 214"/>
                        <a:gd name="T2" fmla="*/ 9 w 241"/>
                        <a:gd name="T3" fmla="*/ 31 h 214"/>
                        <a:gd name="T4" fmla="*/ 9 w 241"/>
                        <a:gd name="T5" fmla="*/ 34 h 214"/>
                        <a:gd name="T6" fmla="*/ 9 w 241"/>
                        <a:gd name="T7" fmla="*/ 38 h 214"/>
                        <a:gd name="T8" fmla="*/ 9 w 241"/>
                        <a:gd name="T9" fmla="*/ 38 h 214"/>
                        <a:gd name="T10" fmla="*/ 16 w 241"/>
                        <a:gd name="T11" fmla="*/ 37 h 214"/>
                        <a:gd name="T12" fmla="*/ 20 w 241"/>
                        <a:gd name="T13" fmla="*/ 36 h 214"/>
                        <a:gd name="T14" fmla="*/ 24 w 241"/>
                        <a:gd name="T15" fmla="*/ 36 h 214"/>
                        <a:gd name="T16" fmla="*/ 25 w 241"/>
                        <a:gd name="T17" fmla="*/ 34 h 214"/>
                        <a:gd name="T18" fmla="*/ 30 w 241"/>
                        <a:gd name="T19" fmla="*/ 34 h 214"/>
                        <a:gd name="T20" fmla="*/ 34 w 241"/>
                        <a:gd name="T21" fmla="*/ 31 h 214"/>
                        <a:gd name="T22" fmla="*/ 40 w 241"/>
                        <a:gd name="T23" fmla="*/ 26 h 214"/>
                        <a:gd name="T24" fmla="*/ 44 w 241"/>
                        <a:gd name="T25" fmla="*/ 21 h 214"/>
                        <a:gd name="T26" fmla="*/ 44 w 241"/>
                        <a:gd name="T27" fmla="*/ 18 h 214"/>
                        <a:gd name="T28" fmla="*/ 46 w 241"/>
                        <a:gd name="T29" fmla="*/ 17 h 214"/>
                        <a:gd name="T30" fmla="*/ 44 w 241"/>
                        <a:gd name="T31" fmla="*/ 15 h 214"/>
                        <a:gd name="T32" fmla="*/ 40 w 241"/>
                        <a:gd name="T33" fmla="*/ 16 h 214"/>
                        <a:gd name="T34" fmla="*/ 40 w 241"/>
                        <a:gd name="T35" fmla="*/ 11 h 214"/>
                        <a:gd name="T36" fmla="*/ 42 w 241"/>
                        <a:gd name="T37" fmla="*/ 11 h 214"/>
                        <a:gd name="T38" fmla="*/ 44 w 241"/>
                        <a:gd name="T39" fmla="*/ 9 h 214"/>
                        <a:gd name="T40" fmla="*/ 42 w 241"/>
                        <a:gd name="T41" fmla="*/ 8 h 214"/>
                        <a:gd name="T42" fmla="*/ 38 w 241"/>
                        <a:gd name="T43" fmla="*/ 0 h 214"/>
                        <a:gd name="T44" fmla="*/ 36 w 241"/>
                        <a:gd name="T45" fmla="*/ 4 h 214"/>
                        <a:gd name="T46" fmla="*/ 28 w 241"/>
                        <a:gd name="T47" fmla="*/ 8 h 214"/>
                        <a:gd name="T48" fmla="*/ 26 w 241"/>
                        <a:gd name="T49" fmla="*/ 8 h 214"/>
                        <a:gd name="T50" fmla="*/ 22 w 241"/>
                        <a:gd name="T51" fmla="*/ 11 h 214"/>
                        <a:gd name="T52" fmla="*/ 20 w 241"/>
                        <a:gd name="T53" fmla="*/ 8 h 214"/>
                        <a:gd name="T54" fmla="*/ 17 w 241"/>
                        <a:gd name="T55" fmla="*/ 14 h 214"/>
                        <a:gd name="T56" fmla="*/ 11 w 241"/>
                        <a:gd name="T57" fmla="*/ 13 h 214"/>
                        <a:gd name="T58" fmla="*/ 9 w 241"/>
                        <a:gd name="T59" fmla="*/ 8 h 214"/>
                        <a:gd name="T60" fmla="*/ 9 w 241"/>
                        <a:gd name="T61" fmla="*/ 20 h 214"/>
                        <a:gd name="T62" fmla="*/ 9 w 241"/>
                        <a:gd name="T63" fmla="*/ 21 h 214"/>
                        <a:gd name="T64" fmla="*/ 9 w 241"/>
                        <a:gd name="T65" fmla="*/ 19 h 214"/>
                        <a:gd name="T66" fmla="*/ 0 w 241"/>
                        <a:gd name="T67" fmla="*/ 20 h 214"/>
                        <a:gd name="T68" fmla="*/ 32 w 241"/>
                        <a:gd name="T69" fmla="*/ 24 h 214"/>
                        <a:gd name="T70" fmla="*/ 36 w 241"/>
                        <a:gd name="T71" fmla="*/ 23 h 214"/>
                        <a:gd name="T72" fmla="*/ 36 w 241"/>
                        <a:gd name="T73" fmla="*/ 20 h 214"/>
                        <a:gd name="T74" fmla="*/ 30 w 241"/>
                        <a:gd name="T75" fmla="*/ 22 h 214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w 241"/>
                        <a:gd name="T115" fmla="*/ 0 h 214"/>
                        <a:gd name="T116" fmla="*/ 241 w 241"/>
                        <a:gd name="T117" fmla="*/ 214 h 214"/>
                      </a:gdLst>
                      <a:ahLst/>
                      <a:cxnLst>
                        <a:cxn ang="T76">
                          <a:pos x="T0" y="T1"/>
                        </a:cxn>
                        <a:cxn ang="T77">
                          <a:pos x="T2" y="T3"/>
                        </a:cxn>
                        <a:cxn ang="T78">
                          <a:pos x="T4" y="T5"/>
                        </a:cxn>
                        <a:cxn ang="T79">
                          <a:pos x="T6" y="T7"/>
                        </a:cxn>
                        <a:cxn ang="T80">
                          <a:pos x="T8" y="T9"/>
                        </a:cxn>
                        <a:cxn ang="T81">
                          <a:pos x="T10" y="T11"/>
                        </a:cxn>
                        <a:cxn ang="T82">
                          <a:pos x="T12" y="T13"/>
                        </a:cxn>
                        <a:cxn ang="T83">
                          <a:pos x="T14" y="T15"/>
                        </a:cxn>
                        <a:cxn ang="T84">
                          <a:pos x="T16" y="T17"/>
                        </a:cxn>
                        <a:cxn ang="T85">
                          <a:pos x="T18" y="T19"/>
                        </a:cxn>
                        <a:cxn ang="T86">
                          <a:pos x="T20" y="T21"/>
                        </a:cxn>
                        <a:cxn ang="T87">
                          <a:pos x="T22" y="T23"/>
                        </a:cxn>
                        <a:cxn ang="T88">
                          <a:pos x="T24" y="T25"/>
                        </a:cxn>
                        <a:cxn ang="T89">
                          <a:pos x="T26" y="T27"/>
                        </a:cxn>
                        <a:cxn ang="T90">
                          <a:pos x="T28" y="T29"/>
                        </a:cxn>
                        <a:cxn ang="T91">
                          <a:pos x="T30" y="T31"/>
                        </a:cxn>
                        <a:cxn ang="T92">
                          <a:pos x="T32" y="T33"/>
                        </a:cxn>
                        <a:cxn ang="T93">
                          <a:pos x="T34" y="T35"/>
                        </a:cxn>
                        <a:cxn ang="T94">
                          <a:pos x="T36" y="T37"/>
                        </a:cxn>
                        <a:cxn ang="T95">
                          <a:pos x="T38" y="T39"/>
                        </a:cxn>
                        <a:cxn ang="T96">
                          <a:pos x="T40" y="T41"/>
                        </a:cxn>
                        <a:cxn ang="T97">
                          <a:pos x="T42" y="T43"/>
                        </a:cxn>
                        <a:cxn ang="T98">
                          <a:pos x="T44" y="T45"/>
                        </a:cxn>
                        <a:cxn ang="T99">
                          <a:pos x="T46" y="T47"/>
                        </a:cxn>
                        <a:cxn ang="T100">
                          <a:pos x="T48" y="T49"/>
                        </a:cxn>
                        <a:cxn ang="T101">
                          <a:pos x="T50" y="T51"/>
                        </a:cxn>
                        <a:cxn ang="T102">
                          <a:pos x="T52" y="T53"/>
                        </a:cxn>
                        <a:cxn ang="T103">
                          <a:pos x="T54" y="T55"/>
                        </a:cxn>
                        <a:cxn ang="T104">
                          <a:pos x="T56" y="T57"/>
                        </a:cxn>
                        <a:cxn ang="T105">
                          <a:pos x="T58" y="T59"/>
                        </a:cxn>
                        <a:cxn ang="T106">
                          <a:pos x="T60" y="T61"/>
                        </a:cxn>
                        <a:cxn ang="T107">
                          <a:pos x="T62" y="T63"/>
                        </a:cxn>
                        <a:cxn ang="T108">
                          <a:pos x="T64" y="T65"/>
                        </a:cxn>
                        <a:cxn ang="T109">
                          <a:pos x="T66" y="T67"/>
                        </a:cxn>
                        <a:cxn ang="T110">
                          <a:pos x="T68" y="T69"/>
                        </a:cxn>
                        <a:cxn ang="T111">
                          <a:pos x="T70" y="T71"/>
                        </a:cxn>
                        <a:cxn ang="T112">
                          <a:pos x="T72" y="T73"/>
                        </a:cxn>
                        <a:cxn ang="T113">
                          <a:pos x="T74" y="T75"/>
                        </a:cxn>
                      </a:cxnLst>
                      <a:rect l="T114" t="T115" r="T116" b="T117"/>
                      <a:pathLst>
                        <a:path w="241" h="214">
                          <a:moveTo>
                            <a:pt x="0" y="107"/>
                          </a:moveTo>
                          <a:lnTo>
                            <a:pt x="9" y="112"/>
                          </a:lnTo>
                          <a:lnTo>
                            <a:pt x="27" y="156"/>
                          </a:lnTo>
                          <a:lnTo>
                            <a:pt x="27" y="174"/>
                          </a:lnTo>
                          <a:lnTo>
                            <a:pt x="22" y="174"/>
                          </a:lnTo>
                          <a:lnTo>
                            <a:pt x="31" y="192"/>
                          </a:lnTo>
                          <a:lnTo>
                            <a:pt x="27" y="197"/>
                          </a:lnTo>
                          <a:lnTo>
                            <a:pt x="31" y="210"/>
                          </a:lnTo>
                          <a:lnTo>
                            <a:pt x="36" y="206"/>
                          </a:lnTo>
                          <a:lnTo>
                            <a:pt x="53" y="214"/>
                          </a:lnTo>
                          <a:lnTo>
                            <a:pt x="58" y="206"/>
                          </a:lnTo>
                          <a:lnTo>
                            <a:pt x="80" y="206"/>
                          </a:lnTo>
                          <a:lnTo>
                            <a:pt x="80" y="201"/>
                          </a:lnTo>
                          <a:lnTo>
                            <a:pt x="98" y="201"/>
                          </a:lnTo>
                          <a:lnTo>
                            <a:pt x="120" y="206"/>
                          </a:lnTo>
                          <a:lnTo>
                            <a:pt x="125" y="201"/>
                          </a:lnTo>
                          <a:lnTo>
                            <a:pt x="138" y="201"/>
                          </a:lnTo>
                          <a:lnTo>
                            <a:pt x="134" y="192"/>
                          </a:lnTo>
                          <a:lnTo>
                            <a:pt x="152" y="197"/>
                          </a:lnTo>
                          <a:lnTo>
                            <a:pt x="156" y="192"/>
                          </a:lnTo>
                          <a:lnTo>
                            <a:pt x="161" y="183"/>
                          </a:lnTo>
                          <a:lnTo>
                            <a:pt x="174" y="174"/>
                          </a:lnTo>
                          <a:lnTo>
                            <a:pt x="192" y="156"/>
                          </a:lnTo>
                          <a:lnTo>
                            <a:pt x="205" y="147"/>
                          </a:lnTo>
                          <a:lnTo>
                            <a:pt x="223" y="116"/>
                          </a:lnTo>
                          <a:lnTo>
                            <a:pt x="232" y="112"/>
                          </a:lnTo>
                          <a:lnTo>
                            <a:pt x="237" y="103"/>
                          </a:lnTo>
                          <a:lnTo>
                            <a:pt x="237" y="94"/>
                          </a:lnTo>
                          <a:lnTo>
                            <a:pt x="237" y="85"/>
                          </a:lnTo>
                          <a:lnTo>
                            <a:pt x="241" y="89"/>
                          </a:lnTo>
                          <a:lnTo>
                            <a:pt x="241" y="76"/>
                          </a:lnTo>
                          <a:lnTo>
                            <a:pt x="228" y="80"/>
                          </a:lnTo>
                          <a:lnTo>
                            <a:pt x="223" y="85"/>
                          </a:lnTo>
                          <a:lnTo>
                            <a:pt x="210" y="85"/>
                          </a:lnTo>
                          <a:lnTo>
                            <a:pt x="205" y="80"/>
                          </a:lnTo>
                          <a:lnTo>
                            <a:pt x="210" y="63"/>
                          </a:lnTo>
                          <a:lnTo>
                            <a:pt x="219" y="58"/>
                          </a:lnTo>
                          <a:lnTo>
                            <a:pt x="223" y="63"/>
                          </a:lnTo>
                          <a:lnTo>
                            <a:pt x="228" y="63"/>
                          </a:lnTo>
                          <a:lnTo>
                            <a:pt x="228" y="58"/>
                          </a:lnTo>
                          <a:lnTo>
                            <a:pt x="228" y="49"/>
                          </a:lnTo>
                          <a:lnTo>
                            <a:pt x="223" y="13"/>
                          </a:lnTo>
                          <a:lnTo>
                            <a:pt x="223" y="9"/>
                          </a:lnTo>
                          <a:lnTo>
                            <a:pt x="201" y="0"/>
                          </a:lnTo>
                          <a:lnTo>
                            <a:pt x="192" y="0"/>
                          </a:lnTo>
                          <a:lnTo>
                            <a:pt x="187" y="4"/>
                          </a:lnTo>
                          <a:lnTo>
                            <a:pt x="174" y="9"/>
                          </a:lnTo>
                          <a:lnTo>
                            <a:pt x="152" y="31"/>
                          </a:lnTo>
                          <a:lnTo>
                            <a:pt x="152" y="36"/>
                          </a:lnTo>
                          <a:lnTo>
                            <a:pt x="138" y="45"/>
                          </a:lnTo>
                          <a:lnTo>
                            <a:pt x="134" y="58"/>
                          </a:lnTo>
                          <a:lnTo>
                            <a:pt x="111" y="63"/>
                          </a:lnTo>
                          <a:lnTo>
                            <a:pt x="107" y="58"/>
                          </a:lnTo>
                          <a:lnTo>
                            <a:pt x="103" y="54"/>
                          </a:lnTo>
                          <a:lnTo>
                            <a:pt x="98" y="54"/>
                          </a:lnTo>
                          <a:lnTo>
                            <a:pt x="85" y="76"/>
                          </a:lnTo>
                          <a:lnTo>
                            <a:pt x="62" y="80"/>
                          </a:lnTo>
                          <a:lnTo>
                            <a:pt x="62" y="71"/>
                          </a:lnTo>
                          <a:lnTo>
                            <a:pt x="62" y="63"/>
                          </a:lnTo>
                          <a:lnTo>
                            <a:pt x="53" y="45"/>
                          </a:lnTo>
                          <a:lnTo>
                            <a:pt x="53" y="107"/>
                          </a:lnTo>
                          <a:lnTo>
                            <a:pt x="44" y="107"/>
                          </a:lnTo>
                          <a:lnTo>
                            <a:pt x="44" y="116"/>
                          </a:lnTo>
                          <a:lnTo>
                            <a:pt x="27" y="112"/>
                          </a:lnTo>
                          <a:lnTo>
                            <a:pt x="13" y="112"/>
                          </a:lnTo>
                          <a:lnTo>
                            <a:pt x="13" y="103"/>
                          </a:lnTo>
                          <a:lnTo>
                            <a:pt x="9" y="103"/>
                          </a:lnTo>
                          <a:lnTo>
                            <a:pt x="0" y="107"/>
                          </a:lnTo>
                          <a:close/>
                          <a:moveTo>
                            <a:pt x="165" y="134"/>
                          </a:moveTo>
                          <a:lnTo>
                            <a:pt x="170" y="138"/>
                          </a:lnTo>
                          <a:lnTo>
                            <a:pt x="174" y="134"/>
                          </a:lnTo>
                          <a:lnTo>
                            <a:pt x="187" y="130"/>
                          </a:lnTo>
                          <a:lnTo>
                            <a:pt x="196" y="121"/>
                          </a:lnTo>
                          <a:lnTo>
                            <a:pt x="183" y="107"/>
                          </a:lnTo>
                          <a:lnTo>
                            <a:pt x="165" y="112"/>
                          </a:lnTo>
                          <a:lnTo>
                            <a:pt x="156" y="121"/>
                          </a:lnTo>
                          <a:lnTo>
                            <a:pt x="165" y="13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8" name="Freeform 60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17" y="2850"/>
                      <a:ext cx="113" cy="101"/>
                    </a:xfrm>
                    <a:custGeom>
                      <a:avLst/>
                      <a:gdLst>
                        <a:gd name="T0" fmla="*/ 11 w 120"/>
                        <a:gd name="T1" fmla="*/ 19 h 107"/>
                        <a:gd name="T2" fmla="*/ 11 w 120"/>
                        <a:gd name="T3" fmla="*/ 18 h 107"/>
                        <a:gd name="T4" fmla="*/ 8 w 120"/>
                        <a:gd name="T5" fmla="*/ 18 h 107"/>
                        <a:gd name="T6" fmla="*/ 8 w 120"/>
                        <a:gd name="T7" fmla="*/ 14 h 107"/>
                        <a:gd name="T8" fmla="*/ 8 w 120"/>
                        <a:gd name="T9" fmla="*/ 8 h 107"/>
                        <a:gd name="T10" fmla="*/ 0 w 120"/>
                        <a:gd name="T11" fmla="*/ 8 h 107"/>
                        <a:gd name="T12" fmla="*/ 8 w 120"/>
                        <a:gd name="T13" fmla="*/ 8 h 107"/>
                        <a:gd name="T14" fmla="*/ 8 w 120"/>
                        <a:gd name="T15" fmla="*/ 8 h 107"/>
                        <a:gd name="T16" fmla="*/ 8 w 120"/>
                        <a:gd name="T17" fmla="*/ 8 h 107"/>
                        <a:gd name="T18" fmla="*/ 9 w 120"/>
                        <a:gd name="T19" fmla="*/ 4 h 107"/>
                        <a:gd name="T20" fmla="*/ 14 w 120"/>
                        <a:gd name="T21" fmla="*/ 0 h 107"/>
                        <a:gd name="T22" fmla="*/ 15 w 120"/>
                        <a:gd name="T23" fmla="*/ 4 h 107"/>
                        <a:gd name="T24" fmla="*/ 17 w 120"/>
                        <a:gd name="T25" fmla="*/ 4 h 107"/>
                        <a:gd name="T26" fmla="*/ 20 w 120"/>
                        <a:gd name="T27" fmla="*/ 8 h 107"/>
                        <a:gd name="T28" fmla="*/ 20 w 120"/>
                        <a:gd name="T29" fmla="*/ 8 h 107"/>
                        <a:gd name="T30" fmla="*/ 20 w 120"/>
                        <a:gd name="T31" fmla="*/ 9 h 107"/>
                        <a:gd name="T32" fmla="*/ 20 w 120"/>
                        <a:gd name="T33" fmla="*/ 12 h 107"/>
                        <a:gd name="T34" fmla="*/ 19 w 120"/>
                        <a:gd name="T35" fmla="*/ 17 h 107"/>
                        <a:gd name="T36" fmla="*/ 17 w 120"/>
                        <a:gd name="T37" fmla="*/ 20 h 107"/>
                        <a:gd name="T38" fmla="*/ 13 w 120"/>
                        <a:gd name="T39" fmla="*/ 19 h 107"/>
                        <a:gd name="T40" fmla="*/ 11 w 120"/>
                        <a:gd name="T41" fmla="*/ 19 h 107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20"/>
                        <a:gd name="T64" fmla="*/ 0 h 107"/>
                        <a:gd name="T65" fmla="*/ 120 w 120"/>
                        <a:gd name="T66" fmla="*/ 107 h 107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20" h="107">
                          <a:moveTo>
                            <a:pt x="67" y="98"/>
                          </a:moveTo>
                          <a:lnTo>
                            <a:pt x="67" y="93"/>
                          </a:lnTo>
                          <a:lnTo>
                            <a:pt x="53" y="93"/>
                          </a:lnTo>
                          <a:lnTo>
                            <a:pt x="40" y="76"/>
                          </a:lnTo>
                          <a:lnTo>
                            <a:pt x="13" y="53"/>
                          </a:lnTo>
                          <a:lnTo>
                            <a:pt x="0" y="31"/>
                          </a:lnTo>
                          <a:lnTo>
                            <a:pt x="27" y="35"/>
                          </a:lnTo>
                          <a:lnTo>
                            <a:pt x="45" y="18"/>
                          </a:lnTo>
                          <a:lnTo>
                            <a:pt x="58" y="9"/>
                          </a:lnTo>
                          <a:lnTo>
                            <a:pt x="62" y="4"/>
                          </a:lnTo>
                          <a:lnTo>
                            <a:pt x="80" y="0"/>
                          </a:lnTo>
                          <a:lnTo>
                            <a:pt x="85" y="4"/>
                          </a:lnTo>
                          <a:lnTo>
                            <a:pt x="98" y="4"/>
                          </a:lnTo>
                          <a:lnTo>
                            <a:pt x="116" y="13"/>
                          </a:lnTo>
                          <a:lnTo>
                            <a:pt x="120" y="49"/>
                          </a:lnTo>
                          <a:lnTo>
                            <a:pt x="116" y="58"/>
                          </a:lnTo>
                          <a:lnTo>
                            <a:pt x="120" y="67"/>
                          </a:lnTo>
                          <a:lnTo>
                            <a:pt x="112" y="89"/>
                          </a:lnTo>
                          <a:lnTo>
                            <a:pt x="98" y="107"/>
                          </a:lnTo>
                          <a:lnTo>
                            <a:pt x="76" y="98"/>
                          </a:lnTo>
                          <a:lnTo>
                            <a:pt x="67" y="98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9" name="Freeform 6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551" y="2234"/>
                      <a:ext cx="110" cy="101"/>
                    </a:xfrm>
                    <a:custGeom>
                      <a:avLst/>
                      <a:gdLst>
                        <a:gd name="T0" fmla="*/ 10 w 116"/>
                        <a:gd name="T1" fmla="*/ 0 h 107"/>
                        <a:gd name="T2" fmla="*/ 9 w 116"/>
                        <a:gd name="T3" fmla="*/ 8 h 107"/>
                        <a:gd name="T4" fmla="*/ 9 w 116"/>
                        <a:gd name="T5" fmla="*/ 8 h 107"/>
                        <a:gd name="T6" fmla="*/ 9 w 116"/>
                        <a:gd name="T7" fmla="*/ 8 h 107"/>
                        <a:gd name="T8" fmla="*/ 9 w 116"/>
                        <a:gd name="T9" fmla="*/ 8 h 107"/>
                        <a:gd name="T10" fmla="*/ 9 w 116"/>
                        <a:gd name="T11" fmla="*/ 9 h 107"/>
                        <a:gd name="T12" fmla="*/ 9 w 116"/>
                        <a:gd name="T13" fmla="*/ 13 h 107"/>
                        <a:gd name="T14" fmla="*/ 9 w 116"/>
                        <a:gd name="T15" fmla="*/ 14 h 107"/>
                        <a:gd name="T16" fmla="*/ 0 w 116"/>
                        <a:gd name="T17" fmla="*/ 17 h 107"/>
                        <a:gd name="T18" fmla="*/ 0 w 116"/>
                        <a:gd name="T19" fmla="*/ 18 h 107"/>
                        <a:gd name="T20" fmla="*/ 0 w 116"/>
                        <a:gd name="T21" fmla="*/ 19 h 107"/>
                        <a:gd name="T22" fmla="*/ 5 w 116"/>
                        <a:gd name="T23" fmla="*/ 20 h 107"/>
                        <a:gd name="T24" fmla="*/ 10 w 116"/>
                        <a:gd name="T25" fmla="*/ 19 h 107"/>
                        <a:gd name="T26" fmla="*/ 10 w 116"/>
                        <a:gd name="T27" fmla="*/ 14 h 107"/>
                        <a:gd name="T28" fmla="*/ 11 w 116"/>
                        <a:gd name="T29" fmla="*/ 13 h 107"/>
                        <a:gd name="T30" fmla="*/ 14 w 116"/>
                        <a:gd name="T31" fmla="*/ 13 h 107"/>
                        <a:gd name="T32" fmla="*/ 15 w 116"/>
                        <a:gd name="T33" fmla="*/ 8 h 107"/>
                        <a:gd name="T34" fmla="*/ 24 w 116"/>
                        <a:gd name="T35" fmla="*/ 8 h 107"/>
                        <a:gd name="T36" fmla="*/ 24 w 116"/>
                        <a:gd name="T37" fmla="*/ 8 h 107"/>
                        <a:gd name="T38" fmla="*/ 24 w 116"/>
                        <a:gd name="T39" fmla="*/ 5 h 107"/>
                        <a:gd name="T40" fmla="*/ 10 w 116"/>
                        <a:gd name="T41" fmla="*/ 0 h 107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16"/>
                        <a:gd name="T64" fmla="*/ 0 h 107"/>
                        <a:gd name="T65" fmla="*/ 116 w 116"/>
                        <a:gd name="T66" fmla="*/ 107 h 107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16" h="107">
                          <a:moveTo>
                            <a:pt x="54" y="0"/>
                          </a:moveTo>
                          <a:lnTo>
                            <a:pt x="45" y="23"/>
                          </a:lnTo>
                          <a:lnTo>
                            <a:pt x="36" y="27"/>
                          </a:lnTo>
                          <a:lnTo>
                            <a:pt x="36" y="36"/>
                          </a:lnTo>
                          <a:lnTo>
                            <a:pt x="27" y="49"/>
                          </a:lnTo>
                          <a:lnTo>
                            <a:pt x="14" y="58"/>
                          </a:lnTo>
                          <a:lnTo>
                            <a:pt x="9" y="72"/>
                          </a:lnTo>
                          <a:lnTo>
                            <a:pt x="9" y="76"/>
                          </a:lnTo>
                          <a:lnTo>
                            <a:pt x="0" y="90"/>
                          </a:lnTo>
                          <a:lnTo>
                            <a:pt x="0" y="94"/>
                          </a:lnTo>
                          <a:lnTo>
                            <a:pt x="0" y="103"/>
                          </a:lnTo>
                          <a:lnTo>
                            <a:pt x="5" y="107"/>
                          </a:lnTo>
                          <a:lnTo>
                            <a:pt x="54" y="103"/>
                          </a:lnTo>
                          <a:lnTo>
                            <a:pt x="54" y="76"/>
                          </a:lnTo>
                          <a:lnTo>
                            <a:pt x="58" y="72"/>
                          </a:lnTo>
                          <a:lnTo>
                            <a:pt x="67" y="72"/>
                          </a:lnTo>
                          <a:lnTo>
                            <a:pt x="72" y="31"/>
                          </a:lnTo>
                          <a:lnTo>
                            <a:pt x="116" y="31"/>
                          </a:lnTo>
                          <a:lnTo>
                            <a:pt x="116" y="14"/>
                          </a:lnTo>
                          <a:lnTo>
                            <a:pt x="116" y="5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0" name="Freeform 6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74" y="2305"/>
                      <a:ext cx="228" cy="275"/>
                    </a:xfrm>
                    <a:custGeom>
                      <a:avLst/>
                      <a:gdLst>
                        <a:gd name="T0" fmla="*/ 9 w 241"/>
                        <a:gd name="T1" fmla="*/ 32 h 291"/>
                        <a:gd name="T2" fmla="*/ 0 w 241"/>
                        <a:gd name="T3" fmla="*/ 29 h 291"/>
                        <a:gd name="T4" fmla="*/ 9 w 241"/>
                        <a:gd name="T5" fmla="*/ 26 h 291"/>
                        <a:gd name="T6" fmla="*/ 9 w 241"/>
                        <a:gd name="T7" fmla="*/ 24 h 291"/>
                        <a:gd name="T8" fmla="*/ 9 w 241"/>
                        <a:gd name="T9" fmla="*/ 22 h 291"/>
                        <a:gd name="T10" fmla="*/ 9 w 241"/>
                        <a:gd name="T11" fmla="*/ 9 h 291"/>
                        <a:gd name="T12" fmla="*/ 9 w 241"/>
                        <a:gd name="T13" fmla="*/ 9 h 291"/>
                        <a:gd name="T14" fmla="*/ 32 w 241"/>
                        <a:gd name="T15" fmla="*/ 9 h 291"/>
                        <a:gd name="T16" fmla="*/ 36 w 241"/>
                        <a:gd name="T17" fmla="*/ 9 h 291"/>
                        <a:gd name="T18" fmla="*/ 37 w 241"/>
                        <a:gd name="T19" fmla="*/ 0 h 291"/>
                        <a:gd name="T20" fmla="*/ 41 w 241"/>
                        <a:gd name="T21" fmla="*/ 9 h 291"/>
                        <a:gd name="T22" fmla="*/ 42 w 241"/>
                        <a:gd name="T23" fmla="*/ 9 h 291"/>
                        <a:gd name="T24" fmla="*/ 44 w 241"/>
                        <a:gd name="T25" fmla="*/ 14 h 291"/>
                        <a:gd name="T26" fmla="*/ 44 w 241"/>
                        <a:gd name="T27" fmla="*/ 17 h 291"/>
                        <a:gd name="T28" fmla="*/ 42 w 241"/>
                        <a:gd name="T29" fmla="*/ 22 h 291"/>
                        <a:gd name="T30" fmla="*/ 41 w 241"/>
                        <a:gd name="T31" fmla="*/ 26 h 291"/>
                        <a:gd name="T32" fmla="*/ 38 w 241"/>
                        <a:gd name="T33" fmla="*/ 29 h 291"/>
                        <a:gd name="T34" fmla="*/ 36 w 241"/>
                        <a:gd name="T35" fmla="*/ 35 h 291"/>
                        <a:gd name="T36" fmla="*/ 34 w 241"/>
                        <a:gd name="T37" fmla="*/ 41 h 291"/>
                        <a:gd name="T38" fmla="*/ 32 w 241"/>
                        <a:gd name="T39" fmla="*/ 43 h 291"/>
                        <a:gd name="T40" fmla="*/ 37 w 241"/>
                        <a:gd name="T41" fmla="*/ 46 h 291"/>
                        <a:gd name="T42" fmla="*/ 38 w 241"/>
                        <a:gd name="T43" fmla="*/ 49 h 291"/>
                        <a:gd name="T44" fmla="*/ 34 w 241"/>
                        <a:gd name="T45" fmla="*/ 51 h 291"/>
                        <a:gd name="T46" fmla="*/ 32 w 241"/>
                        <a:gd name="T47" fmla="*/ 52 h 291"/>
                        <a:gd name="T48" fmla="*/ 28 w 241"/>
                        <a:gd name="T49" fmla="*/ 54 h 291"/>
                        <a:gd name="T50" fmla="*/ 25 w 241"/>
                        <a:gd name="T51" fmla="*/ 52 h 291"/>
                        <a:gd name="T52" fmla="*/ 23 w 241"/>
                        <a:gd name="T53" fmla="*/ 51 h 291"/>
                        <a:gd name="T54" fmla="*/ 16 w 241"/>
                        <a:gd name="T55" fmla="*/ 50 h 291"/>
                        <a:gd name="T56" fmla="*/ 13 w 241"/>
                        <a:gd name="T57" fmla="*/ 46 h 291"/>
                        <a:gd name="T58" fmla="*/ 9 w 241"/>
                        <a:gd name="T59" fmla="*/ 41 h 291"/>
                        <a:gd name="T60" fmla="*/ 9 w 241"/>
                        <a:gd name="T61" fmla="*/ 39 h 291"/>
                        <a:gd name="T62" fmla="*/ 9 w 241"/>
                        <a:gd name="T63" fmla="*/ 34 h 291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w 241"/>
                        <a:gd name="T97" fmla="*/ 0 h 291"/>
                        <a:gd name="T98" fmla="*/ 241 w 241"/>
                        <a:gd name="T99" fmla="*/ 291 h 291"/>
                      </a:gdLst>
                      <a:ahLst/>
                      <a:cxnLst>
                        <a:cxn ang="T64">
                          <a:pos x="T0" y="T1"/>
                        </a:cxn>
                        <a:cxn ang="T65">
                          <a:pos x="T2" y="T3"/>
                        </a:cxn>
                        <a:cxn ang="T66">
                          <a:pos x="T4" y="T5"/>
                        </a:cxn>
                        <a:cxn ang="T67">
                          <a:pos x="T6" y="T7"/>
                        </a:cxn>
                        <a:cxn ang="T68">
                          <a:pos x="T8" y="T9"/>
                        </a:cxn>
                        <a:cxn ang="T69">
                          <a:pos x="T10" y="T11"/>
                        </a:cxn>
                        <a:cxn ang="T70">
                          <a:pos x="T12" y="T13"/>
                        </a:cxn>
                        <a:cxn ang="T71">
                          <a:pos x="T14" y="T15"/>
                        </a:cxn>
                        <a:cxn ang="T72">
                          <a:pos x="T16" y="T17"/>
                        </a:cxn>
                        <a:cxn ang="T73">
                          <a:pos x="T18" y="T19"/>
                        </a:cxn>
                        <a:cxn ang="T74">
                          <a:pos x="T20" y="T21"/>
                        </a:cxn>
                        <a:cxn ang="T75">
                          <a:pos x="T22" y="T23"/>
                        </a:cxn>
                        <a:cxn ang="T76">
                          <a:pos x="T24" y="T25"/>
                        </a:cxn>
                        <a:cxn ang="T77">
                          <a:pos x="T26" y="T27"/>
                        </a:cxn>
                        <a:cxn ang="T78">
                          <a:pos x="T28" y="T29"/>
                        </a:cxn>
                        <a:cxn ang="T79">
                          <a:pos x="T30" y="T31"/>
                        </a:cxn>
                        <a:cxn ang="T80">
                          <a:pos x="T32" y="T33"/>
                        </a:cxn>
                        <a:cxn ang="T81">
                          <a:pos x="T34" y="T35"/>
                        </a:cxn>
                        <a:cxn ang="T82">
                          <a:pos x="T36" y="T37"/>
                        </a:cxn>
                        <a:cxn ang="T83">
                          <a:pos x="T38" y="T39"/>
                        </a:cxn>
                        <a:cxn ang="T84">
                          <a:pos x="T40" y="T41"/>
                        </a:cxn>
                        <a:cxn ang="T85">
                          <a:pos x="T42" y="T43"/>
                        </a:cxn>
                        <a:cxn ang="T86">
                          <a:pos x="T44" y="T45"/>
                        </a:cxn>
                        <a:cxn ang="T87">
                          <a:pos x="T46" y="T47"/>
                        </a:cxn>
                        <a:cxn ang="T88">
                          <a:pos x="T48" y="T49"/>
                        </a:cxn>
                        <a:cxn ang="T89">
                          <a:pos x="T50" y="T51"/>
                        </a:cxn>
                        <a:cxn ang="T90">
                          <a:pos x="T52" y="T53"/>
                        </a:cxn>
                        <a:cxn ang="T91">
                          <a:pos x="T54" y="T55"/>
                        </a:cxn>
                        <a:cxn ang="T92">
                          <a:pos x="T56" y="T57"/>
                        </a:cxn>
                        <a:cxn ang="T93">
                          <a:pos x="T58" y="T59"/>
                        </a:cxn>
                        <a:cxn ang="T94">
                          <a:pos x="T60" y="T61"/>
                        </a:cxn>
                        <a:cxn ang="T95">
                          <a:pos x="T62" y="T63"/>
                        </a:cxn>
                      </a:cxnLst>
                      <a:rect l="T96" t="T97" r="T98" b="T99"/>
                      <a:pathLst>
                        <a:path w="241" h="291">
                          <a:moveTo>
                            <a:pt x="14" y="183"/>
                          </a:moveTo>
                          <a:lnTo>
                            <a:pt x="9" y="174"/>
                          </a:lnTo>
                          <a:lnTo>
                            <a:pt x="9" y="170"/>
                          </a:lnTo>
                          <a:lnTo>
                            <a:pt x="0" y="157"/>
                          </a:lnTo>
                          <a:lnTo>
                            <a:pt x="5" y="143"/>
                          </a:lnTo>
                          <a:lnTo>
                            <a:pt x="14" y="139"/>
                          </a:lnTo>
                          <a:lnTo>
                            <a:pt x="9" y="134"/>
                          </a:lnTo>
                          <a:lnTo>
                            <a:pt x="14" y="130"/>
                          </a:lnTo>
                          <a:lnTo>
                            <a:pt x="14" y="121"/>
                          </a:lnTo>
                          <a:lnTo>
                            <a:pt x="27" y="116"/>
                          </a:lnTo>
                          <a:lnTo>
                            <a:pt x="27" y="58"/>
                          </a:lnTo>
                          <a:lnTo>
                            <a:pt x="27" y="49"/>
                          </a:lnTo>
                          <a:lnTo>
                            <a:pt x="49" y="49"/>
                          </a:lnTo>
                          <a:lnTo>
                            <a:pt x="45" y="23"/>
                          </a:lnTo>
                          <a:lnTo>
                            <a:pt x="165" y="18"/>
                          </a:lnTo>
                          <a:lnTo>
                            <a:pt x="170" y="27"/>
                          </a:lnTo>
                          <a:lnTo>
                            <a:pt x="183" y="14"/>
                          </a:lnTo>
                          <a:lnTo>
                            <a:pt x="188" y="14"/>
                          </a:lnTo>
                          <a:lnTo>
                            <a:pt x="192" y="0"/>
                          </a:lnTo>
                          <a:lnTo>
                            <a:pt x="215" y="14"/>
                          </a:lnTo>
                          <a:lnTo>
                            <a:pt x="215" y="27"/>
                          </a:lnTo>
                          <a:lnTo>
                            <a:pt x="224" y="31"/>
                          </a:lnTo>
                          <a:lnTo>
                            <a:pt x="219" y="36"/>
                          </a:lnTo>
                          <a:lnTo>
                            <a:pt x="224" y="67"/>
                          </a:lnTo>
                          <a:lnTo>
                            <a:pt x="237" y="72"/>
                          </a:lnTo>
                          <a:lnTo>
                            <a:pt x="241" y="81"/>
                          </a:lnTo>
                          <a:lnTo>
                            <a:pt x="228" y="85"/>
                          </a:lnTo>
                          <a:lnTo>
                            <a:pt x="219" y="94"/>
                          </a:lnTo>
                          <a:lnTo>
                            <a:pt x="219" y="112"/>
                          </a:lnTo>
                          <a:lnTo>
                            <a:pt x="210" y="121"/>
                          </a:lnTo>
                          <a:lnTo>
                            <a:pt x="215" y="139"/>
                          </a:lnTo>
                          <a:lnTo>
                            <a:pt x="210" y="157"/>
                          </a:lnTo>
                          <a:lnTo>
                            <a:pt x="197" y="157"/>
                          </a:lnTo>
                          <a:lnTo>
                            <a:pt x="188" y="179"/>
                          </a:lnTo>
                          <a:lnTo>
                            <a:pt x="188" y="188"/>
                          </a:lnTo>
                          <a:lnTo>
                            <a:pt x="179" y="188"/>
                          </a:lnTo>
                          <a:lnTo>
                            <a:pt x="179" y="224"/>
                          </a:lnTo>
                          <a:lnTo>
                            <a:pt x="165" y="224"/>
                          </a:lnTo>
                          <a:lnTo>
                            <a:pt x="165" y="237"/>
                          </a:lnTo>
                          <a:lnTo>
                            <a:pt x="179" y="241"/>
                          </a:lnTo>
                          <a:lnTo>
                            <a:pt x="192" y="255"/>
                          </a:lnTo>
                          <a:lnTo>
                            <a:pt x="188" y="264"/>
                          </a:lnTo>
                          <a:lnTo>
                            <a:pt x="201" y="268"/>
                          </a:lnTo>
                          <a:lnTo>
                            <a:pt x="201" y="277"/>
                          </a:lnTo>
                          <a:lnTo>
                            <a:pt x="179" y="277"/>
                          </a:lnTo>
                          <a:lnTo>
                            <a:pt x="174" y="282"/>
                          </a:lnTo>
                          <a:lnTo>
                            <a:pt x="170" y="286"/>
                          </a:lnTo>
                          <a:lnTo>
                            <a:pt x="161" y="286"/>
                          </a:lnTo>
                          <a:lnTo>
                            <a:pt x="152" y="291"/>
                          </a:lnTo>
                          <a:lnTo>
                            <a:pt x="143" y="286"/>
                          </a:lnTo>
                          <a:lnTo>
                            <a:pt x="134" y="286"/>
                          </a:lnTo>
                          <a:lnTo>
                            <a:pt x="130" y="291"/>
                          </a:lnTo>
                          <a:lnTo>
                            <a:pt x="116" y="277"/>
                          </a:lnTo>
                          <a:lnTo>
                            <a:pt x="94" y="282"/>
                          </a:lnTo>
                          <a:lnTo>
                            <a:pt x="81" y="273"/>
                          </a:lnTo>
                          <a:lnTo>
                            <a:pt x="81" y="259"/>
                          </a:lnTo>
                          <a:lnTo>
                            <a:pt x="67" y="255"/>
                          </a:lnTo>
                          <a:lnTo>
                            <a:pt x="54" y="228"/>
                          </a:lnTo>
                          <a:lnTo>
                            <a:pt x="40" y="224"/>
                          </a:lnTo>
                          <a:lnTo>
                            <a:pt x="36" y="219"/>
                          </a:lnTo>
                          <a:lnTo>
                            <a:pt x="23" y="215"/>
                          </a:lnTo>
                          <a:lnTo>
                            <a:pt x="18" y="201"/>
                          </a:lnTo>
                          <a:lnTo>
                            <a:pt x="14" y="18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1" name="Freeform 6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92" y="2998"/>
                      <a:ext cx="22" cy="26"/>
                    </a:xfrm>
                    <a:custGeom>
                      <a:avLst/>
                      <a:gdLst>
                        <a:gd name="T0" fmla="*/ 11 w 23"/>
                        <a:gd name="T1" fmla="*/ 13 h 27"/>
                        <a:gd name="T2" fmla="*/ 11 w 23"/>
                        <a:gd name="T3" fmla="*/ 13 h 27"/>
                        <a:gd name="T4" fmla="*/ 5 w 23"/>
                        <a:gd name="T5" fmla="*/ 13 h 27"/>
                        <a:gd name="T6" fmla="*/ 0 w 23"/>
                        <a:gd name="T7" fmla="*/ 13 h 27"/>
                        <a:gd name="T8" fmla="*/ 5 w 23"/>
                        <a:gd name="T9" fmla="*/ 5 h 27"/>
                        <a:gd name="T10" fmla="*/ 11 w 23"/>
                        <a:gd name="T11" fmla="*/ 0 h 27"/>
                        <a:gd name="T12" fmla="*/ 11 w 23"/>
                        <a:gd name="T13" fmla="*/ 5 h 27"/>
                        <a:gd name="T14" fmla="*/ 11 w 23"/>
                        <a:gd name="T15" fmla="*/ 5 h 27"/>
                        <a:gd name="T16" fmla="*/ 11 w 23"/>
                        <a:gd name="T17" fmla="*/ 9 h 27"/>
                        <a:gd name="T18" fmla="*/ 11 w 23"/>
                        <a:gd name="T19" fmla="*/ 13 h 27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3"/>
                        <a:gd name="T31" fmla="*/ 0 h 27"/>
                        <a:gd name="T32" fmla="*/ 23 w 23"/>
                        <a:gd name="T33" fmla="*/ 27 h 27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3" h="27">
                          <a:moveTo>
                            <a:pt x="23" y="22"/>
                          </a:moveTo>
                          <a:lnTo>
                            <a:pt x="18" y="27"/>
                          </a:lnTo>
                          <a:lnTo>
                            <a:pt x="5" y="27"/>
                          </a:lnTo>
                          <a:lnTo>
                            <a:pt x="0" y="22"/>
                          </a:lnTo>
                          <a:lnTo>
                            <a:pt x="5" y="5"/>
                          </a:lnTo>
                          <a:lnTo>
                            <a:pt x="14" y="0"/>
                          </a:lnTo>
                          <a:lnTo>
                            <a:pt x="18" y="5"/>
                          </a:lnTo>
                          <a:lnTo>
                            <a:pt x="23" y="5"/>
                          </a:lnTo>
                          <a:lnTo>
                            <a:pt x="23" y="9"/>
                          </a:lnTo>
                          <a:lnTo>
                            <a:pt x="23" y="2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2" name="Freeform 64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780" y="2474"/>
                      <a:ext cx="29" cy="72"/>
                    </a:xfrm>
                    <a:custGeom>
                      <a:avLst/>
                      <a:gdLst>
                        <a:gd name="T0" fmla="*/ 7 w 31"/>
                        <a:gd name="T1" fmla="*/ 0 h 76"/>
                        <a:gd name="T2" fmla="*/ 4 w 31"/>
                        <a:gd name="T3" fmla="*/ 0 h 76"/>
                        <a:gd name="T4" fmla="*/ 0 w 31"/>
                        <a:gd name="T5" fmla="*/ 9 h 76"/>
                        <a:gd name="T6" fmla="*/ 7 w 31"/>
                        <a:gd name="T7" fmla="*/ 9 h 76"/>
                        <a:gd name="T8" fmla="*/ 7 w 31"/>
                        <a:gd name="T9" fmla="*/ 9 h 76"/>
                        <a:gd name="T10" fmla="*/ 4 w 31"/>
                        <a:gd name="T11" fmla="*/ 9 h 76"/>
                        <a:gd name="T12" fmla="*/ 7 w 31"/>
                        <a:gd name="T13" fmla="*/ 9 h 76"/>
                        <a:gd name="T14" fmla="*/ 7 w 31"/>
                        <a:gd name="T15" fmla="*/ 12 h 76"/>
                        <a:gd name="T16" fmla="*/ 7 w 31"/>
                        <a:gd name="T17" fmla="*/ 14 h 76"/>
                        <a:gd name="T18" fmla="*/ 7 w 31"/>
                        <a:gd name="T19" fmla="*/ 16 h 76"/>
                        <a:gd name="T20" fmla="*/ 7 w 31"/>
                        <a:gd name="T21" fmla="*/ 16 h 76"/>
                        <a:gd name="T22" fmla="*/ 7 w 31"/>
                        <a:gd name="T23" fmla="*/ 12 h 76"/>
                        <a:gd name="T24" fmla="*/ 7 w 31"/>
                        <a:gd name="T25" fmla="*/ 9 h 76"/>
                        <a:gd name="T26" fmla="*/ 7 w 31"/>
                        <a:gd name="T27" fmla="*/ 9 h 76"/>
                        <a:gd name="T28" fmla="*/ 7 w 31"/>
                        <a:gd name="T29" fmla="*/ 9 h 76"/>
                        <a:gd name="T30" fmla="*/ 7 w 31"/>
                        <a:gd name="T31" fmla="*/ 9 h 76"/>
                        <a:gd name="T32" fmla="*/ 7 w 31"/>
                        <a:gd name="T33" fmla="*/ 0 h 7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1"/>
                        <a:gd name="T52" fmla="*/ 0 h 76"/>
                        <a:gd name="T53" fmla="*/ 31 w 31"/>
                        <a:gd name="T54" fmla="*/ 76 h 76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1" h="76">
                          <a:moveTo>
                            <a:pt x="13" y="0"/>
                          </a:moveTo>
                          <a:lnTo>
                            <a:pt x="4" y="0"/>
                          </a:lnTo>
                          <a:lnTo>
                            <a:pt x="0" y="9"/>
                          </a:lnTo>
                          <a:lnTo>
                            <a:pt x="8" y="13"/>
                          </a:lnTo>
                          <a:lnTo>
                            <a:pt x="8" y="36"/>
                          </a:lnTo>
                          <a:lnTo>
                            <a:pt x="4" y="40"/>
                          </a:lnTo>
                          <a:lnTo>
                            <a:pt x="8" y="54"/>
                          </a:lnTo>
                          <a:lnTo>
                            <a:pt x="8" y="62"/>
                          </a:lnTo>
                          <a:lnTo>
                            <a:pt x="13" y="71"/>
                          </a:lnTo>
                          <a:lnTo>
                            <a:pt x="17" y="76"/>
                          </a:lnTo>
                          <a:lnTo>
                            <a:pt x="31" y="76"/>
                          </a:lnTo>
                          <a:lnTo>
                            <a:pt x="26" y="62"/>
                          </a:lnTo>
                          <a:lnTo>
                            <a:pt x="26" y="36"/>
                          </a:lnTo>
                          <a:lnTo>
                            <a:pt x="22" y="36"/>
                          </a:lnTo>
                          <a:lnTo>
                            <a:pt x="22" y="22"/>
                          </a:lnTo>
                          <a:lnTo>
                            <a:pt x="13" y="13"/>
                          </a:lnTo>
                          <a:lnTo>
                            <a:pt x="13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3" name="Freeform 6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881" y="2073"/>
                      <a:ext cx="59" cy="127"/>
                    </a:xfrm>
                    <a:custGeom>
                      <a:avLst/>
                      <a:gdLst>
                        <a:gd name="T0" fmla="*/ 10 w 62"/>
                        <a:gd name="T1" fmla="*/ 26 h 134"/>
                        <a:gd name="T2" fmla="*/ 10 w 62"/>
                        <a:gd name="T3" fmla="*/ 21 h 134"/>
                        <a:gd name="T4" fmla="*/ 10 w 62"/>
                        <a:gd name="T5" fmla="*/ 20 h 134"/>
                        <a:gd name="T6" fmla="*/ 4 w 62"/>
                        <a:gd name="T7" fmla="*/ 17 h 134"/>
                        <a:gd name="T8" fmla="*/ 0 w 62"/>
                        <a:gd name="T9" fmla="*/ 12 h 134"/>
                        <a:gd name="T10" fmla="*/ 10 w 62"/>
                        <a:gd name="T11" fmla="*/ 9 h 134"/>
                        <a:gd name="T12" fmla="*/ 9 w 62"/>
                        <a:gd name="T13" fmla="*/ 9 h 134"/>
                        <a:gd name="T14" fmla="*/ 10 w 62"/>
                        <a:gd name="T15" fmla="*/ 9 h 134"/>
                        <a:gd name="T16" fmla="*/ 10 w 62"/>
                        <a:gd name="T17" fmla="*/ 5 h 134"/>
                        <a:gd name="T18" fmla="*/ 10 w 62"/>
                        <a:gd name="T19" fmla="*/ 0 h 134"/>
                        <a:gd name="T20" fmla="*/ 10 w 62"/>
                        <a:gd name="T21" fmla="*/ 9 h 134"/>
                        <a:gd name="T22" fmla="*/ 10 w 62"/>
                        <a:gd name="T23" fmla="*/ 9 h 134"/>
                        <a:gd name="T24" fmla="*/ 10 w 62"/>
                        <a:gd name="T25" fmla="*/ 5 h 134"/>
                        <a:gd name="T26" fmla="*/ 10 w 62"/>
                        <a:gd name="T27" fmla="*/ 9 h 134"/>
                        <a:gd name="T28" fmla="*/ 10 w 62"/>
                        <a:gd name="T29" fmla="*/ 9 h 134"/>
                        <a:gd name="T30" fmla="*/ 10 w 62"/>
                        <a:gd name="T31" fmla="*/ 9 h 134"/>
                        <a:gd name="T32" fmla="*/ 10 w 62"/>
                        <a:gd name="T33" fmla="*/ 9 h 134"/>
                        <a:gd name="T34" fmla="*/ 10 w 62"/>
                        <a:gd name="T35" fmla="*/ 9 h 134"/>
                        <a:gd name="T36" fmla="*/ 10 w 62"/>
                        <a:gd name="T37" fmla="*/ 9 h 134"/>
                        <a:gd name="T38" fmla="*/ 10 w 62"/>
                        <a:gd name="T39" fmla="*/ 12 h 134"/>
                        <a:gd name="T40" fmla="*/ 10 w 62"/>
                        <a:gd name="T41" fmla="*/ 14 h 134"/>
                        <a:gd name="T42" fmla="*/ 10 w 62"/>
                        <a:gd name="T43" fmla="*/ 11 h 134"/>
                        <a:gd name="T44" fmla="*/ 10 w 62"/>
                        <a:gd name="T45" fmla="*/ 12 h 134"/>
                        <a:gd name="T46" fmla="*/ 10 w 62"/>
                        <a:gd name="T47" fmla="*/ 15 h 134"/>
                        <a:gd name="T48" fmla="*/ 11 w 62"/>
                        <a:gd name="T49" fmla="*/ 15 h 134"/>
                        <a:gd name="T50" fmla="*/ 14 w 62"/>
                        <a:gd name="T51" fmla="*/ 16 h 134"/>
                        <a:gd name="T52" fmla="*/ 13 w 62"/>
                        <a:gd name="T53" fmla="*/ 17 h 134"/>
                        <a:gd name="T54" fmla="*/ 13 w 62"/>
                        <a:gd name="T55" fmla="*/ 19 h 134"/>
                        <a:gd name="T56" fmla="*/ 10 w 62"/>
                        <a:gd name="T57" fmla="*/ 21 h 134"/>
                        <a:gd name="T58" fmla="*/ 10 w 62"/>
                        <a:gd name="T59" fmla="*/ 22 h 134"/>
                        <a:gd name="T60" fmla="*/ 10 w 62"/>
                        <a:gd name="T61" fmla="*/ 25 h 134"/>
                        <a:gd name="T62" fmla="*/ 10 w 62"/>
                        <a:gd name="T63" fmla="*/ 26 h 134"/>
                        <a:gd name="T64" fmla="*/ 10 w 62"/>
                        <a:gd name="T65" fmla="*/ 26 h 134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62"/>
                        <a:gd name="T100" fmla="*/ 0 h 134"/>
                        <a:gd name="T101" fmla="*/ 62 w 62"/>
                        <a:gd name="T102" fmla="*/ 134 h 134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62" h="134">
                          <a:moveTo>
                            <a:pt x="22" y="134"/>
                          </a:moveTo>
                          <a:lnTo>
                            <a:pt x="22" y="99"/>
                          </a:lnTo>
                          <a:lnTo>
                            <a:pt x="13" y="94"/>
                          </a:lnTo>
                          <a:lnTo>
                            <a:pt x="4" y="81"/>
                          </a:lnTo>
                          <a:lnTo>
                            <a:pt x="0" y="63"/>
                          </a:lnTo>
                          <a:lnTo>
                            <a:pt x="13" y="45"/>
                          </a:lnTo>
                          <a:lnTo>
                            <a:pt x="9" y="18"/>
                          </a:lnTo>
                          <a:lnTo>
                            <a:pt x="18" y="9"/>
                          </a:lnTo>
                          <a:lnTo>
                            <a:pt x="22" y="5"/>
                          </a:lnTo>
                          <a:lnTo>
                            <a:pt x="35" y="0"/>
                          </a:lnTo>
                          <a:lnTo>
                            <a:pt x="35" y="9"/>
                          </a:lnTo>
                          <a:lnTo>
                            <a:pt x="44" y="5"/>
                          </a:lnTo>
                          <a:lnTo>
                            <a:pt x="44" y="9"/>
                          </a:lnTo>
                          <a:lnTo>
                            <a:pt x="40" y="18"/>
                          </a:lnTo>
                          <a:lnTo>
                            <a:pt x="40" y="27"/>
                          </a:lnTo>
                          <a:lnTo>
                            <a:pt x="49" y="36"/>
                          </a:lnTo>
                          <a:lnTo>
                            <a:pt x="49" y="45"/>
                          </a:lnTo>
                          <a:lnTo>
                            <a:pt x="35" y="54"/>
                          </a:lnTo>
                          <a:lnTo>
                            <a:pt x="40" y="63"/>
                          </a:lnTo>
                          <a:lnTo>
                            <a:pt x="44" y="67"/>
                          </a:lnTo>
                          <a:lnTo>
                            <a:pt x="44" y="58"/>
                          </a:lnTo>
                          <a:lnTo>
                            <a:pt x="49" y="63"/>
                          </a:lnTo>
                          <a:lnTo>
                            <a:pt x="49" y="72"/>
                          </a:lnTo>
                          <a:lnTo>
                            <a:pt x="53" y="72"/>
                          </a:lnTo>
                          <a:lnTo>
                            <a:pt x="62" y="76"/>
                          </a:lnTo>
                          <a:lnTo>
                            <a:pt x="58" y="81"/>
                          </a:lnTo>
                          <a:lnTo>
                            <a:pt x="58" y="90"/>
                          </a:lnTo>
                          <a:lnTo>
                            <a:pt x="49" y="99"/>
                          </a:lnTo>
                          <a:lnTo>
                            <a:pt x="40" y="103"/>
                          </a:lnTo>
                          <a:lnTo>
                            <a:pt x="40" y="126"/>
                          </a:lnTo>
                          <a:lnTo>
                            <a:pt x="27" y="130"/>
                          </a:lnTo>
                          <a:lnTo>
                            <a:pt x="22" y="13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4" name="Freeform 6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84" y="2572"/>
                      <a:ext cx="68" cy="80"/>
                    </a:xfrm>
                    <a:custGeom>
                      <a:avLst/>
                      <a:gdLst>
                        <a:gd name="T0" fmla="*/ 0 w 72"/>
                        <a:gd name="T1" fmla="*/ 15 h 85"/>
                        <a:gd name="T2" fmla="*/ 0 w 72"/>
                        <a:gd name="T3" fmla="*/ 8 h 85"/>
                        <a:gd name="T4" fmla="*/ 9 w 72"/>
                        <a:gd name="T5" fmla="*/ 8 h 85"/>
                        <a:gd name="T6" fmla="*/ 9 w 72"/>
                        <a:gd name="T7" fmla="*/ 8 h 85"/>
                        <a:gd name="T8" fmla="*/ 9 w 72"/>
                        <a:gd name="T9" fmla="*/ 8 h 85"/>
                        <a:gd name="T10" fmla="*/ 9 w 72"/>
                        <a:gd name="T11" fmla="*/ 4 h 85"/>
                        <a:gd name="T12" fmla="*/ 9 w 72"/>
                        <a:gd name="T13" fmla="*/ 4 h 85"/>
                        <a:gd name="T14" fmla="*/ 9 w 72"/>
                        <a:gd name="T15" fmla="*/ 8 h 85"/>
                        <a:gd name="T16" fmla="*/ 9 w 72"/>
                        <a:gd name="T17" fmla="*/ 4 h 85"/>
                        <a:gd name="T18" fmla="*/ 9 w 72"/>
                        <a:gd name="T19" fmla="*/ 4 h 85"/>
                        <a:gd name="T20" fmla="*/ 9 w 72"/>
                        <a:gd name="T21" fmla="*/ 0 h 85"/>
                        <a:gd name="T22" fmla="*/ 12 w 72"/>
                        <a:gd name="T23" fmla="*/ 8 h 85"/>
                        <a:gd name="T24" fmla="*/ 13 w 72"/>
                        <a:gd name="T25" fmla="*/ 8 h 85"/>
                        <a:gd name="T26" fmla="*/ 12 w 72"/>
                        <a:gd name="T27" fmla="*/ 8 h 85"/>
                        <a:gd name="T28" fmla="*/ 11 w 72"/>
                        <a:gd name="T29" fmla="*/ 8 h 85"/>
                        <a:gd name="T30" fmla="*/ 9 w 72"/>
                        <a:gd name="T31" fmla="*/ 8 h 85"/>
                        <a:gd name="T32" fmla="*/ 9 w 72"/>
                        <a:gd name="T33" fmla="*/ 9 h 85"/>
                        <a:gd name="T34" fmla="*/ 9 w 72"/>
                        <a:gd name="T35" fmla="*/ 13 h 85"/>
                        <a:gd name="T36" fmla="*/ 9 w 72"/>
                        <a:gd name="T37" fmla="*/ 14 h 85"/>
                        <a:gd name="T38" fmla="*/ 0 w 72"/>
                        <a:gd name="T39" fmla="*/ 15 h 85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w 72"/>
                        <a:gd name="T61" fmla="*/ 0 h 85"/>
                        <a:gd name="T62" fmla="*/ 72 w 72"/>
                        <a:gd name="T63" fmla="*/ 85 h 85"/>
                      </a:gdLst>
                      <a:ahLst/>
                      <a:cxnLst>
                        <a:cxn ang="T40">
                          <a:pos x="T0" y="T1"/>
                        </a:cxn>
                        <a:cxn ang="T41">
                          <a:pos x="T2" y="T3"/>
                        </a:cxn>
                        <a:cxn ang="T42">
                          <a:pos x="T4" y="T5"/>
                        </a:cxn>
                        <a:cxn ang="T43">
                          <a:pos x="T6" y="T7"/>
                        </a:cxn>
                        <a:cxn ang="T44">
                          <a:pos x="T8" y="T9"/>
                        </a:cxn>
                        <a:cxn ang="T45">
                          <a:pos x="T10" y="T11"/>
                        </a:cxn>
                        <a:cxn ang="T46">
                          <a:pos x="T12" y="T13"/>
                        </a:cxn>
                        <a:cxn ang="T47">
                          <a:pos x="T14" y="T15"/>
                        </a:cxn>
                        <a:cxn ang="T48">
                          <a:pos x="T16" y="T17"/>
                        </a:cxn>
                        <a:cxn ang="T49">
                          <a:pos x="T18" y="T19"/>
                        </a:cxn>
                        <a:cxn ang="T50">
                          <a:pos x="T20" y="T21"/>
                        </a:cxn>
                        <a:cxn ang="T51">
                          <a:pos x="T22" y="T23"/>
                        </a:cxn>
                        <a:cxn ang="T52">
                          <a:pos x="T24" y="T25"/>
                        </a:cxn>
                        <a:cxn ang="T53">
                          <a:pos x="T26" y="T27"/>
                        </a:cxn>
                        <a:cxn ang="T54">
                          <a:pos x="T28" y="T29"/>
                        </a:cxn>
                        <a:cxn ang="T55">
                          <a:pos x="T30" y="T31"/>
                        </a:cxn>
                        <a:cxn ang="T56">
                          <a:pos x="T32" y="T33"/>
                        </a:cxn>
                        <a:cxn ang="T57">
                          <a:pos x="T34" y="T35"/>
                        </a:cxn>
                        <a:cxn ang="T58">
                          <a:pos x="T36" y="T37"/>
                        </a:cxn>
                        <a:cxn ang="T59">
                          <a:pos x="T38" y="T39"/>
                        </a:cxn>
                      </a:cxnLst>
                      <a:rect l="T60" t="T61" r="T62" b="T63"/>
                      <a:pathLst>
                        <a:path w="72" h="85">
                          <a:moveTo>
                            <a:pt x="0" y="85"/>
                          </a:moveTo>
                          <a:lnTo>
                            <a:pt x="0" y="53"/>
                          </a:lnTo>
                          <a:lnTo>
                            <a:pt x="18" y="31"/>
                          </a:lnTo>
                          <a:lnTo>
                            <a:pt x="14" y="27"/>
                          </a:lnTo>
                          <a:lnTo>
                            <a:pt x="14" y="9"/>
                          </a:lnTo>
                          <a:lnTo>
                            <a:pt x="18" y="4"/>
                          </a:lnTo>
                          <a:lnTo>
                            <a:pt x="27" y="4"/>
                          </a:lnTo>
                          <a:lnTo>
                            <a:pt x="36" y="9"/>
                          </a:lnTo>
                          <a:lnTo>
                            <a:pt x="45" y="4"/>
                          </a:lnTo>
                          <a:lnTo>
                            <a:pt x="54" y="4"/>
                          </a:lnTo>
                          <a:lnTo>
                            <a:pt x="58" y="0"/>
                          </a:lnTo>
                          <a:lnTo>
                            <a:pt x="67" y="9"/>
                          </a:lnTo>
                          <a:lnTo>
                            <a:pt x="72" y="22"/>
                          </a:lnTo>
                          <a:lnTo>
                            <a:pt x="67" y="44"/>
                          </a:lnTo>
                          <a:lnTo>
                            <a:pt x="63" y="58"/>
                          </a:lnTo>
                          <a:lnTo>
                            <a:pt x="49" y="58"/>
                          </a:lnTo>
                          <a:lnTo>
                            <a:pt x="32" y="62"/>
                          </a:lnTo>
                          <a:lnTo>
                            <a:pt x="32" y="76"/>
                          </a:lnTo>
                          <a:lnTo>
                            <a:pt x="9" y="80"/>
                          </a:lnTo>
                          <a:lnTo>
                            <a:pt x="0" y="8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5" name="Freeform 6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12" y="2170"/>
                      <a:ext cx="148" cy="161"/>
                    </a:xfrm>
                    <a:custGeom>
                      <a:avLst/>
                      <a:gdLst>
                        <a:gd name="T0" fmla="*/ 5 w 157"/>
                        <a:gd name="T1" fmla="*/ 33 h 170"/>
                        <a:gd name="T2" fmla="*/ 5 w 157"/>
                        <a:gd name="T3" fmla="*/ 9 h 170"/>
                        <a:gd name="T4" fmla="*/ 0 w 157"/>
                        <a:gd name="T5" fmla="*/ 9 h 170"/>
                        <a:gd name="T6" fmla="*/ 5 w 157"/>
                        <a:gd name="T7" fmla="*/ 9 h 170"/>
                        <a:gd name="T8" fmla="*/ 0 w 157"/>
                        <a:gd name="T9" fmla="*/ 9 h 170"/>
                        <a:gd name="T10" fmla="*/ 8 w 157"/>
                        <a:gd name="T11" fmla="*/ 0 h 170"/>
                        <a:gd name="T12" fmla="*/ 8 w 157"/>
                        <a:gd name="T13" fmla="*/ 0 h 170"/>
                        <a:gd name="T14" fmla="*/ 8 w 157"/>
                        <a:gd name="T15" fmla="*/ 5 h 170"/>
                        <a:gd name="T16" fmla="*/ 8 w 157"/>
                        <a:gd name="T17" fmla="*/ 5 h 170"/>
                        <a:gd name="T18" fmla="*/ 10 w 157"/>
                        <a:gd name="T19" fmla="*/ 9 h 170"/>
                        <a:gd name="T20" fmla="*/ 13 w 157"/>
                        <a:gd name="T21" fmla="*/ 9 h 170"/>
                        <a:gd name="T22" fmla="*/ 15 w 157"/>
                        <a:gd name="T23" fmla="*/ 9 h 170"/>
                        <a:gd name="T24" fmla="*/ 15 w 157"/>
                        <a:gd name="T25" fmla="*/ 5 h 170"/>
                        <a:gd name="T26" fmla="*/ 17 w 157"/>
                        <a:gd name="T27" fmla="*/ 0 h 170"/>
                        <a:gd name="T28" fmla="*/ 19 w 157"/>
                        <a:gd name="T29" fmla="*/ 5 h 170"/>
                        <a:gd name="T30" fmla="*/ 19 w 157"/>
                        <a:gd name="T31" fmla="*/ 9 h 170"/>
                        <a:gd name="T32" fmla="*/ 22 w 157"/>
                        <a:gd name="T33" fmla="*/ 9 h 170"/>
                        <a:gd name="T34" fmla="*/ 24 w 157"/>
                        <a:gd name="T35" fmla="*/ 5 h 170"/>
                        <a:gd name="T36" fmla="*/ 24 w 157"/>
                        <a:gd name="T37" fmla="*/ 9 h 170"/>
                        <a:gd name="T38" fmla="*/ 24 w 157"/>
                        <a:gd name="T39" fmla="*/ 9 h 170"/>
                        <a:gd name="T40" fmla="*/ 25 w 157"/>
                        <a:gd name="T41" fmla="*/ 9 h 170"/>
                        <a:gd name="T42" fmla="*/ 24 w 157"/>
                        <a:gd name="T43" fmla="*/ 9 h 170"/>
                        <a:gd name="T44" fmla="*/ 23 w 157"/>
                        <a:gd name="T45" fmla="*/ 11 h 170"/>
                        <a:gd name="T46" fmla="*/ 23 w 157"/>
                        <a:gd name="T47" fmla="*/ 13 h 170"/>
                        <a:gd name="T48" fmla="*/ 23 w 157"/>
                        <a:gd name="T49" fmla="*/ 12 h 170"/>
                        <a:gd name="T50" fmla="*/ 21 w 157"/>
                        <a:gd name="T51" fmla="*/ 9 h 170"/>
                        <a:gd name="T52" fmla="*/ 20 w 157"/>
                        <a:gd name="T53" fmla="*/ 9 h 170"/>
                        <a:gd name="T54" fmla="*/ 19 w 157"/>
                        <a:gd name="T55" fmla="*/ 9 h 170"/>
                        <a:gd name="T56" fmla="*/ 20 w 157"/>
                        <a:gd name="T57" fmla="*/ 9 h 170"/>
                        <a:gd name="T58" fmla="*/ 22 w 157"/>
                        <a:gd name="T59" fmla="*/ 12 h 170"/>
                        <a:gd name="T60" fmla="*/ 23 w 157"/>
                        <a:gd name="T61" fmla="*/ 16 h 170"/>
                        <a:gd name="T62" fmla="*/ 23 w 157"/>
                        <a:gd name="T63" fmla="*/ 17 h 170"/>
                        <a:gd name="T64" fmla="*/ 25 w 157"/>
                        <a:gd name="T65" fmla="*/ 24 h 170"/>
                        <a:gd name="T66" fmla="*/ 27 w 157"/>
                        <a:gd name="T67" fmla="*/ 25 h 170"/>
                        <a:gd name="T68" fmla="*/ 25 w 157"/>
                        <a:gd name="T69" fmla="*/ 25 h 170"/>
                        <a:gd name="T70" fmla="*/ 25 w 157"/>
                        <a:gd name="T71" fmla="*/ 27 h 170"/>
                        <a:gd name="T72" fmla="*/ 25 w 157"/>
                        <a:gd name="T73" fmla="*/ 27 h 170"/>
                        <a:gd name="T74" fmla="*/ 25 w 157"/>
                        <a:gd name="T75" fmla="*/ 31 h 170"/>
                        <a:gd name="T76" fmla="*/ 24 w 157"/>
                        <a:gd name="T77" fmla="*/ 31 h 170"/>
                        <a:gd name="T78" fmla="*/ 23 w 157"/>
                        <a:gd name="T79" fmla="*/ 33 h 170"/>
                        <a:gd name="T80" fmla="*/ 22 w 157"/>
                        <a:gd name="T81" fmla="*/ 31 h 170"/>
                        <a:gd name="T82" fmla="*/ 5 w 157"/>
                        <a:gd name="T83" fmla="*/ 33 h 170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w 157"/>
                        <a:gd name="T127" fmla="*/ 0 h 170"/>
                        <a:gd name="T128" fmla="*/ 157 w 157"/>
                        <a:gd name="T129" fmla="*/ 170 h 170"/>
                      </a:gdLst>
                      <a:ahLst/>
                      <a:cxnLst>
                        <a:cxn ang="T84">
                          <a:pos x="T0" y="T1"/>
                        </a:cxn>
                        <a:cxn ang="T85">
                          <a:pos x="T2" y="T3"/>
                        </a:cxn>
                        <a:cxn ang="T86">
                          <a:pos x="T4" y="T5"/>
                        </a:cxn>
                        <a:cxn ang="T87">
                          <a:pos x="T6" y="T7"/>
                        </a:cxn>
                        <a:cxn ang="T88">
                          <a:pos x="T8" y="T9"/>
                        </a:cxn>
                        <a:cxn ang="T89">
                          <a:pos x="T10" y="T11"/>
                        </a:cxn>
                        <a:cxn ang="T90">
                          <a:pos x="T12" y="T13"/>
                        </a:cxn>
                        <a:cxn ang="T91">
                          <a:pos x="T14" y="T15"/>
                        </a:cxn>
                        <a:cxn ang="T92">
                          <a:pos x="T16" y="T17"/>
                        </a:cxn>
                        <a:cxn ang="T93">
                          <a:pos x="T18" y="T19"/>
                        </a:cxn>
                        <a:cxn ang="T94">
                          <a:pos x="T20" y="T21"/>
                        </a:cxn>
                        <a:cxn ang="T95">
                          <a:pos x="T22" y="T23"/>
                        </a:cxn>
                        <a:cxn ang="T96">
                          <a:pos x="T24" y="T25"/>
                        </a:cxn>
                        <a:cxn ang="T97">
                          <a:pos x="T26" y="T27"/>
                        </a:cxn>
                        <a:cxn ang="T98">
                          <a:pos x="T28" y="T29"/>
                        </a:cxn>
                        <a:cxn ang="T99">
                          <a:pos x="T30" y="T31"/>
                        </a:cxn>
                        <a:cxn ang="T100">
                          <a:pos x="T32" y="T33"/>
                        </a:cxn>
                        <a:cxn ang="T101">
                          <a:pos x="T34" y="T35"/>
                        </a:cxn>
                        <a:cxn ang="T102">
                          <a:pos x="T36" y="T37"/>
                        </a:cxn>
                        <a:cxn ang="T103">
                          <a:pos x="T38" y="T39"/>
                        </a:cxn>
                        <a:cxn ang="T104">
                          <a:pos x="T40" y="T41"/>
                        </a:cxn>
                        <a:cxn ang="T105">
                          <a:pos x="T42" y="T43"/>
                        </a:cxn>
                        <a:cxn ang="T106">
                          <a:pos x="T44" y="T45"/>
                        </a:cxn>
                        <a:cxn ang="T107">
                          <a:pos x="T46" y="T47"/>
                        </a:cxn>
                        <a:cxn ang="T108">
                          <a:pos x="T48" y="T49"/>
                        </a:cxn>
                        <a:cxn ang="T109">
                          <a:pos x="T50" y="T51"/>
                        </a:cxn>
                        <a:cxn ang="T110">
                          <a:pos x="T52" y="T53"/>
                        </a:cxn>
                        <a:cxn ang="T111">
                          <a:pos x="T54" y="T55"/>
                        </a:cxn>
                        <a:cxn ang="T112">
                          <a:pos x="T56" y="T57"/>
                        </a:cxn>
                        <a:cxn ang="T113">
                          <a:pos x="T58" y="T59"/>
                        </a:cxn>
                        <a:cxn ang="T114">
                          <a:pos x="T60" y="T61"/>
                        </a:cxn>
                        <a:cxn ang="T115">
                          <a:pos x="T62" y="T63"/>
                        </a:cxn>
                        <a:cxn ang="T116">
                          <a:pos x="T64" y="T65"/>
                        </a:cxn>
                        <a:cxn ang="T117">
                          <a:pos x="T66" y="T67"/>
                        </a:cxn>
                        <a:cxn ang="T118">
                          <a:pos x="T68" y="T69"/>
                        </a:cxn>
                        <a:cxn ang="T119">
                          <a:pos x="T70" y="T71"/>
                        </a:cxn>
                        <a:cxn ang="T120">
                          <a:pos x="T72" y="T73"/>
                        </a:cxn>
                        <a:cxn ang="T121">
                          <a:pos x="T74" y="T75"/>
                        </a:cxn>
                        <a:cxn ang="T122">
                          <a:pos x="T76" y="T77"/>
                        </a:cxn>
                        <a:cxn ang="T123">
                          <a:pos x="T78" y="T79"/>
                        </a:cxn>
                        <a:cxn ang="T124">
                          <a:pos x="T80" y="T81"/>
                        </a:cxn>
                        <a:cxn ang="T125">
                          <a:pos x="T82" y="T83"/>
                        </a:cxn>
                      </a:cxnLst>
                      <a:rect l="T126" t="T127" r="T128" b="T129"/>
                      <a:pathLst>
                        <a:path w="157" h="170">
                          <a:moveTo>
                            <a:pt x="5" y="166"/>
                          </a:moveTo>
                          <a:lnTo>
                            <a:pt x="5" y="40"/>
                          </a:lnTo>
                          <a:lnTo>
                            <a:pt x="0" y="31"/>
                          </a:lnTo>
                          <a:lnTo>
                            <a:pt x="5" y="23"/>
                          </a:lnTo>
                          <a:lnTo>
                            <a:pt x="0" y="14"/>
                          </a:lnTo>
                          <a:lnTo>
                            <a:pt x="9" y="0"/>
                          </a:lnTo>
                          <a:lnTo>
                            <a:pt x="18" y="0"/>
                          </a:lnTo>
                          <a:lnTo>
                            <a:pt x="36" y="5"/>
                          </a:lnTo>
                          <a:lnTo>
                            <a:pt x="45" y="5"/>
                          </a:lnTo>
                          <a:lnTo>
                            <a:pt x="63" y="14"/>
                          </a:lnTo>
                          <a:lnTo>
                            <a:pt x="72" y="9"/>
                          </a:lnTo>
                          <a:lnTo>
                            <a:pt x="81" y="9"/>
                          </a:lnTo>
                          <a:lnTo>
                            <a:pt x="81" y="5"/>
                          </a:lnTo>
                          <a:lnTo>
                            <a:pt x="94" y="0"/>
                          </a:lnTo>
                          <a:lnTo>
                            <a:pt x="103" y="5"/>
                          </a:lnTo>
                          <a:lnTo>
                            <a:pt x="108" y="14"/>
                          </a:lnTo>
                          <a:lnTo>
                            <a:pt x="125" y="14"/>
                          </a:lnTo>
                          <a:lnTo>
                            <a:pt x="139" y="5"/>
                          </a:lnTo>
                          <a:lnTo>
                            <a:pt x="143" y="9"/>
                          </a:lnTo>
                          <a:lnTo>
                            <a:pt x="139" y="18"/>
                          </a:lnTo>
                          <a:lnTo>
                            <a:pt x="148" y="40"/>
                          </a:lnTo>
                          <a:lnTo>
                            <a:pt x="143" y="40"/>
                          </a:lnTo>
                          <a:lnTo>
                            <a:pt x="134" y="58"/>
                          </a:lnTo>
                          <a:lnTo>
                            <a:pt x="134" y="67"/>
                          </a:lnTo>
                          <a:lnTo>
                            <a:pt x="130" y="63"/>
                          </a:lnTo>
                          <a:lnTo>
                            <a:pt x="117" y="40"/>
                          </a:lnTo>
                          <a:lnTo>
                            <a:pt x="112" y="36"/>
                          </a:lnTo>
                          <a:lnTo>
                            <a:pt x="108" y="36"/>
                          </a:lnTo>
                          <a:lnTo>
                            <a:pt x="112" y="45"/>
                          </a:lnTo>
                          <a:lnTo>
                            <a:pt x="125" y="63"/>
                          </a:lnTo>
                          <a:lnTo>
                            <a:pt x="130" y="76"/>
                          </a:lnTo>
                          <a:lnTo>
                            <a:pt x="130" y="81"/>
                          </a:lnTo>
                          <a:lnTo>
                            <a:pt x="148" y="121"/>
                          </a:lnTo>
                          <a:lnTo>
                            <a:pt x="157" y="130"/>
                          </a:lnTo>
                          <a:lnTo>
                            <a:pt x="152" y="130"/>
                          </a:lnTo>
                          <a:lnTo>
                            <a:pt x="152" y="143"/>
                          </a:lnTo>
                          <a:lnTo>
                            <a:pt x="148" y="157"/>
                          </a:lnTo>
                          <a:lnTo>
                            <a:pt x="143" y="157"/>
                          </a:lnTo>
                          <a:lnTo>
                            <a:pt x="130" y="170"/>
                          </a:lnTo>
                          <a:lnTo>
                            <a:pt x="125" y="161"/>
                          </a:lnTo>
                          <a:lnTo>
                            <a:pt x="5" y="166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6" name="Freeform 68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3180" y="2643"/>
                      <a:ext cx="152" cy="152"/>
                    </a:xfrm>
                    <a:custGeom>
                      <a:avLst/>
                      <a:gdLst>
                        <a:gd name="T0" fmla="*/ 0 w 161"/>
                        <a:gd name="T1" fmla="*/ 8 h 161"/>
                        <a:gd name="T2" fmla="*/ 4 w 161"/>
                        <a:gd name="T3" fmla="*/ 8 h 161"/>
                        <a:gd name="T4" fmla="*/ 8 w 161"/>
                        <a:gd name="T5" fmla="*/ 8 h 161"/>
                        <a:gd name="T6" fmla="*/ 8 w 161"/>
                        <a:gd name="T7" fmla="*/ 8 h 161"/>
                        <a:gd name="T8" fmla="*/ 8 w 161"/>
                        <a:gd name="T9" fmla="*/ 8 h 161"/>
                        <a:gd name="T10" fmla="*/ 8 w 161"/>
                        <a:gd name="T11" fmla="*/ 8 h 161"/>
                        <a:gd name="T12" fmla="*/ 8 w 161"/>
                        <a:gd name="T13" fmla="*/ 8 h 161"/>
                        <a:gd name="T14" fmla="*/ 8 w 161"/>
                        <a:gd name="T15" fmla="*/ 4 h 161"/>
                        <a:gd name="T16" fmla="*/ 8 w 161"/>
                        <a:gd name="T17" fmla="*/ 0 h 161"/>
                        <a:gd name="T18" fmla="*/ 8 w 161"/>
                        <a:gd name="T19" fmla="*/ 4 h 161"/>
                        <a:gd name="T20" fmla="*/ 8 w 161"/>
                        <a:gd name="T21" fmla="*/ 8 h 161"/>
                        <a:gd name="T22" fmla="*/ 8 w 161"/>
                        <a:gd name="T23" fmla="*/ 8 h 161"/>
                        <a:gd name="T24" fmla="*/ 8 w 161"/>
                        <a:gd name="T25" fmla="*/ 8 h 161"/>
                        <a:gd name="T26" fmla="*/ 9 w 161"/>
                        <a:gd name="T27" fmla="*/ 8 h 161"/>
                        <a:gd name="T28" fmla="*/ 11 w 161"/>
                        <a:gd name="T29" fmla="*/ 8 h 161"/>
                        <a:gd name="T30" fmla="*/ 8 w 161"/>
                        <a:gd name="T31" fmla="*/ 8 h 161"/>
                        <a:gd name="T32" fmla="*/ 8 w 161"/>
                        <a:gd name="T33" fmla="*/ 8 h 161"/>
                        <a:gd name="T34" fmla="*/ 9 w 161"/>
                        <a:gd name="T35" fmla="*/ 8 h 161"/>
                        <a:gd name="T36" fmla="*/ 11 w 161"/>
                        <a:gd name="T37" fmla="*/ 0 h 161"/>
                        <a:gd name="T38" fmla="*/ 19 w 161"/>
                        <a:gd name="T39" fmla="*/ 8 h 161"/>
                        <a:gd name="T40" fmla="*/ 25 w 161"/>
                        <a:gd name="T41" fmla="*/ 8 h 161"/>
                        <a:gd name="T42" fmla="*/ 24 w 161"/>
                        <a:gd name="T43" fmla="*/ 15 h 161"/>
                        <a:gd name="T44" fmla="*/ 26 w 161"/>
                        <a:gd name="T45" fmla="*/ 17 h 161"/>
                        <a:gd name="T46" fmla="*/ 25 w 161"/>
                        <a:gd name="T47" fmla="*/ 19 h 161"/>
                        <a:gd name="T48" fmla="*/ 26 w 161"/>
                        <a:gd name="T49" fmla="*/ 19 h 161"/>
                        <a:gd name="T50" fmla="*/ 25 w 161"/>
                        <a:gd name="T51" fmla="*/ 21 h 161"/>
                        <a:gd name="T52" fmla="*/ 26 w 161"/>
                        <a:gd name="T53" fmla="*/ 24 h 161"/>
                        <a:gd name="T54" fmla="*/ 28 w 161"/>
                        <a:gd name="T55" fmla="*/ 25 h 161"/>
                        <a:gd name="T56" fmla="*/ 28 w 161"/>
                        <a:gd name="T57" fmla="*/ 25 h 161"/>
                        <a:gd name="T58" fmla="*/ 25 w 161"/>
                        <a:gd name="T59" fmla="*/ 26 h 161"/>
                        <a:gd name="T60" fmla="*/ 22 w 161"/>
                        <a:gd name="T61" fmla="*/ 26 h 161"/>
                        <a:gd name="T62" fmla="*/ 22 w 161"/>
                        <a:gd name="T63" fmla="*/ 28 h 161"/>
                        <a:gd name="T64" fmla="*/ 20 w 161"/>
                        <a:gd name="T65" fmla="*/ 26 h 161"/>
                        <a:gd name="T66" fmla="*/ 19 w 161"/>
                        <a:gd name="T67" fmla="*/ 28 h 161"/>
                        <a:gd name="T68" fmla="*/ 17 w 161"/>
                        <a:gd name="T69" fmla="*/ 26 h 161"/>
                        <a:gd name="T70" fmla="*/ 14 w 161"/>
                        <a:gd name="T71" fmla="*/ 28 h 161"/>
                        <a:gd name="T72" fmla="*/ 13 w 161"/>
                        <a:gd name="T73" fmla="*/ 26 h 161"/>
                        <a:gd name="T74" fmla="*/ 13 w 161"/>
                        <a:gd name="T75" fmla="*/ 24 h 161"/>
                        <a:gd name="T76" fmla="*/ 11 w 161"/>
                        <a:gd name="T77" fmla="*/ 23 h 161"/>
                        <a:gd name="T78" fmla="*/ 11 w 161"/>
                        <a:gd name="T79" fmla="*/ 23 h 161"/>
                        <a:gd name="T80" fmla="*/ 8 w 161"/>
                        <a:gd name="T81" fmla="*/ 22 h 161"/>
                        <a:gd name="T82" fmla="*/ 8 w 161"/>
                        <a:gd name="T83" fmla="*/ 23 h 161"/>
                        <a:gd name="T84" fmla="*/ 8 w 161"/>
                        <a:gd name="T85" fmla="*/ 22 h 161"/>
                        <a:gd name="T86" fmla="*/ 8 w 161"/>
                        <a:gd name="T87" fmla="*/ 21 h 161"/>
                        <a:gd name="T88" fmla="*/ 8 w 161"/>
                        <a:gd name="T89" fmla="*/ 20 h 161"/>
                        <a:gd name="T90" fmla="*/ 8 w 161"/>
                        <a:gd name="T91" fmla="*/ 15 h 161"/>
                        <a:gd name="T92" fmla="*/ 4 w 161"/>
                        <a:gd name="T93" fmla="*/ 15 h 161"/>
                        <a:gd name="T94" fmla="*/ 4 w 161"/>
                        <a:gd name="T95" fmla="*/ 14 h 161"/>
                        <a:gd name="T96" fmla="*/ 0 w 161"/>
                        <a:gd name="T97" fmla="*/ 8 h 161"/>
                        <a:gd name="T98" fmla="*/ 25 w 161"/>
                        <a:gd name="T99" fmla="*/ 13 h 161"/>
                        <a:gd name="T100" fmla="*/ 25 w 161"/>
                        <a:gd name="T101" fmla="*/ 14 h 161"/>
                        <a:gd name="T102" fmla="*/ 25 w 161"/>
                        <a:gd name="T103" fmla="*/ 15 h 161"/>
                        <a:gd name="T104" fmla="*/ 26 w 161"/>
                        <a:gd name="T105" fmla="*/ 16 h 161"/>
                        <a:gd name="T106" fmla="*/ 26 w 161"/>
                        <a:gd name="T107" fmla="*/ 14 h 161"/>
                        <a:gd name="T108" fmla="*/ 25 w 161"/>
                        <a:gd name="T109" fmla="*/ 13 h 161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w 161"/>
                        <a:gd name="T166" fmla="*/ 0 h 161"/>
                        <a:gd name="T167" fmla="*/ 161 w 161"/>
                        <a:gd name="T168" fmla="*/ 161 h 161"/>
                      </a:gdLst>
                      <a:ahLst/>
                      <a:cxnLst>
                        <a:cxn ang="T110">
                          <a:pos x="T0" y="T1"/>
                        </a:cxn>
                        <a:cxn ang="T111">
                          <a:pos x="T2" y="T3"/>
                        </a:cxn>
                        <a:cxn ang="T112">
                          <a:pos x="T4" y="T5"/>
                        </a:cxn>
                        <a:cxn ang="T113">
                          <a:pos x="T6" y="T7"/>
                        </a:cxn>
                        <a:cxn ang="T114">
                          <a:pos x="T8" y="T9"/>
                        </a:cxn>
                        <a:cxn ang="T115">
                          <a:pos x="T10" y="T11"/>
                        </a:cxn>
                        <a:cxn ang="T116">
                          <a:pos x="T12" y="T13"/>
                        </a:cxn>
                        <a:cxn ang="T117">
                          <a:pos x="T14" y="T15"/>
                        </a:cxn>
                        <a:cxn ang="T118">
                          <a:pos x="T16" y="T17"/>
                        </a:cxn>
                        <a:cxn ang="T119">
                          <a:pos x="T18" y="T19"/>
                        </a:cxn>
                        <a:cxn ang="T120">
                          <a:pos x="T20" y="T21"/>
                        </a:cxn>
                        <a:cxn ang="T121">
                          <a:pos x="T22" y="T23"/>
                        </a:cxn>
                        <a:cxn ang="T122">
                          <a:pos x="T24" y="T25"/>
                        </a:cxn>
                        <a:cxn ang="T123">
                          <a:pos x="T26" y="T27"/>
                        </a:cxn>
                        <a:cxn ang="T124">
                          <a:pos x="T28" y="T29"/>
                        </a:cxn>
                        <a:cxn ang="T125">
                          <a:pos x="T30" y="T31"/>
                        </a:cxn>
                        <a:cxn ang="T126">
                          <a:pos x="T32" y="T33"/>
                        </a:cxn>
                        <a:cxn ang="T127">
                          <a:pos x="T34" y="T35"/>
                        </a:cxn>
                        <a:cxn ang="T128">
                          <a:pos x="T36" y="T37"/>
                        </a:cxn>
                        <a:cxn ang="T129">
                          <a:pos x="T38" y="T39"/>
                        </a:cxn>
                        <a:cxn ang="T130">
                          <a:pos x="T40" y="T41"/>
                        </a:cxn>
                        <a:cxn ang="T131">
                          <a:pos x="T42" y="T43"/>
                        </a:cxn>
                        <a:cxn ang="T132">
                          <a:pos x="T44" y="T45"/>
                        </a:cxn>
                        <a:cxn ang="T133">
                          <a:pos x="T46" y="T47"/>
                        </a:cxn>
                        <a:cxn ang="T134">
                          <a:pos x="T48" y="T49"/>
                        </a:cxn>
                        <a:cxn ang="T135">
                          <a:pos x="T50" y="T51"/>
                        </a:cxn>
                        <a:cxn ang="T136">
                          <a:pos x="T52" y="T53"/>
                        </a:cxn>
                        <a:cxn ang="T137">
                          <a:pos x="T54" y="T55"/>
                        </a:cxn>
                        <a:cxn ang="T138">
                          <a:pos x="T56" y="T57"/>
                        </a:cxn>
                        <a:cxn ang="T139">
                          <a:pos x="T58" y="T59"/>
                        </a:cxn>
                        <a:cxn ang="T140">
                          <a:pos x="T60" y="T61"/>
                        </a:cxn>
                        <a:cxn ang="T141">
                          <a:pos x="T62" y="T63"/>
                        </a:cxn>
                        <a:cxn ang="T142">
                          <a:pos x="T64" y="T65"/>
                        </a:cxn>
                        <a:cxn ang="T143">
                          <a:pos x="T66" y="T67"/>
                        </a:cxn>
                        <a:cxn ang="T144">
                          <a:pos x="T68" y="T69"/>
                        </a:cxn>
                        <a:cxn ang="T145">
                          <a:pos x="T70" y="T71"/>
                        </a:cxn>
                        <a:cxn ang="T146">
                          <a:pos x="T72" y="T73"/>
                        </a:cxn>
                        <a:cxn ang="T147">
                          <a:pos x="T74" y="T75"/>
                        </a:cxn>
                        <a:cxn ang="T148">
                          <a:pos x="T76" y="T77"/>
                        </a:cxn>
                        <a:cxn ang="T149">
                          <a:pos x="T78" y="T79"/>
                        </a:cxn>
                        <a:cxn ang="T150">
                          <a:pos x="T80" y="T81"/>
                        </a:cxn>
                        <a:cxn ang="T151">
                          <a:pos x="T82" y="T83"/>
                        </a:cxn>
                        <a:cxn ang="T152">
                          <a:pos x="T84" y="T85"/>
                        </a:cxn>
                        <a:cxn ang="T153">
                          <a:pos x="T86" y="T87"/>
                        </a:cxn>
                        <a:cxn ang="T154">
                          <a:pos x="T88" y="T89"/>
                        </a:cxn>
                        <a:cxn ang="T155">
                          <a:pos x="T90" y="T91"/>
                        </a:cxn>
                        <a:cxn ang="T156">
                          <a:pos x="T92" y="T93"/>
                        </a:cxn>
                        <a:cxn ang="T157">
                          <a:pos x="T94" y="T95"/>
                        </a:cxn>
                        <a:cxn ang="T158">
                          <a:pos x="T96" y="T97"/>
                        </a:cxn>
                        <a:cxn ang="T159">
                          <a:pos x="T98" y="T99"/>
                        </a:cxn>
                        <a:cxn ang="T160">
                          <a:pos x="T100" y="T101"/>
                        </a:cxn>
                        <a:cxn ang="T161">
                          <a:pos x="T102" y="T103"/>
                        </a:cxn>
                        <a:cxn ang="T162">
                          <a:pos x="T104" y="T105"/>
                        </a:cxn>
                        <a:cxn ang="T163">
                          <a:pos x="T106" y="T107"/>
                        </a:cxn>
                        <a:cxn ang="T164">
                          <a:pos x="T108" y="T109"/>
                        </a:cxn>
                      </a:cxnLst>
                      <a:rect l="T165" t="T166" r="T167" b="T168"/>
                      <a:pathLst>
                        <a:path w="161" h="161">
                          <a:moveTo>
                            <a:pt x="0" y="53"/>
                          </a:moveTo>
                          <a:lnTo>
                            <a:pt x="4" y="53"/>
                          </a:lnTo>
                          <a:lnTo>
                            <a:pt x="22" y="40"/>
                          </a:lnTo>
                          <a:lnTo>
                            <a:pt x="22" y="31"/>
                          </a:lnTo>
                          <a:lnTo>
                            <a:pt x="18" y="31"/>
                          </a:lnTo>
                          <a:lnTo>
                            <a:pt x="18" y="22"/>
                          </a:lnTo>
                          <a:lnTo>
                            <a:pt x="18" y="9"/>
                          </a:lnTo>
                          <a:lnTo>
                            <a:pt x="13" y="4"/>
                          </a:lnTo>
                          <a:lnTo>
                            <a:pt x="36" y="0"/>
                          </a:lnTo>
                          <a:lnTo>
                            <a:pt x="36" y="4"/>
                          </a:lnTo>
                          <a:lnTo>
                            <a:pt x="31" y="18"/>
                          </a:lnTo>
                          <a:lnTo>
                            <a:pt x="36" y="26"/>
                          </a:lnTo>
                          <a:lnTo>
                            <a:pt x="40" y="22"/>
                          </a:lnTo>
                          <a:lnTo>
                            <a:pt x="58" y="22"/>
                          </a:lnTo>
                          <a:lnTo>
                            <a:pt x="62" y="18"/>
                          </a:lnTo>
                          <a:lnTo>
                            <a:pt x="53" y="18"/>
                          </a:lnTo>
                          <a:lnTo>
                            <a:pt x="53" y="9"/>
                          </a:lnTo>
                          <a:lnTo>
                            <a:pt x="58" y="13"/>
                          </a:lnTo>
                          <a:lnTo>
                            <a:pt x="62" y="0"/>
                          </a:lnTo>
                          <a:lnTo>
                            <a:pt x="103" y="26"/>
                          </a:lnTo>
                          <a:lnTo>
                            <a:pt x="138" y="53"/>
                          </a:lnTo>
                          <a:lnTo>
                            <a:pt x="134" y="80"/>
                          </a:lnTo>
                          <a:lnTo>
                            <a:pt x="147" y="89"/>
                          </a:lnTo>
                          <a:lnTo>
                            <a:pt x="143" y="102"/>
                          </a:lnTo>
                          <a:lnTo>
                            <a:pt x="147" y="102"/>
                          </a:lnTo>
                          <a:lnTo>
                            <a:pt x="143" y="111"/>
                          </a:lnTo>
                          <a:lnTo>
                            <a:pt x="147" y="134"/>
                          </a:lnTo>
                          <a:lnTo>
                            <a:pt x="161" y="138"/>
                          </a:lnTo>
                          <a:lnTo>
                            <a:pt x="156" y="138"/>
                          </a:lnTo>
                          <a:lnTo>
                            <a:pt x="143" y="147"/>
                          </a:lnTo>
                          <a:lnTo>
                            <a:pt x="120" y="147"/>
                          </a:lnTo>
                          <a:lnTo>
                            <a:pt x="116" y="156"/>
                          </a:lnTo>
                          <a:lnTo>
                            <a:pt x="107" y="152"/>
                          </a:lnTo>
                          <a:lnTo>
                            <a:pt x="98" y="161"/>
                          </a:lnTo>
                          <a:lnTo>
                            <a:pt x="89" y="152"/>
                          </a:lnTo>
                          <a:lnTo>
                            <a:pt x="76" y="156"/>
                          </a:lnTo>
                          <a:lnTo>
                            <a:pt x="71" y="152"/>
                          </a:lnTo>
                          <a:lnTo>
                            <a:pt x="71" y="134"/>
                          </a:lnTo>
                          <a:lnTo>
                            <a:pt x="62" y="125"/>
                          </a:lnTo>
                          <a:lnTo>
                            <a:pt x="62" y="129"/>
                          </a:lnTo>
                          <a:lnTo>
                            <a:pt x="53" y="120"/>
                          </a:lnTo>
                          <a:lnTo>
                            <a:pt x="49" y="125"/>
                          </a:lnTo>
                          <a:lnTo>
                            <a:pt x="36" y="120"/>
                          </a:lnTo>
                          <a:lnTo>
                            <a:pt x="27" y="111"/>
                          </a:lnTo>
                          <a:lnTo>
                            <a:pt x="18" y="107"/>
                          </a:lnTo>
                          <a:lnTo>
                            <a:pt x="9" y="80"/>
                          </a:lnTo>
                          <a:lnTo>
                            <a:pt x="4" y="80"/>
                          </a:lnTo>
                          <a:lnTo>
                            <a:pt x="4" y="76"/>
                          </a:lnTo>
                          <a:lnTo>
                            <a:pt x="0" y="53"/>
                          </a:lnTo>
                          <a:close/>
                          <a:moveTo>
                            <a:pt x="143" y="71"/>
                          </a:moveTo>
                          <a:lnTo>
                            <a:pt x="138" y="76"/>
                          </a:lnTo>
                          <a:lnTo>
                            <a:pt x="143" y="80"/>
                          </a:lnTo>
                          <a:lnTo>
                            <a:pt x="147" y="85"/>
                          </a:lnTo>
                          <a:lnTo>
                            <a:pt x="147" y="76"/>
                          </a:lnTo>
                          <a:lnTo>
                            <a:pt x="143" y="7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7" name="Freeform 6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703" y="2420"/>
                      <a:ext cx="106" cy="84"/>
                    </a:xfrm>
                    <a:custGeom>
                      <a:avLst/>
                      <a:gdLst>
                        <a:gd name="T0" fmla="*/ 0 w 112"/>
                        <a:gd name="T1" fmla="*/ 13 h 89"/>
                        <a:gd name="T2" fmla="*/ 9 w 112"/>
                        <a:gd name="T3" fmla="*/ 8 h 89"/>
                        <a:gd name="T4" fmla="*/ 9 w 112"/>
                        <a:gd name="T5" fmla="*/ 8 h 89"/>
                        <a:gd name="T6" fmla="*/ 9 w 112"/>
                        <a:gd name="T7" fmla="*/ 8 h 89"/>
                        <a:gd name="T8" fmla="*/ 9 w 112"/>
                        <a:gd name="T9" fmla="*/ 8 h 89"/>
                        <a:gd name="T10" fmla="*/ 13 w 112"/>
                        <a:gd name="T11" fmla="*/ 0 h 89"/>
                        <a:gd name="T12" fmla="*/ 18 w 112"/>
                        <a:gd name="T13" fmla="*/ 4 h 89"/>
                        <a:gd name="T14" fmla="*/ 18 w 112"/>
                        <a:gd name="T15" fmla="*/ 8 h 89"/>
                        <a:gd name="T16" fmla="*/ 20 w 112"/>
                        <a:gd name="T17" fmla="*/ 8 h 89"/>
                        <a:gd name="T18" fmla="*/ 20 w 112"/>
                        <a:gd name="T19" fmla="*/ 8 h 89"/>
                        <a:gd name="T20" fmla="*/ 21 w 112"/>
                        <a:gd name="T21" fmla="*/ 8 h 89"/>
                        <a:gd name="T22" fmla="*/ 23 w 112"/>
                        <a:gd name="T23" fmla="*/ 8 h 89"/>
                        <a:gd name="T24" fmla="*/ 23 w 112"/>
                        <a:gd name="T25" fmla="*/ 8 h 89"/>
                        <a:gd name="T26" fmla="*/ 21 w 112"/>
                        <a:gd name="T27" fmla="*/ 9 h 89"/>
                        <a:gd name="T28" fmla="*/ 20 w 112"/>
                        <a:gd name="T29" fmla="*/ 9 h 89"/>
                        <a:gd name="T30" fmla="*/ 18 w 112"/>
                        <a:gd name="T31" fmla="*/ 9 h 89"/>
                        <a:gd name="T32" fmla="*/ 17 w 112"/>
                        <a:gd name="T33" fmla="*/ 9 h 89"/>
                        <a:gd name="T34" fmla="*/ 15 w 112"/>
                        <a:gd name="T35" fmla="*/ 11 h 89"/>
                        <a:gd name="T36" fmla="*/ 9 w 112"/>
                        <a:gd name="T37" fmla="*/ 11 h 89"/>
                        <a:gd name="T38" fmla="*/ 9 w 112"/>
                        <a:gd name="T39" fmla="*/ 14 h 89"/>
                        <a:gd name="T40" fmla="*/ 9 w 112"/>
                        <a:gd name="T41" fmla="*/ 17 h 89"/>
                        <a:gd name="T42" fmla="*/ 9 w 112"/>
                        <a:gd name="T43" fmla="*/ 16 h 89"/>
                        <a:gd name="T44" fmla="*/ 9 w 112"/>
                        <a:gd name="T45" fmla="*/ 15 h 89"/>
                        <a:gd name="T46" fmla="*/ 9 w 112"/>
                        <a:gd name="T47" fmla="*/ 16 h 89"/>
                        <a:gd name="T48" fmla="*/ 0 w 112"/>
                        <a:gd name="T49" fmla="*/ 13 h 89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12"/>
                        <a:gd name="T76" fmla="*/ 0 h 89"/>
                        <a:gd name="T77" fmla="*/ 112 w 112"/>
                        <a:gd name="T78" fmla="*/ 89 h 89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12" h="89">
                          <a:moveTo>
                            <a:pt x="0" y="71"/>
                          </a:moveTo>
                          <a:lnTo>
                            <a:pt x="9" y="45"/>
                          </a:lnTo>
                          <a:lnTo>
                            <a:pt x="18" y="40"/>
                          </a:lnTo>
                          <a:lnTo>
                            <a:pt x="22" y="22"/>
                          </a:lnTo>
                          <a:lnTo>
                            <a:pt x="31" y="27"/>
                          </a:lnTo>
                          <a:lnTo>
                            <a:pt x="67" y="0"/>
                          </a:lnTo>
                          <a:lnTo>
                            <a:pt x="85" y="4"/>
                          </a:lnTo>
                          <a:lnTo>
                            <a:pt x="85" y="13"/>
                          </a:lnTo>
                          <a:lnTo>
                            <a:pt x="94" y="27"/>
                          </a:lnTo>
                          <a:lnTo>
                            <a:pt x="94" y="36"/>
                          </a:lnTo>
                          <a:lnTo>
                            <a:pt x="103" y="40"/>
                          </a:lnTo>
                          <a:lnTo>
                            <a:pt x="112" y="36"/>
                          </a:lnTo>
                          <a:lnTo>
                            <a:pt x="112" y="49"/>
                          </a:lnTo>
                          <a:lnTo>
                            <a:pt x="103" y="58"/>
                          </a:lnTo>
                          <a:lnTo>
                            <a:pt x="94" y="58"/>
                          </a:lnTo>
                          <a:lnTo>
                            <a:pt x="85" y="58"/>
                          </a:lnTo>
                          <a:lnTo>
                            <a:pt x="81" y="58"/>
                          </a:lnTo>
                          <a:lnTo>
                            <a:pt x="72" y="62"/>
                          </a:lnTo>
                          <a:lnTo>
                            <a:pt x="40" y="62"/>
                          </a:lnTo>
                          <a:lnTo>
                            <a:pt x="40" y="76"/>
                          </a:lnTo>
                          <a:lnTo>
                            <a:pt x="40" y="89"/>
                          </a:lnTo>
                          <a:lnTo>
                            <a:pt x="36" y="85"/>
                          </a:lnTo>
                          <a:lnTo>
                            <a:pt x="31" y="80"/>
                          </a:lnTo>
                          <a:lnTo>
                            <a:pt x="18" y="85"/>
                          </a:lnTo>
                          <a:lnTo>
                            <a:pt x="0" y="7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8" name="Freeform 70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74" y="2748"/>
                      <a:ext cx="161" cy="135"/>
                    </a:xfrm>
                    <a:custGeom>
                      <a:avLst/>
                      <a:gdLst>
                        <a:gd name="T0" fmla="*/ 9 w 170"/>
                        <a:gd name="T1" fmla="*/ 24 h 143"/>
                        <a:gd name="T2" fmla="*/ 0 w 170"/>
                        <a:gd name="T3" fmla="*/ 21 h 143"/>
                        <a:gd name="T4" fmla="*/ 5 w 170"/>
                        <a:gd name="T5" fmla="*/ 12 h 143"/>
                        <a:gd name="T6" fmla="*/ 9 w 170"/>
                        <a:gd name="T7" fmla="*/ 11 h 143"/>
                        <a:gd name="T8" fmla="*/ 9 w 170"/>
                        <a:gd name="T9" fmla="*/ 8 h 143"/>
                        <a:gd name="T10" fmla="*/ 9 w 170"/>
                        <a:gd name="T11" fmla="*/ 8 h 143"/>
                        <a:gd name="T12" fmla="*/ 9 w 170"/>
                        <a:gd name="T13" fmla="*/ 8 h 143"/>
                        <a:gd name="T14" fmla="*/ 9 w 170"/>
                        <a:gd name="T15" fmla="*/ 8 h 143"/>
                        <a:gd name="T16" fmla="*/ 11 w 170"/>
                        <a:gd name="T17" fmla="*/ 8 h 143"/>
                        <a:gd name="T18" fmla="*/ 17 w 170"/>
                        <a:gd name="T19" fmla="*/ 8 h 143"/>
                        <a:gd name="T20" fmla="*/ 18 w 170"/>
                        <a:gd name="T21" fmla="*/ 8 h 143"/>
                        <a:gd name="T22" fmla="*/ 20 w 170"/>
                        <a:gd name="T23" fmla="*/ 9 h 143"/>
                        <a:gd name="T24" fmla="*/ 21 w 170"/>
                        <a:gd name="T25" fmla="*/ 12 h 143"/>
                        <a:gd name="T26" fmla="*/ 24 w 170"/>
                        <a:gd name="T27" fmla="*/ 12 h 143"/>
                        <a:gd name="T28" fmla="*/ 24 w 170"/>
                        <a:gd name="T29" fmla="*/ 8 h 143"/>
                        <a:gd name="T30" fmla="*/ 22 w 170"/>
                        <a:gd name="T31" fmla="*/ 9 h 143"/>
                        <a:gd name="T32" fmla="*/ 20 w 170"/>
                        <a:gd name="T33" fmla="*/ 8 h 143"/>
                        <a:gd name="T34" fmla="*/ 20 w 170"/>
                        <a:gd name="T35" fmla="*/ 8 h 143"/>
                        <a:gd name="T36" fmla="*/ 21 w 170"/>
                        <a:gd name="T37" fmla="*/ 5 h 143"/>
                        <a:gd name="T38" fmla="*/ 25 w 170"/>
                        <a:gd name="T39" fmla="*/ 0 h 143"/>
                        <a:gd name="T40" fmla="*/ 25 w 170"/>
                        <a:gd name="T41" fmla="*/ 5 h 143"/>
                        <a:gd name="T42" fmla="*/ 26 w 170"/>
                        <a:gd name="T43" fmla="*/ 5 h 143"/>
                        <a:gd name="T44" fmla="*/ 27 w 170"/>
                        <a:gd name="T45" fmla="*/ 0 h 143"/>
                        <a:gd name="T46" fmla="*/ 29 w 170"/>
                        <a:gd name="T47" fmla="*/ 8 h 143"/>
                        <a:gd name="T48" fmla="*/ 31 w 170"/>
                        <a:gd name="T49" fmla="*/ 8 h 143"/>
                        <a:gd name="T50" fmla="*/ 33 w 170"/>
                        <a:gd name="T51" fmla="*/ 8 h 143"/>
                        <a:gd name="T52" fmla="*/ 33 w 170"/>
                        <a:gd name="T53" fmla="*/ 8 h 143"/>
                        <a:gd name="T54" fmla="*/ 33 w 170"/>
                        <a:gd name="T55" fmla="*/ 8 h 143"/>
                        <a:gd name="T56" fmla="*/ 33 w 170"/>
                        <a:gd name="T57" fmla="*/ 9 h 143"/>
                        <a:gd name="T58" fmla="*/ 31 w 170"/>
                        <a:gd name="T59" fmla="*/ 11 h 143"/>
                        <a:gd name="T60" fmla="*/ 31 w 170"/>
                        <a:gd name="T61" fmla="*/ 14 h 143"/>
                        <a:gd name="T62" fmla="*/ 31 w 170"/>
                        <a:gd name="T63" fmla="*/ 15 h 143"/>
                        <a:gd name="T64" fmla="*/ 25 w 170"/>
                        <a:gd name="T65" fmla="*/ 19 h 143"/>
                        <a:gd name="T66" fmla="*/ 25 w 170"/>
                        <a:gd name="T67" fmla="*/ 20 h 143"/>
                        <a:gd name="T68" fmla="*/ 22 w 170"/>
                        <a:gd name="T69" fmla="*/ 21 h 143"/>
                        <a:gd name="T70" fmla="*/ 21 w 170"/>
                        <a:gd name="T71" fmla="*/ 22 h 143"/>
                        <a:gd name="T72" fmla="*/ 19 w 170"/>
                        <a:gd name="T73" fmla="*/ 23 h 143"/>
                        <a:gd name="T74" fmla="*/ 15 w 170"/>
                        <a:gd name="T75" fmla="*/ 25 h 143"/>
                        <a:gd name="T76" fmla="*/ 9 w 170"/>
                        <a:gd name="T77" fmla="*/ 25 h 143"/>
                        <a:gd name="T78" fmla="*/ 9 w 170"/>
                        <a:gd name="T79" fmla="*/ 24 h 143"/>
                        <a:gd name="T80" fmla="*/ 9 w 170"/>
                        <a:gd name="T81" fmla="*/ 24 h 143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170"/>
                        <a:gd name="T124" fmla="*/ 0 h 143"/>
                        <a:gd name="T125" fmla="*/ 170 w 170"/>
                        <a:gd name="T126" fmla="*/ 143 h 143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170" h="143">
                          <a:moveTo>
                            <a:pt x="23" y="134"/>
                          </a:moveTo>
                          <a:lnTo>
                            <a:pt x="0" y="112"/>
                          </a:lnTo>
                          <a:lnTo>
                            <a:pt x="5" y="67"/>
                          </a:lnTo>
                          <a:lnTo>
                            <a:pt x="27" y="63"/>
                          </a:lnTo>
                          <a:lnTo>
                            <a:pt x="31" y="54"/>
                          </a:lnTo>
                          <a:lnTo>
                            <a:pt x="31" y="32"/>
                          </a:lnTo>
                          <a:lnTo>
                            <a:pt x="40" y="41"/>
                          </a:lnTo>
                          <a:lnTo>
                            <a:pt x="49" y="36"/>
                          </a:lnTo>
                          <a:lnTo>
                            <a:pt x="58" y="50"/>
                          </a:lnTo>
                          <a:lnTo>
                            <a:pt x="81" y="45"/>
                          </a:lnTo>
                          <a:lnTo>
                            <a:pt x="85" y="54"/>
                          </a:lnTo>
                          <a:lnTo>
                            <a:pt x="94" y="58"/>
                          </a:lnTo>
                          <a:lnTo>
                            <a:pt x="103" y="67"/>
                          </a:lnTo>
                          <a:lnTo>
                            <a:pt x="121" y="67"/>
                          </a:lnTo>
                          <a:lnTo>
                            <a:pt x="121" y="50"/>
                          </a:lnTo>
                          <a:lnTo>
                            <a:pt x="107" y="58"/>
                          </a:lnTo>
                          <a:lnTo>
                            <a:pt x="94" y="45"/>
                          </a:lnTo>
                          <a:lnTo>
                            <a:pt x="98" y="18"/>
                          </a:lnTo>
                          <a:lnTo>
                            <a:pt x="103" y="5"/>
                          </a:lnTo>
                          <a:lnTo>
                            <a:pt x="125" y="0"/>
                          </a:lnTo>
                          <a:lnTo>
                            <a:pt x="125" y="5"/>
                          </a:lnTo>
                          <a:lnTo>
                            <a:pt x="134" y="5"/>
                          </a:lnTo>
                          <a:lnTo>
                            <a:pt x="139" y="0"/>
                          </a:lnTo>
                          <a:lnTo>
                            <a:pt x="148" y="9"/>
                          </a:lnTo>
                          <a:lnTo>
                            <a:pt x="161" y="14"/>
                          </a:lnTo>
                          <a:lnTo>
                            <a:pt x="170" y="27"/>
                          </a:lnTo>
                          <a:lnTo>
                            <a:pt x="170" y="36"/>
                          </a:lnTo>
                          <a:lnTo>
                            <a:pt x="165" y="36"/>
                          </a:lnTo>
                          <a:lnTo>
                            <a:pt x="165" y="58"/>
                          </a:lnTo>
                          <a:lnTo>
                            <a:pt x="161" y="63"/>
                          </a:lnTo>
                          <a:lnTo>
                            <a:pt x="157" y="76"/>
                          </a:lnTo>
                          <a:lnTo>
                            <a:pt x="161" y="81"/>
                          </a:lnTo>
                          <a:lnTo>
                            <a:pt x="125" y="99"/>
                          </a:lnTo>
                          <a:lnTo>
                            <a:pt x="125" y="108"/>
                          </a:lnTo>
                          <a:lnTo>
                            <a:pt x="107" y="112"/>
                          </a:lnTo>
                          <a:lnTo>
                            <a:pt x="103" y="117"/>
                          </a:lnTo>
                          <a:lnTo>
                            <a:pt x="90" y="126"/>
                          </a:lnTo>
                          <a:lnTo>
                            <a:pt x="72" y="143"/>
                          </a:lnTo>
                          <a:lnTo>
                            <a:pt x="45" y="139"/>
                          </a:lnTo>
                          <a:lnTo>
                            <a:pt x="31" y="130"/>
                          </a:lnTo>
                          <a:lnTo>
                            <a:pt x="23" y="13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9" name="Freeform 7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505" y="2454"/>
                      <a:ext cx="17" cy="9"/>
                    </a:xfrm>
                    <a:custGeom>
                      <a:avLst/>
                      <a:gdLst>
                        <a:gd name="T0" fmla="*/ 0 w 18"/>
                        <a:gd name="T1" fmla="*/ 4 h 9"/>
                        <a:gd name="T2" fmla="*/ 9 w 18"/>
                        <a:gd name="T3" fmla="*/ 9 h 9"/>
                        <a:gd name="T4" fmla="*/ 9 w 18"/>
                        <a:gd name="T5" fmla="*/ 4 h 9"/>
                        <a:gd name="T6" fmla="*/ 4 w 18"/>
                        <a:gd name="T7" fmla="*/ 0 h 9"/>
                        <a:gd name="T8" fmla="*/ 0 w 18"/>
                        <a:gd name="T9" fmla="*/ 4 h 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8"/>
                        <a:gd name="T16" fmla="*/ 0 h 9"/>
                        <a:gd name="T17" fmla="*/ 18 w 18"/>
                        <a:gd name="T18" fmla="*/ 9 h 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8" h="9">
                          <a:moveTo>
                            <a:pt x="0" y="4"/>
                          </a:moveTo>
                          <a:lnTo>
                            <a:pt x="9" y="9"/>
                          </a:lnTo>
                          <a:lnTo>
                            <a:pt x="18" y="4"/>
                          </a:lnTo>
                          <a:lnTo>
                            <a:pt x="4" y="0"/>
                          </a:lnTo>
                          <a:lnTo>
                            <a:pt x="0" y="4"/>
                          </a:lnTo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0" name="Freeform 7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92" y="2748"/>
                      <a:ext cx="13" cy="5"/>
                    </a:xfrm>
                    <a:custGeom>
                      <a:avLst/>
                      <a:gdLst>
                        <a:gd name="T0" fmla="*/ 7 w 14"/>
                        <a:gd name="T1" fmla="*/ 0 h 5"/>
                        <a:gd name="T2" fmla="*/ 7 w 14"/>
                        <a:gd name="T3" fmla="*/ 5 h 5"/>
                        <a:gd name="T4" fmla="*/ 0 w 14"/>
                        <a:gd name="T5" fmla="*/ 5 h 5"/>
                        <a:gd name="T6" fmla="*/ 0 w 14"/>
                        <a:gd name="T7" fmla="*/ 0 h 5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0 w 14"/>
                        <a:gd name="T13" fmla="*/ 0 h 5"/>
                        <a:gd name="T14" fmla="*/ 14 w 14"/>
                        <a:gd name="T15" fmla="*/ 5 h 5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14" h="5">
                          <a:moveTo>
                            <a:pt x="14" y="0"/>
                          </a:moveTo>
                          <a:lnTo>
                            <a:pt x="9" y="5"/>
                          </a:lnTo>
                          <a:lnTo>
                            <a:pt x="0" y="5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57" name="Group 73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84" y="854"/>
                    <a:ext cx="1830" cy="2709"/>
                    <a:chOff x="484" y="854"/>
                    <a:chExt cx="1830" cy="2709"/>
                  </a:xfrm>
                </p:grpSpPr>
                <p:sp>
                  <p:nvSpPr>
                    <p:cNvPr id="563" name="Freeform 74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1787" y="2943"/>
                      <a:ext cx="270" cy="603"/>
                    </a:xfrm>
                    <a:custGeom>
                      <a:avLst/>
                      <a:gdLst>
                        <a:gd name="T0" fmla="*/ 14 w 286"/>
                        <a:gd name="T1" fmla="*/ 102 h 639"/>
                        <a:gd name="T2" fmla="*/ 12 w 286"/>
                        <a:gd name="T3" fmla="*/ 93 h 639"/>
                        <a:gd name="T4" fmla="*/ 15 w 286"/>
                        <a:gd name="T5" fmla="*/ 92 h 639"/>
                        <a:gd name="T6" fmla="*/ 16 w 286"/>
                        <a:gd name="T7" fmla="*/ 88 h 639"/>
                        <a:gd name="T8" fmla="*/ 22 w 286"/>
                        <a:gd name="T9" fmla="*/ 80 h 639"/>
                        <a:gd name="T10" fmla="*/ 17 w 286"/>
                        <a:gd name="T11" fmla="*/ 77 h 639"/>
                        <a:gd name="T12" fmla="*/ 19 w 286"/>
                        <a:gd name="T13" fmla="*/ 73 h 639"/>
                        <a:gd name="T14" fmla="*/ 23 w 286"/>
                        <a:gd name="T15" fmla="*/ 66 h 639"/>
                        <a:gd name="T16" fmla="*/ 23 w 286"/>
                        <a:gd name="T17" fmla="*/ 64 h 639"/>
                        <a:gd name="T18" fmla="*/ 25 w 286"/>
                        <a:gd name="T19" fmla="*/ 64 h 639"/>
                        <a:gd name="T20" fmla="*/ 24 w 286"/>
                        <a:gd name="T21" fmla="*/ 62 h 639"/>
                        <a:gd name="T22" fmla="*/ 23 w 286"/>
                        <a:gd name="T23" fmla="*/ 58 h 639"/>
                        <a:gd name="T24" fmla="*/ 30 w 286"/>
                        <a:gd name="T25" fmla="*/ 58 h 639"/>
                        <a:gd name="T26" fmla="*/ 30 w 286"/>
                        <a:gd name="T27" fmla="*/ 51 h 639"/>
                        <a:gd name="T28" fmla="*/ 40 w 286"/>
                        <a:gd name="T29" fmla="*/ 49 h 639"/>
                        <a:gd name="T30" fmla="*/ 42 w 286"/>
                        <a:gd name="T31" fmla="*/ 42 h 639"/>
                        <a:gd name="T32" fmla="*/ 42 w 286"/>
                        <a:gd name="T33" fmla="*/ 42 h 639"/>
                        <a:gd name="T34" fmla="*/ 40 w 286"/>
                        <a:gd name="T35" fmla="*/ 38 h 639"/>
                        <a:gd name="T36" fmla="*/ 40 w 286"/>
                        <a:gd name="T37" fmla="*/ 34 h 639"/>
                        <a:gd name="T38" fmla="*/ 40 w 286"/>
                        <a:gd name="T39" fmla="*/ 29 h 639"/>
                        <a:gd name="T40" fmla="*/ 42 w 286"/>
                        <a:gd name="T41" fmla="*/ 24 h 639"/>
                        <a:gd name="T42" fmla="*/ 48 w 286"/>
                        <a:gd name="T43" fmla="*/ 18 h 639"/>
                        <a:gd name="T44" fmla="*/ 51 w 286"/>
                        <a:gd name="T45" fmla="*/ 9 h 639"/>
                        <a:gd name="T46" fmla="*/ 48 w 286"/>
                        <a:gd name="T47" fmla="*/ 14 h 639"/>
                        <a:gd name="T48" fmla="*/ 42 w 286"/>
                        <a:gd name="T49" fmla="*/ 17 h 639"/>
                        <a:gd name="T50" fmla="*/ 38 w 286"/>
                        <a:gd name="T51" fmla="*/ 16 h 639"/>
                        <a:gd name="T52" fmla="*/ 40 w 286"/>
                        <a:gd name="T53" fmla="*/ 8 h 639"/>
                        <a:gd name="T54" fmla="*/ 33 w 286"/>
                        <a:gd name="T55" fmla="*/ 8 h 639"/>
                        <a:gd name="T56" fmla="*/ 26 w 286"/>
                        <a:gd name="T57" fmla="*/ 0 h 639"/>
                        <a:gd name="T58" fmla="*/ 24 w 286"/>
                        <a:gd name="T59" fmla="*/ 8 h 639"/>
                        <a:gd name="T60" fmla="*/ 19 w 286"/>
                        <a:gd name="T61" fmla="*/ 0 h 639"/>
                        <a:gd name="T62" fmla="*/ 17 w 286"/>
                        <a:gd name="T63" fmla="*/ 8 h 639"/>
                        <a:gd name="T64" fmla="*/ 11 w 286"/>
                        <a:gd name="T65" fmla="*/ 13 h 639"/>
                        <a:gd name="T66" fmla="*/ 9 w 286"/>
                        <a:gd name="T67" fmla="*/ 18 h 639"/>
                        <a:gd name="T68" fmla="*/ 8 w 286"/>
                        <a:gd name="T69" fmla="*/ 24 h 639"/>
                        <a:gd name="T70" fmla="*/ 8 w 286"/>
                        <a:gd name="T71" fmla="*/ 27 h 639"/>
                        <a:gd name="T72" fmla="*/ 8 w 286"/>
                        <a:gd name="T73" fmla="*/ 33 h 639"/>
                        <a:gd name="T74" fmla="*/ 8 w 286"/>
                        <a:gd name="T75" fmla="*/ 38 h 639"/>
                        <a:gd name="T76" fmla="*/ 8 w 286"/>
                        <a:gd name="T77" fmla="*/ 44 h 639"/>
                        <a:gd name="T78" fmla="*/ 8 w 286"/>
                        <a:gd name="T79" fmla="*/ 51 h 639"/>
                        <a:gd name="T80" fmla="*/ 8 w 286"/>
                        <a:gd name="T81" fmla="*/ 55 h 639"/>
                        <a:gd name="T82" fmla="*/ 8 w 286"/>
                        <a:gd name="T83" fmla="*/ 61 h 639"/>
                        <a:gd name="T84" fmla="*/ 8 w 286"/>
                        <a:gd name="T85" fmla="*/ 66 h 639"/>
                        <a:gd name="T86" fmla="*/ 8 w 286"/>
                        <a:gd name="T87" fmla="*/ 70 h 639"/>
                        <a:gd name="T88" fmla="*/ 8 w 286"/>
                        <a:gd name="T89" fmla="*/ 72 h 639"/>
                        <a:gd name="T90" fmla="*/ 8 w 286"/>
                        <a:gd name="T91" fmla="*/ 75 h 639"/>
                        <a:gd name="T92" fmla="*/ 8 w 286"/>
                        <a:gd name="T93" fmla="*/ 86 h 639"/>
                        <a:gd name="T94" fmla="*/ 0 w 286"/>
                        <a:gd name="T95" fmla="*/ 89 h 639"/>
                        <a:gd name="T96" fmla="*/ 8 w 286"/>
                        <a:gd name="T97" fmla="*/ 94 h 639"/>
                        <a:gd name="T98" fmla="*/ 8 w 286"/>
                        <a:gd name="T99" fmla="*/ 99 h 639"/>
                        <a:gd name="T100" fmla="*/ 13 w 286"/>
                        <a:gd name="T101" fmla="*/ 112 h 639"/>
                        <a:gd name="T102" fmla="*/ 18 w 286"/>
                        <a:gd name="T103" fmla="*/ 112 h 639"/>
                        <a:gd name="T104" fmla="*/ 20 w 286"/>
                        <a:gd name="T105" fmla="*/ 112 h 639"/>
                        <a:gd name="T106" fmla="*/ 23 w 286"/>
                        <a:gd name="T107" fmla="*/ 109 h 639"/>
                        <a:gd name="T108" fmla="*/ 17 w 286"/>
                        <a:gd name="T109" fmla="*/ 108 h 639"/>
                        <a:gd name="T110" fmla="*/ 13 w 286"/>
                        <a:gd name="T111" fmla="*/ 104 h 639"/>
                        <a:gd name="T112" fmla="*/ 13 w 286"/>
                        <a:gd name="T113" fmla="*/ 102 h 639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w 286"/>
                        <a:gd name="T172" fmla="*/ 0 h 639"/>
                        <a:gd name="T173" fmla="*/ 286 w 286"/>
                        <a:gd name="T174" fmla="*/ 639 h 639"/>
                      </a:gdLst>
                      <a:ahLst/>
                      <a:cxnLst>
                        <a:cxn ang="T114">
                          <a:pos x="T0" y="T1"/>
                        </a:cxn>
                        <a:cxn ang="T115">
                          <a:pos x="T2" y="T3"/>
                        </a:cxn>
                        <a:cxn ang="T116">
                          <a:pos x="T4" y="T5"/>
                        </a:cxn>
                        <a:cxn ang="T117">
                          <a:pos x="T6" y="T7"/>
                        </a:cxn>
                        <a:cxn ang="T118">
                          <a:pos x="T8" y="T9"/>
                        </a:cxn>
                        <a:cxn ang="T119">
                          <a:pos x="T10" y="T11"/>
                        </a:cxn>
                        <a:cxn ang="T120">
                          <a:pos x="T12" y="T13"/>
                        </a:cxn>
                        <a:cxn ang="T121">
                          <a:pos x="T14" y="T15"/>
                        </a:cxn>
                        <a:cxn ang="T122">
                          <a:pos x="T16" y="T17"/>
                        </a:cxn>
                        <a:cxn ang="T123">
                          <a:pos x="T18" y="T19"/>
                        </a:cxn>
                        <a:cxn ang="T124">
                          <a:pos x="T20" y="T21"/>
                        </a:cxn>
                        <a:cxn ang="T125">
                          <a:pos x="T22" y="T23"/>
                        </a:cxn>
                        <a:cxn ang="T126">
                          <a:pos x="T24" y="T25"/>
                        </a:cxn>
                        <a:cxn ang="T127">
                          <a:pos x="T26" y="T27"/>
                        </a:cxn>
                        <a:cxn ang="T128">
                          <a:pos x="T28" y="T29"/>
                        </a:cxn>
                        <a:cxn ang="T129">
                          <a:pos x="T30" y="T31"/>
                        </a:cxn>
                        <a:cxn ang="T130">
                          <a:pos x="T32" y="T33"/>
                        </a:cxn>
                        <a:cxn ang="T131">
                          <a:pos x="T34" y="T35"/>
                        </a:cxn>
                        <a:cxn ang="T132">
                          <a:pos x="T36" y="T37"/>
                        </a:cxn>
                        <a:cxn ang="T133">
                          <a:pos x="T38" y="T39"/>
                        </a:cxn>
                        <a:cxn ang="T134">
                          <a:pos x="T40" y="T41"/>
                        </a:cxn>
                        <a:cxn ang="T135">
                          <a:pos x="T42" y="T43"/>
                        </a:cxn>
                        <a:cxn ang="T136">
                          <a:pos x="T44" y="T45"/>
                        </a:cxn>
                        <a:cxn ang="T137">
                          <a:pos x="T46" y="T47"/>
                        </a:cxn>
                        <a:cxn ang="T138">
                          <a:pos x="T48" y="T49"/>
                        </a:cxn>
                        <a:cxn ang="T139">
                          <a:pos x="T50" y="T51"/>
                        </a:cxn>
                        <a:cxn ang="T140">
                          <a:pos x="T52" y="T53"/>
                        </a:cxn>
                        <a:cxn ang="T141">
                          <a:pos x="T54" y="T55"/>
                        </a:cxn>
                        <a:cxn ang="T142">
                          <a:pos x="T56" y="T57"/>
                        </a:cxn>
                        <a:cxn ang="T143">
                          <a:pos x="T58" y="T59"/>
                        </a:cxn>
                        <a:cxn ang="T144">
                          <a:pos x="T60" y="T61"/>
                        </a:cxn>
                        <a:cxn ang="T145">
                          <a:pos x="T62" y="T63"/>
                        </a:cxn>
                        <a:cxn ang="T146">
                          <a:pos x="T64" y="T65"/>
                        </a:cxn>
                        <a:cxn ang="T147">
                          <a:pos x="T66" y="T67"/>
                        </a:cxn>
                        <a:cxn ang="T148">
                          <a:pos x="T68" y="T69"/>
                        </a:cxn>
                        <a:cxn ang="T149">
                          <a:pos x="T70" y="T71"/>
                        </a:cxn>
                        <a:cxn ang="T150">
                          <a:pos x="T72" y="T73"/>
                        </a:cxn>
                        <a:cxn ang="T151">
                          <a:pos x="T74" y="T75"/>
                        </a:cxn>
                        <a:cxn ang="T152">
                          <a:pos x="T76" y="T77"/>
                        </a:cxn>
                        <a:cxn ang="T153">
                          <a:pos x="T78" y="T79"/>
                        </a:cxn>
                        <a:cxn ang="T154">
                          <a:pos x="T80" y="T81"/>
                        </a:cxn>
                        <a:cxn ang="T155">
                          <a:pos x="T82" y="T83"/>
                        </a:cxn>
                        <a:cxn ang="T156">
                          <a:pos x="T84" y="T85"/>
                        </a:cxn>
                        <a:cxn ang="T157">
                          <a:pos x="T86" y="T87"/>
                        </a:cxn>
                        <a:cxn ang="T158">
                          <a:pos x="T88" y="T89"/>
                        </a:cxn>
                        <a:cxn ang="T159">
                          <a:pos x="T90" y="T91"/>
                        </a:cxn>
                        <a:cxn ang="T160">
                          <a:pos x="T92" y="T93"/>
                        </a:cxn>
                        <a:cxn ang="T161">
                          <a:pos x="T94" y="T95"/>
                        </a:cxn>
                        <a:cxn ang="T162">
                          <a:pos x="T96" y="T97"/>
                        </a:cxn>
                        <a:cxn ang="T163">
                          <a:pos x="T98" y="T99"/>
                        </a:cxn>
                        <a:cxn ang="T164">
                          <a:pos x="T100" y="T101"/>
                        </a:cxn>
                        <a:cxn ang="T165">
                          <a:pos x="T102" y="T103"/>
                        </a:cxn>
                        <a:cxn ang="T166">
                          <a:pos x="T104" y="T105"/>
                        </a:cxn>
                        <a:cxn ang="T167">
                          <a:pos x="T106" y="T107"/>
                        </a:cxn>
                        <a:cxn ang="T168">
                          <a:pos x="T108" y="T109"/>
                        </a:cxn>
                        <a:cxn ang="T169">
                          <a:pos x="T110" y="T111"/>
                        </a:cxn>
                        <a:cxn ang="T170">
                          <a:pos x="T112" y="T113"/>
                        </a:cxn>
                      </a:cxnLst>
                      <a:rect l="T171" t="T172" r="T173" b="T174"/>
                      <a:pathLst>
                        <a:path w="286" h="639">
                          <a:moveTo>
                            <a:pt x="62" y="567"/>
                          </a:moveTo>
                          <a:lnTo>
                            <a:pt x="76" y="576"/>
                          </a:lnTo>
                          <a:lnTo>
                            <a:pt x="67" y="541"/>
                          </a:lnTo>
                          <a:lnTo>
                            <a:pt x="67" y="532"/>
                          </a:lnTo>
                          <a:lnTo>
                            <a:pt x="76" y="523"/>
                          </a:lnTo>
                          <a:lnTo>
                            <a:pt x="80" y="523"/>
                          </a:lnTo>
                          <a:lnTo>
                            <a:pt x="89" y="505"/>
                          </a:lnTo>
                          <a:lnTo>
                            <a:pt x="85" y="500"/>
                          </a:lnTo>
                          <a:lnTo>
                            <a:pt x="111" y="478"/>
                          </a:lnTo>
                          <a:lnTo>
                            <a:pt x="116" y="456"/>
                          </a:lnTo>
                          <a:lnTo>
                            <a:pt x="103" y="451"/>
                          </a:lnTo>
                          <a:lnTo>
                            <a:pt x="89" y="438"/>
                          </a:lnTo>
                          <a:lnTo>
                            <a:pt x="94" y="424"/>
                          </a:lnTo>
                          <a:lnTo>
                            <a:pt x="103" y="411"/>
                          </a:lnTo>
                          <a:lnTo>
                            <a:pt x="120" y="411"/>
                          </a:lnTo>
                          <a:lnTo>
                            <a:pt x="125" y="375"/>
                          </a:lnTo>
                          <a:lnTo>
                            <a:pt x="134" y="366"/>
                          </a:lnTo>
                          <a:lnTo>
                            <a:pt x="129" y="362"/>
                          </a:lnTo>
                          <a:lnTo>
                            <a:pt x="138" y="366"/>
                          </a:lnTo>
                          <a:lnTo>
                            <a:pt x="143" y="362"/>
                          </a:lnTo>
                          <a:lnTo>
                            <a:pt x="143" y="353"/>
                          </a:lnTo>
                          <a:lnTo>
                            <a:pt x="134" y="353"/>
                          </a:lnTo>
                          <a:lnTo>
                            <a:pt x="125" y="349"/>
                          </a:lnTo>
                          <a:lnTo>
                            <a:pt x="125" y="326"/>
                          </a:lnTo>
                          <a:lnTo>
                            <a:pt x="147" y="335"/>
                          </a:lnTo>
                          <a:lnTo>
                            <a:pt x="165" y="331"/>
                          </a:lnTo>
                          <a:lnTo>
                            <a:pt x="161" y="313"/>
                          </a:lnTo>
                          <a:lnTo>
                            <a:pt x="170" y="290"/>
                          </a:lnTo>
                          <a:lnTo>
                            <a:pt x="210" y="286"/>
                          </a:lnTo>
                          <a:lnTo>
                            <a:pt x="228" y="277"/>
                          </a:lnTo>
                          <a:lnTo>
                            <a:pt x="241" y="255"/>
                          </a:lnTo>
                          <a:lnTo>
                            <a:pt x="241" y="241"/>
                          </a:lnTo>
                          <a:lnTo>
                            <a:pt x="237" y="246"/>
                          </a:lnTo>
                          <a:lnTo>
                            <a:pt x="232" y="237"/>
                          </a:lnTo>
                          <a:lnTo>
                            <a:pt x="237" y="228"/>
                          </a:lnTo>
                          <a:lnTo>
                            <a:pt x="219" y="214"/>
                          </a:lnTo>
                          <a:lnTo>
                            <a:pt x="214" y="206"/>
                          </a:lnTo>
                          <a:lnTo>
                            <a:pt x="219" y="188"/>
                          </a:lnTo>
                          <a:lnTo>
                            <a:pt x="223" y="183"/>
                          </a:lnTo>
                          <a:lnTo>
                            <a:pt x="219" y="165"/>
                          </a:lnTo>
                          <a:lnTo>
                            <a:pt x="228" y="138"/>
                          </a:lnTo>
                          <a:lnTo>
                            <a:pt x="232" y="134"/>
                          </a:lnTo>
                          <a:lnTo>
                            <a:pt x="232" y="130"/>
                          </a:lnTo>
                          <a:lnTo>
                            <a:pt x="268" y="94"/>
                          </a:lnTo>
                          <a:lnTo>
                            <a:pt x="286" y="80"/>
                          </a:lnTo>
                          <a:lnTo>
                            <a:pt x="286" y="58"/>
                          </a:lnTo>
                          <a:lnTo>
                            <a:pt x="277" y="58"/>
                          </a:lnTo>
                          <a:lnTo>
                            <a:pt x="272" y="76"/>
                          </a:lnTo>
                          <a:lnTo>
                            <a:pt x="259" y="89"/>
                          </a:lnTo>
                          <a:lnTo>
                            <a:pt x="241" y="89"/>
                          </a:lnTo>
                          <a:lnTo>
                            <a:pt x="228" y="85"/>
                          </a:lnTo>
                          <a:lnTo>
                            <a:pt x="214" y="85"/>
                          </a:lnTo>
                          <a:lnTo>
                            <a:pt x="228" y="58"/>
                          </a:lnTo>
                          <a:lnTo>
                            <a:pt x="228" y="49"/>
                          </a:lnTo>
                          <a:lnTo>
                            <a:pt x="192" y="31"/>
                          </a:lnTo>
                          <a:lnTo>
                            <a:pt x="183" y="31"/>
                          </a:lnTo>
                          <a:lnTo>
                            <a:pt x="156" y="4"/>
                          </a:lnTo>
                          <a:lnTo>
                            <a:pt x="152" y="0"/>
                          </a:lnTo>
                          <a:lnTo>
                            <a:pt x="138" y="0"/>
                          </a:lnTo>
                          <a:lnTo>
                            <a:pt x="134" y="13"/>
                          </a:lnTo>
                          <a:lnTo>
                            <a:pt x="125" y="4"/>
                          </a:lnTo>
                          <a:lnTo>
                            <a:pt x="103" y="0"/>
                          </a:lnTo>
                          <a:lnTo>
                            <a:pt x="89" y="13"/>
                          </a:lnTo>
                          <a:lnTo>
                            <a:pt x="89" y="31"/>
                          </a:lnTo>
                          <a:lnTo>
                            <a:pt x="67" y="45"/>
                          </a:lnTo>
                          <a:lnTo>
                            <a:pt x="62" y="71"/>
                          </a:lnTo>
                          <a:lnTo>
                            <a:pt x="67" y="80"/>
                          </a:lnTo>
                          <a:lnTo>
                            <a:pt x="58" y="94"/>
                          </a:lnTo>
                          <a:lnTo>
                            <a:pt x="49" y="121"/>
                          </a:lnTo>
                          <a:lnTo>
                            <a:pt x="53" y="138"/>
                          </a:lnTo>
                          <a:lnTo>
                            <a:pt x="44" y="143"/>
                          </a:lnTo>
                          <a:lnTo>
                            <a:pt x="40" y="156"/>
                          </a:lnTo>
                          <a:lnTo>
                            <a:pt x="49" y="183"/>
                          </a:lnTo>
                          <a:lnTo>
                            <a:pt x="53" y="183"/>
                          </a:lnTo>
                          <a:lnTo>
                            <a:pt x="53" y="201"/>
                          </a:lnTo>
                          <a:lnTo>
                            <a:pt x="44" y="214"/>
                          </a:lnTo>
                          <a:lnTo>
                            <a:pt x="40" y="237"/>
                          </a:lnTo>
                          <a:lnTo>
                            <a:pt x="31" y="250"/>
                          </a:lnTo>
                          <a:lnTo>
                            <a:pt x="36" y="286"/>
                          </a:lnTo>
                          <a:lnTo>
                            <a:pt x="27" y="290"/>
                          </a:lnTo>
                          <a:lnTo>
                            <a:pt x="27" y="304"/>
                          </a:lnTo>
                          <a:lnTo>
                            <a:pt x="22" y="308"/>
                          </a:lnTo>
                          <a:lnTo>
                            <a:pt x="22" y="326"/>
                          </a:lnTo>
                          <a:lnTo>
                            <a:pt x="27" y="349"/>
                          </a:lnTo>
                          <a:lnTo>
                            <a:pt x="22" y="362"/>
                          </a:lnTo>
                          <a:lnTo>
                            <a:pt x="27" y="375"/>
                          </a:lnTo>
                          <a:lnTo>
                            <a:pt x="22" y="398"/>
                          </a:lnTo>
                          <a:lnTo>
                            <a:pt x="31" y="398"/>
                          </a:lnTo>
                          <a:lnTo>
                            <a:pt x="31" y="407"/>
                          </a:lnTo>
                          <a:lnTo>
                            <a:pt x="22" y="407"/>
                          </a:lnTo>
                          <a:lnTo>
                            <a:pt x="31" y="416"/>
                          </a:lnTo>
                          <a:lnTo>
                            <a:pt x="22" y="424"/>
                          </a:lnTo>
                          <a:lnTo>
                            <a:pt x="22" y="442"/>
                          </a:lnTo>
                          <a:lnTo>
                            <a:pt x="13" y="487"/>
                          </a:lnTo>
                          <a:lnTo>
                            <a:pt x="9" y="492"/>
                          </a:lnTo>
                          <a:lnTo>
                            <a:pt x="0" y="509"/>
                          </a:lnTo>
                          <a:lnTo>
                            <a:pt x="4" y="536"/>
                          </a:lnTo>
                          <a:lnTo>
                            <a:pt x="13" y="536"/>
                          </a:lnTo>
                          <a:lnTo>
                            <a:pt x="13" y="554"/>
                          </a:lnTo>
                          <a:lnTo>
                            <a:pt x="22" y="563"/>
                          </a:lnTo>
                          <a:lnTo>
                            <a:pt x="62" y="567"/>
                          </a:lnTo>
                          <a:close/>
                          <a:moveTo>
                            <a:pt x="71" y="635"/>
                          </a:moveTo>
                          <a:lnTo>
                            <a:pt x="80" y="635"/>
                          </a:lnTo>
                          <a:lnTo>
                            <a:pt x="94" y="635"/>
                          </a:lnTo>
                          <a:lnTo>
                            <a:pt x="103" y="639"/>
                          </a:lnTo>
                          <a:lnTo>
                            <a:pt x="107" y="635"/>
                          </a:lnTo>
                          <a:lnTo>
                            <a:pt x="120" y="635"/>
                          </a:lnTo>
                          <a:lnTo>
                            <a:pt x="125" y="626"/>
                          </a:lnTo>
                          <a:lnTo>
                            <a:pt x="107" y="626"/>
                          </a:lnTo>
                          <a:lnTo>
                            <a:pt x="89" y="617"/>
                          </a:lnTo>
                          <a:lnTo>
                            <a:pt x="80" y="594"/>
                          </a:lnTo>
                          <a:lnTo>
                            <a:pt x="71" y="594"/>
                          </a:lnTo>
                          <a:lnTo>
                            <a:pt x="76" y="585"/>
                          </a:lnTo>
                          <a:lnTo>
                            <a:pt x="71" y="576"/>
                          </a:lnTo>
                          <a:lnTo>
                            <a:pt x="71" y="63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4" name="Freeform 75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1715" y="2247"/>
                      <a:ext cx="80" cy="93"/>
                    </a:xfrm>
                    <a:custGeom>
                      <a:avLst/>
                      <a:gdLst>
                        <a:gd name="T0" fmla="*/ 4 w 85"/>
                        <a:gd name="T1" fmla="*/ 4 h 98"/>
                        <a:gd name="T2" fmla="*/ 0 w 85"/>
                        <a:gd name="T3" fmla="*/ 9 h 98"/>
                        <a:gd name="T4" fmla="*/ 8 w 85"/>
                        <a:gd name="T5" fmla="*/ 9 h 98"/>
                        <a:gd name="T6" fmla="*/ 8 w 85"/>
                        <a:gd name="T7" fmla="*/ 9 h 98"/>
                        <a:gd name="T8" fmla="*/ 8 w 85"/>
                        <a:gd name="T9" fmla="*/ 4 h 98"/>
                        <a:gd name="T10" fmla="*/ 4 w 85"/>
                        <a:gd name="T11" fmla="*/ 4 h 98"/>
                        <a:gd name="T12" fmla="*/ 8 w 85"/>
                        <a:gd name="T13" fmla="*/ 9 h 98"/>
                        <a:gd name="T14" fmla="*/ 4 w 85"/>
                        <a:gd name="T15" fmla="*/ 9 h 98"/>
                        <a:gd name="T16" fmla="*/ 8 w 85"/>
                        <a:gd name="T17" fmla="*/ 9 h 98"/>
                        <a:gd name="T18" fmla="*/ 8 w 85"/>
                        <a:gd name="T19" fmla="*/ 9 h 98"/>
                        <a:gd name="T20" fmla="*/ 8 w 85"/>
                        <a:gd name="T21" fmla="*/ 9 h 98"/>
                        <a:gd name="T22" fmla="*/ 8 w 85"/>
                        <a:gd name="T23" fmla="*/ 9 h 98"/>
                        <a:gd name="T24" fmla="*/ 8 w 85"/>
                        <a:gd name="T25" fmla="*/ 9 h 98"/>
                        <a:gd name="T26" fmla="*/ 8 w 85"/>
                        <a:gd name="T27" fmla="*/ 9 h 98"/>
                        <a:gd name="T28" fmla="*/ 8 w 85"/>
                        <a:gd name="T29" fmla="*/ 9 h 98"/>
                        <a:gd name="T30" fmla="*/ 8 w 85"/>
                        <a:gd name="T31" fmla="*/ 9 h 98"/>
                        <a:gd name="T32" fmla="*/ 8 w 85"/>
                        <a:gd name="T33" fmla="*/ 9 h 98"/>
                        <a:gd name="T34" fmla="*/ 8 w 85"/>
                        <a:gd name="T35" fmla="*/ 9 h 98"/>
                        <a:gd name="T36" fmla="*/ 8 w 85"/>
                        <a:gd name="T37" fmla="*/ 0 h 98"/>
                        <a:gd name="T38" fmla="*/ 8 w 85"/>
                        <a:gd name="T39" fmla="*/ 9 h 98"/>
                        <a:gd name="T40" fmla="*/ 8 w 85"/>
                        <a:gd name="T41" fmla="*/ 9 h 98"/>
                        <a:gd name="T42" fmla="*/ 8 w 85"/>
                        <a:gd name="T43" fmla="*/ 9 h 98"/>
                        <a:gd name="T44" fmla="*/ 8 w 85"/>
                        <a:gd name="T45" fmla="*/ 9 h 98"/>
                        <a:gd name="T46" fmla="*/ 8 w 85"/>
                        <a:gd name="T47" fmla="*/ 4 h 98"/>
                        <a:gd name="T48" fmla="*/ 8 w 85"/>
                        <a:gd name="T49" fmla="*/ 0 h 98"/>
                        <a:gd name="T50" fmla="*/ 8 w 85"/>
                        <a:gd name="T51" fmla="*/ 10 h 98"/>
                        <a:gd name="T52" fmla="*/ 8 w 85"/>
                        <a:gd name="T53" fmla="*/ 9 h 98"/>
                        <a:gd name="T54" fmla="*/ 8 w 85"/>
                        <a:gd name="T55" fmla="*/ 9 h 98"/>
                        <a:gd name="T56" fmla="*/ 8 w 85"/>
                        <a:gd name="T57" fmla="*/ 10 h 98"/>
                        <a:gd name="T58" fmla="*/ 8 w 85"/>
                        <a:gd name="T59" fmla="*/ 10 h 98"/>
                        <a:gd name="T60" fmla="*/ 8 w 85"/>
                        <a:gd name="T61" fmla="*/ 9 h 98"/>
                        <a:gd name="T62" fmla="*/ 8 w 85"/>
                        <a:gd name="T63" fmla="*/ 9 h 98"/>
                        <a:gd name="T64" fmla="*/ 8 w 85"/>
                        <a:gd name="T65" fmla="*/ 9 h 98"/>
                        <a:gd name="T66" fmla="*/ 8 w 85"/>
                        <a:gd name="T67" fmla="*/ 9 h 98"/>
                        <a:gd name="T68" fmla="*/ 8 w 85"/>
                        <a:gd name="T69" fmla="*/ 9 h 98"/>
                        <a:gd name="T70" fmla="*/ 8 w 85"/>
                        <a:gd name="T71" fmla="*/ 9 h 98"/>
                        <a:gd name="T72" fmla="*/ 8 w 85"/>
                        <a:gd name="T73" fmla="*/ 9 h 98"/>
                        <a:gd name="T74" fmla="*/ 8 w 85"/>
                        <a:gd name="T75" fmla="*/ 9 h 98"/>
                        <a:gd name="T76" fmla="*/ 8 w 85"/>
                        <a:gd name="T77" fmla="*/ 9 h 98"/>
                        <a:gd name="T78" fmla="*/ 8 w 85"/>
                        <a:gd name="T79" fmla="*/ 9 h 98"/>
                        <a:gd name="T80" fmla="*/ 8 w 85"/>
                        <a:gd name="T81" fmla="*/ 9 h 98"/>
                        <a:gd name="T82" fmla="*/ 8 w 85"/>
                        <a:gd name="T83" fmla="*/ 9 h 98"/>
                        <a:gd name="T84" fmla="*/ 8 w 85"/>
                        <a:gd name="T85" fmla="*/ 9 h 98"/>
                        <a:gd name="T86" fmla="*/ 8 w 85"/>
                        <a:gd name="T87" fmla="*/ 10 h 98"/>
                        <a:gd name="T88" fmla="*/ 8 w 85"/>
                        <a:gd name="T89" fmla="*/ 10 h 98"/>
                        <a:gd name="T90" fmla="*/ 8 w 85"/>
                        <a:gd name="T91" fmla="*/ 13 h 98"/>
                        <a:gd name="T92" fmla="*/ 8 w 85"/>
                        <a:gd name="T93" fmla="*/ 15 h 98"/>
                        <a:gd name="T94" fmla="*/ 8 w 85"/>
                        <a:gd name="T95" fmla="*/ 12 h 98"/>
                        <a:gd name="T96" fmla="*/ 8 w 85"/>
                        <a:gd name="T97" fmla="*/ 10 h 98"/>
                        <a:gd name="T98" fmla="*/ 9 w 85"/>
                        <a:gd name="T99" fmla="*/ 13 h 98"/>
                        <a:gd name="T100" fmla="*/ 9 w 85"/>
                        <a:gd name="T101" fmla="*/ 15 h 98"/>
                        <a:gd name="T102" fmla="*/ 11 w 85"/>
                        <a:gd name="T103" fmla="*/ 15 h 98"/>
                        <a:gd name="T104" fmla="*/ 11 w 85"/>
                        <a:gd name="T105" fmla="*/ 16 h 98"/>
                        <a:gd name="T106" fmla="*/ 11 w 85"/>
                        <a:gd name="T107" fmla="*/ 18 h 98"/>
                        <a:gd name="T108" fmla="*/ 12 w 85"/>
                        <a:gd name="T109" fmla="*/ 16 h 98"/>
                        <a:gd name="T110" fmla="*/ 12 w 85"/>
                        <a:gd name="T111" fmla="*/ 15 h 98"/>
                        <a:gd name="T112" fmla="*/ 11 w 85"/>
                        <a:gd name="T113" fmla="*/ 15 h 98"/>
                        <a:gd name="T114" fmla="*/ 9 w 85"/>
                        <a:gd name="T115" fmla="*/ 13 h 98"/>
                        <a:gd name="T116" fmla="*/ 12 w 85"/>
                        <a:gd name="T117" fmla="*/ 21 h 98"/>
                        <a:gd name="T118" fmla="*/ 14 w 85"/>
                        <a:gd name="T119" fmla="*/ 22 h 98"/>
                        <a:gd name="T120" fmla="*/ 15 w 85"/>
                        <a:gd name="T121" fmla="*/ 20 h 98"/>
                        <a:gd name="T122" fmla="*/ 13 w 85"/>
                        <a:gd name="T123" fmla="*/ 20 h 98"/>
                        <a:gd name="T124" fmla="*/ 12 w 85"/>
                        <a:gd name="T125" fmla="*/ 21 h 98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60000 65536"/>
                        <a:gd name="T184" fmla="*/ 0 60000 65536"/>
                        <a:gd name="T185" fmla="*/ 0 60000 65536"/>
                        <a:gd name="T186" fmla="*/ 0 60000 65536"/>
                        <a:gd name="T187" fmla="*/ 0 60000 65536"/>
                        <a:gd name="T188" fmla="*/ 0 60000 65536"/>
                        <a:gd name="T189" fmla="*/ 0 w 85"/>
                        <a:gd name="T190" fmla="*/ 0 h 98"/>
                        <a:gd name="T191" fmla="*/ 85 w 85"/>
                        <a:gd name="T192" fmla="*/ 98 h 98"/>
                      </a:gdLst>
                      <a:ahLst/>
                      <a:cxnLst>
                        <a:cxn ang="T126">
                          <a:pos x="T0" y="T1"/>
                        </a:cxn>
                        <a:cxn ang="T127">
                          <a:pos x="T2" y="T3"/>
                        </a:cxn>
                        <a:cxn ang="T128">
                          <a:pos x="T4" y="T5"/>
                        </a:cxn>
                        <a:cxn ang="T129">
                          <a:pos x="T6" y="T7"/>
                        </a:cxn>
                        <a:cxn ang="T130">
                          <a:pos x="T8" y="T9"/>
                        </a:cxn>
                        <a:cxn ang="T131">
                          <a:pos x="T10" y="T11"/>
                        </a:cxn>
                        <a:cxn ang="T132">
                          <a:pos x="T12" y="T13"/>
                        </a:cxn>
                        <a:cxn ang="T133">
                          <a:pos x="T14" y="T15"/>
                        </a:cxn>
                        <a:cxn ang="T134">
                          <a:pos x="T16" y="T17"/>
                        </a:cxn>
                        <a:cxn ang="T135">
                          <a:pos x="T18" y="T19"/>
                        </a:cxn>
                        <a:cxn ang="T136">
                          <a:pos x="T20" y="T21"/>
                        </a:cxn>
                        <a:cxn ang="T137">
                          <a:pos x="T22" y="T23"/>
                        </a:cxn>
                        <a:cxn ang="T138">
                          <a:pos x="T24" y="T25"/>
                        </a:cxn>
                        <a:cxn ang="T139">
                          <a:pos x="T26" y="T27"/>
                        </a:cxn>
                        <a:cxn ang="T140">
                          <a:pos x="T28" y="T29"/>
                        </a:cxn>
                        <a:cxn ang="T141">
                          <a:pos x="T30" y="T31"/>
                        </a:cxn>
                        <a:cxn ang="T142">
                          <a:pos x="T32" y="T33"/>
                        </a:cxn>
                        <a:cxn ang="T143">
                          <a:pos x="T34" y="T35"/>
                        </a:cxn>
                        <a:cxn ang="T144">
                          <a:pos x="T36" y="T37"/>
                        </a:cxn>
                        <a:cxn ang="T145">
                          <a:pos x="T38" y="T39"/>
                        </a:cxn>
                        <a:cxn ang="T146">
                          <a:pos x="T40" y="T41"/>
                        </a:cxn>
                        <a:cxn ang="T147">
                          <a:pos x="T42" y="T43"/>
                        </a:cxn>
                        <a:cxn ang="T148">
                          <a:pos x="T44" y="T45"/>
                        </a:cxn>
                        <a:cxn ang="T149">
                          <a:pos x="T46" y="T47"/>
                        </a:cxn>
                        <a:cxn ang="T150">
                          <a:pos x="T48" y="T49"/>
                        </a:cxn>
                        <a:cxn ang="T151">
                          <a:pos x="T50" y="T51"/>
                        </a:cxn>
                        <a:cxn ang="T152">
                          <a:pos x="T52" y="T53"/>
                        </a:cxn>
                        <a:cxn ang="T153">
                          <a:pos x="T54" y="T55"/>
                        </a:cxn>
                        <a:cxn ang="T154">
                          <a:pos x="T56" y="T57"/>
                        </a:cxn>
                        <a:cxn ang="T155">
                          <a:pos x="T58" y="T59"/>
                        </a:cxn>
                        <a:cxn ang="T156">
                          <a:pos x="T60" y="T61"/>
                        </a:cxn>
                        <a:cxn ang="T157">
                          <a:pos x="T62" y="T63"/>
                        </a:cxn>
                        <a:cxn ang="T158">
                          <a:pos x="T64" y="T65"/>
                        </a:cxn>
                        <a:cxn ang="T159">
                          <a:pos x="T66" y="T67"/>
                        </a:cxn>
                        <a:cxn ang="T160">
                          <a:pos x="T68" y="T69"/>
                        </a:cxn>
                        <a:cxn ang="T161">
                          <a:pos x="T70" y="T71"/>
                        </a:cxn>
                        <a:cxn ang="T162">
                          <a:pos x="T72" y="T73"/>
                        </a:cxn>
                        <a:cxn ang="T163">
                          <a:pos x="T74" y="T75"/>
                        </a:cxn>
                        <a:cxn ang="T164">
                          <a:pos x="T76" y="T77"/>
                        </a:cxn>
                        <a:cxn ang="T165">
                          <a:pos x="T78" y="T79"/>
                        </a:cxn>
                        <a:cxn ang="T166">
                          <a:pos x="T80" y="T81"/>
                        </a:cxn>
                        <a:cxn ang="T167">
                          <a:pos x="T82" y="T83"/>
                        </a:cxn>
                        <a:cxn ang="T168">
                          <a:pos x="T84" y="T85"/>
                        </a:cxn>
                        <a:cxn ang="T169">
                          <a:pos x="T86" y="T87"/>
                        </a:cxn>
                        <a:cxn ang="T170">
                          <a:pos x="T88" y="T89"/>
                        </a:cxn>
                        <a:cxn ang="T171">
                          <a:pos x="T90" y="T91"/>
                        </a:cxn>
                        <a:cxn ang="T172">
                          <a:pos x="T92" y="T93"/>
                        </a:cxn>
                        <a:cxn ang="T173">
                          <a:pos x="T94" y="T95"/>
                        </a:cxn>
                        <a:cxn ang="T174">
                          <a:pos x="T96" y="T97"/>
                        </a:cxn>
                        <a:cxn ang="T175">
                          <a:pos x="T98" y="T99"/>
                        </a:cxn>
                        <a:cxn ang="T176">
                          <a:pos x="T100" y="T101"/>
                        </a:cxn>
                        <a:cxn ang="T177">
                          <a:pos x="T102" y="T103"/>
                        </a:cxn>
                        <a:cxn ang="T178">
                          <a:pos x="T104" y="T105"/>
                        </a:cxn>
                        <a:cxn ang="T179">
                          <a:pos x="T106" y="T107"/>
                        </a:cxn>
                        <a:cxn ang="T180">
                          <a:pos x="T108" y="T109"/>
                        </a:cxn>
                        <a:cxn ang="T181">
                          <a:pos x="T110" y="T111"/>
                        </a:cxn>
                        <a:cxn ang="T182">
                          <a:pos x="T112" y="T113"/>
                        </a:cxn>
                        <a:cxn ang="T183">
                          <a:pos x="T114" y="T115"/>
                        </a:cxn>
                        <a:cxn ang="T184">
                          <a:pos x="T116" y="T117"/>
                        </a:cxn>
                        <a:cxn ang="T185">
                          <a:pos x="T118" y="T119"/>
                        </a:cxn>
                        <a:cxn ang="T186">
                          <a:pos x="T120" y="T121"/>
                        </a:cxn>
                        <a:cxn ang="T187">
                          <a:pos x="T122" y="T123"/>
                        </a:cxn>
                        <a:cxn ang="T188">
                          <a:pos x="T124" y="T125"/>
                        </a:cxn>
                      </a:cxnLst>
                      <a:rect l="T189" t="T190" r="T191" b="T192"/>
                      <a:pathLst>
                        <a:path w="85" h="98">
                          <a:moveTo>
                            <a:pt x="4" y="4"/>
                          </a:moveTo>
                          <a:lnTo>
                            <a:pt x="0" y="9"/>
                          </a:lnTo>
                          <a:lnTo>
                            <a:pt x="9" y="9"/>
                          </a:lnTo>
                          <a:lnTo>
                            <a:pt x="13" y="9"/>
                          </a:lnTo>
                          <a:lnTo>
                            <a:pt x="13" y="4"/>
                          </a:lnTo>
                          <a:lnTo>
                            <a:pt x="4" y="4"/>
                          </a:lnTo>
                          <a:close/>
                          <a:moveTo>
                            <a:pt x="9" y="26"/>
                          </a:moveTo>
                          <a:lnTo>
                            <a:pt x="4" y="40"/>
                          </a:lnTo>
                          <a:lnTo>
                            <a:pt x="13" y="40"/>
                          </a:lnTo>
                          <a:lnTo>
                            <a:pt x="9" y="26"/>
                          </a:lnTo>
                          <a:close/>
                          <a:moveTo>
                            <a:pt x="18" y="26"/>
                          </a:moveTo>
                          <a:lnTo>
                            <a:pt x="18" y="35"/>
                          </a:lnTo>
                          <a:lnTo>
                            <a:pt x="22" y="31"/>
                          </a:lnTo>
                          <a:lnTo>
                            <a:pt x="22" y="26"/>
                          </a:lnTo>
                          <a:lnTo>
                            <a:pt x="18" y="26"/>
                          </a:lnTo>
                          <a:close/>
                          <a:moveTo>
                            <a:pt x="18" y="0"/>
                          </a:moveTo>
                          <a:lnTo>
                            <a:pt x="22" y="9"/>
                          </a:lnTo>
                          <a:lnTo>
                            <a:pt x="22" y="13"/>
                          </a:lnTo>
                          <a:lnTo>
                            <a:pt x="22" y="17"/>
                          </a:lnTo>
                          <a:lnTo>
                            <a:pt x="27" y="9"/>
                          </a:lnTo>
                          <a:lnTo>
                            <a:pt x="22" y="4"/>
                          </a:lnTo>
                          <a:lnTo>
                            <a:pt x="18" y="0"/>
                          </a:lnTo>
                          <a:close/>
                          <a:moveTo>
                            <a:pt x="18" y="53"/>
                          </a:moveTo>
                          <a:lnTo>
                            <a:pt x="18" y="44"/>
                          </a:lnTo>
                          <a:lnTo>
                            <a:pt x="13" y="44"/>
                          </a:lnTo>
                          <a:lnTo>
                            <a:pt x="13" y="53"/>
                          </a:lnTo>
                          <a:lnTo>
                            <a:pt x="18" y="53"/>
                          </a:lnTo>
                          <a:close/>
                          <a:moveTo>
                            <a:pt x="31" y="22"/>
                          </a:moveTo>
                          <a:lnTo>
                            <a:pt x="27" y="22"/>
                          </a:lnTo>
                          <a:lnTo>
                            <a:pt x="31" y="26"/>
                          </a:lnTo>
                          <a:lnTo>
                            <a:pt x="36" y="31"/>
                          </a:lnTo>
                          <a:lnTo>
                            <a:pt x="36" y="35"/>
                          </a:lnTo>
                          <a:lnTo>
                            <a:pt x="40" y="26"/>
                          </a:lnTo>
                          <a:lnTo>
                            <a:pt x="31" y="22"/>
                          </a:lnTo>
                          <a:close/>
                          <a:moveTo>
                            <a:pt x="45" y="35"/>
                          </a:moveTo>
                          <a:lnTo>
                            <a:pt x="49" y="44"/>
                          </a:lnTo>
                          <a:lnTo>
                            <a:pt x="45" y="49"/>
                          </a:lnTo>
                          <a:lnTo>
                            <a:pt x="53" y="49"/>
                          </a:lnTo>
                          <a:lnTo>
                            <a:pt x="49" y="44"/>
                          </a:lnTo>
                          <a:lnTo>
                            <a:pt x="45" y="35"/>
                          </a:lnTo>
                          <a:close/>
                          <a:moveTo>
                            <a:pt x="49" y="53"/>
                          </a:moveTo>
                          <a:lnTo>
                            <a:pt x="49" y="53"/>
                          </a:lnTo>
                          <a:lnTo>
                            <a:pt x="49" y="62"/>
                          </a:lnTo>
                          <a:lnTo>
                            <a:pt x="58" y="67"/>
                          </a:lnTo>
                          <a:lnTo>
                            <a:pt x="53" y="58"/>
                          </a:lnTo>
                          <a:lnTo>
                            <a:pt x="49" y="53"/>
                          </a:lnTo>
                          <a:close/>
                          <a:moveTo>
                            <a:pt x="62" y="62"/>
                          </a:moveTo>
                          <a:lnTo>
                            <a:pt x="62" y="67"/>
                          </a:lnTo>
                          <a:lnTo>
                            <a:pt x="67" y="67"/>
                          </a:lnTo>
                          <a:lnTo>
                            <a:pt x="67" y="71"/>
                          </a:lnTo>
                          <a:lnTo>
                            <a:pt x="67" y="80"/>
                          </a:lnTo>
                          <a:lnTo>
                            <a:pt x="71" y="71"/>
                          </a:lnTo>
                          <a:lnTo>
                            <a:pt x="71" y="67"/>
                          </a:lnTo>
                          <a:lnTo>
                            <a:pt x="67" y="67"/>
                          </a:lnTo>
                          <a:lnTo>
                            <a:pt x="62" y="62"/>
                          </a:lnTo>
                          <a:close/>
                          <a:moveTo>
                            <a:pt x="71" y="93"/>
                          </a:moveTo>
                          <a:lnTo>
                            <a:pt x="80" y="98"/>
                          </a:lnTo>
                          <a:lnTo>
                            <a:pt x="85" y="89"/>
                          </a:lnTo>
                          <a:lnTo>
                            <a:pt x="76" y="89"/>
                          </a:lnTo>
                          <a:lnTo>
                            <a:pt x="71" y="9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5" name="Freeform 7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77" y="2445"/>
                      <a:ext cx="4" cy="8"/>
                    </a:xfrm>
                    <a:custGeom>
                      <a:avLst/>
                      <a:gdLst>
                        <a:gd name="T0" fmla="*/ 0 w 4"/>
                        <a:gd name="T1" fmla="*/ 0 h 9"/>
                        <a:gd name="T2" fmla="*/ 0 w 4"/>
                        <a:gd name="T3" fmla="*/ 4 h 9"/>
                        <a:gd name="T4" fmla="*/ 0 w 4"/>
                        <a:gd name="T5" fmla="*/ 4 h 9"/>
                        <a:gd name="T6" fmla="*/ 4 w 4"/>
                        <a:gd name="T7" fmla="*/ 4 h 9"/>
                        <a:gd name="T8" fmla="*/ 0 w 4"/>
                        <a:gd name="T9" fmla="*/ 0 h 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"/>
                        <a:gd name="T16" fmla="*/ 0 h 9"/>
                        <a:gd name="T17" fmla="*/ 4 w 4"/>
                        <a:gd name="T18" fmla="*/ 9 h 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" h="9">
                          <a:moveTo>
                            <a:pt x="0" y="0"/>
                          </a:moveTo>
                          <a:lnTo>
                            <a:pt x="0" y="4"/>
                          </a:lnTo>
                          <a:lnTo>
                            <a:pt x="0" y="9"/>
                          </a:lnTo>
                          <a:lnTo>
                            <a:pt x="4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6" name="Freeform 7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842" y="2765"/>
                      <a:ext cx="161" cy="190"/>
                    </a:xfrm>
                    <a:custGeom>
                      <a:avLst/>
                      <a:gdLst>
                        <a:gd name="T0" fmla="*/ 0 w 170"/>
                        <a:gd name="T1" fmla="*/ 23 h 201"/>
                        <a:gd name="T2" fmla="*/ 4 w 170"/>
                        <a:gd name="T3" fmla="*/ 24 h 201"/>
                        <a:gd name="T4" fmla="*/ 9 w 170"/>
                        <a:gd name="T5" fmla="*/ 26 h 201"/>
                        <a:gd name="T6" fmla="*/ 9 w 170"/>
                        <a:gd name="T7" fmla="*/ 30 h 201"/>
                        <a:gd name="T8" fmla="*/ 9 w 170"/>
                        <a:gd name="T9" fmla="*/ 37 h 201"/>
                        <a:gd name="T10" fmla="*/ 9 w 170"/>
                        <a:gd name="T11" fmla="*/ 38 h 201"/>
                        <a:gd name="T12" fmla="*/ 9 w 170"/>
                        <a:gd name="T13" fmla="*/ 35 h 201"/>
                        <a:gd name="T14" fmla="*/ 13 w 170"/>
                        <a:gd name="T15" fmla="*/ 36 h 201"/>
                        <a:gd name="T16" fmla="*/ 16 w 170"/>
                        <a:gd name="T17" fmla="*/ 38 h 201"/>
                        <a:gd name="T18" fmla="*/ 17 w 170"/>
                        <a:gd name="T19" fmla="*/ 35 h 201"/>
                        <a:gd name="T20" fmla="*/ 20 w 170"/>
                        <a:gd name="T21" fmla="*/ 35 h 201"/>
                        <a:gd name="T22" fmla="*/ 20 w 170"/>
                        <a:gd name="T23" fmla="*/ 36 h 201"/>
                        <a:gd name="T24" fmla="*/ 21 w 170"/>
                        <a:gd name="T25" fmla="*/ 33 h 201"/>
                        <a:gd name="T26" fmla="*/ 21 w 170"/>
                        <a:gd name="T27" fmla="*/ 31 h 201"/>
                        <a:gd name="T28" fmla="*/ 23 w 170"/>
                        <a:gd name="T29" fmla="*/ 29 h 201"/>
                        <a:gd name="T30" fmla="*/ 29 w 170"/>
                        <a:gd name="T31" fmla="*/ 27 h 201"/>
                        <a:gd name="T32" fmla="*/ 31 w 170"/>
                        <a:gd name="T33" fmla="*/ 28 h 201"/>
                        <a:gd name="T34" fmla="*/ 33 w 170"/>
                        <a:gd name="T35" fmla="*/ 31 h 201"/>
                        <a:gd name="T36" fmla="*/ 33 w 170"/>
                        <a:gd name="T37" fmla="*/ 30 h 201"/>
                        <a:gd name="T38" fmla="*/ 33 w 170"/>
                        <a:gd name="T39" fmla="*/ 29 h 201"/>
                        <a:gd name="T40" fmla="*/ 33 w 170"/>
                        <a:gd name="T41" fmla="*/ 28 h 201"/>
                        <a:gd name="T42" fmla="*/ 33 w 170"/>
                        <a:gd name="T43" fmla="*/ 24 h 201"/>
                        <a:gd name="T44" fmla="*/ 33 w 170"/>
                        <a:gd name="T45" fmla="*/ 22 h 201"/>
                        <a:gd name="T46" fmla="*/ 31 w 170"/>
                        <a:gd name="T47" fmla="*/ 22 h 201"/>
                        <a:gd name="T48" fmla="*/ 31 w 170"/>
                        <a:gd name="T49" fmla="*/ 20 h 201"/>
                        <a:gd name="T50" fmla="*/ 26 w 170"/>
                        <a:gd name="T51" fmla="*/ 20 h 201"/>
                        <a:gd name="T52" fmla="*/ 25 w 170"/>
                        <a:gd name="T53" fmla="*/ 17 h 201"/>
                        <a:gd name="T54" fmla="*/ 26 w 170"/>
                        <a:gd name="T55" fmla="*/ 13 h 201"/>
                        <a:gd name="T56" fmla="*/ 25 w 170"/>
                        <a:gd name="T57" fmla="*/ 10 h 201"/>
                        <a:gd name="T58" fmla="*/ 23 w 170"/>
                        <a:gd name="T59" fmla="*/ 10 h 201"/>
                        <a:gd name="T60" fmla="*/ 17 w 170"/>
                        <a:gd name="T61" fmla="*/ 9 h 201"/>
                        <a:gd name="T62" fmla="*/ 12 w 170"/>
                        <a:gd name="T63" fmla="*/ 9 h 201"/>
                        <a:gd name="T64" fmla="*/ 12 w 170"/>
                        <a:gd name="T65" fmla="*/ 0 h 201"/>
                        <a:gd name="T66" fmla="*/ 9 w 170"/>
                        <a:gd name="T67" fmla="*/ 5 h 201"/>
                        <a:gd name="T68" fmla="*/ 9 w 170"/>
                        <a:gd name="T69" fmla="*/ 9 h 201"/>
                        <a:gd name="T70" fmla="*/ 0 w 170"/>
                        <a:gd name="T71" fmla="*/ 9 h 201"/>
                        <a:gd name="T72" fmla="*/ 9 w 170"/>
                        <a:gd name="T73" fmla="*/ 9 h 201"/>
                        <a:gd name="T74" fmla="*/ 4 w 170"/>
                        <a:gd name="T75" fmla="*/ 9 h 201"/>
                        <a:gd name="T76" fmla="*/ 4 w 170"/>
                        <a:gd name="T77" fmla="*/ 14 h 201"/>
                        <a:gd name="T78" fmla="*/ 0 w 170"/>
                        <a:gd name="T79" fmla="*/ 19 h 201"/>
                        <a:gd name="T80" fmla="*/ 4 w 170"/>
                        <a:gd name="T81" fmla="*/ 20 h 201"/>
                        <a:gd name="T82" fmla="*/ 0 w 170"/>
                        <a:gd name="T83" fmla="*/ 22 h 201"/>
                        <a:gd name="T84" fmla="*/ 0 w 170"/>
                        <a:gd name="T85" fmla="*/ 23 h 201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w 170"/>
                        <a:gd name="T130" fmla="*/ 0 h 201"/>
                        <a:gd name="T131" fmla="*/ 170 w 170"/>
                        <a:gd name="T132" fmla="*/ 201 h 201"/>
                      </a:gdLst>
                      <a:ahLst/>
                      <a:cxnLst>
                        <a:cxn ang="T86">
                          <a:pos x="T0" y="T1"/>
                        </a:cxn>
                        <a:cxn ang="T87">
                          <a:pos x="T2" y="T3"/>
                        </a:cxn>
                        <a:cxn ang="T88">
                          <a:pos x="T4" y="T5"/>
                        </a:cxn>
                        <a:cxn ang="T89">
                          <a:pos x="T6" y="T7"/>
                        </a:cxn>
                        <a:cxn ang="T90">
                          <a:pos x="T8" y="T9"/>
                        </a:cxn>
                        <a:cxn ang="T91">
                          <a:pos x="T10" y="T11"/>
                        </a:cxn>
                        <a:cxn ang="T92">
                          <a:pos x="T12" y="T13"/>
                        </a:cxn>
                        <a:cxn ang="T93">
                          <a:pos x="T14" y="T15"/>
                        </a:cxn>
                        <a:cxn ang="T94">
                          <a:pos x="T16" y="T17"/>
                        </a:cxn>
                        <a:cxn ang="T95">
                          <a:pos x="T18" y="T19"/>
                        </a:cxn>
                        <a:cxn ang="T96">
                          <a:pos x="T20" y="T21"/>
                        </a:cxn>
                        <a:cxn ang="T97">
                          <a:pos x="T22" y="T23"/>
                        </a:cxn>
                        <a:cxn ang="T98">
                          <a:pos x="T24" y="T25"/>
                        </a:cxn>
                        <a:cxn ang="T99">
                          <a:pos x="T26" y="T27"/>
                        </a:cxn>
                        <a:cxn ang="T100">
                          <a:pos x="T28" y="T29"/>
                        </a:cxn>
                        <a:cxn ang="T101">
                          <a:pos x="T30" y="T31"/>
                        </a:cxn>
                        <a:cxn ang="T102">
                          <a:pos x="T32" y="T33"/>
                        </a:cxn>
                        <a:cxn ang="T103">
                          <a:pos x="T34" y="T35"/>
                        </a:cxn>
                        <a:cxn ang="T104">
                          <a:pos x="T36" y="T37"/>
                        </a:cxn>
                        <a:cxn ang="T105">
                          <a:pos x="T38" y="T39"/>
                        </a:cxn>
                        <a:cxn ang="T106">
                          <a:pos x="T40" y="T41"/>
                        </a:cxn>
                        <a:cxn ang="T107">
                          <a:pos x="T42" y="T43"/>
                        </a:cxn>
                        <a:cxn ang="T108">
                          <a:pos x="T44" y="T45"/>
                        </a:cxn>
                        <a:cxn ang="T109">
                          <a:pos x="T46" y="T47"/>
                        </a:cxn>
                        <a:cxn ang="T110">
                          <a:pos x="T48" y="T49"/>
                        </a:cxn>
                        <a:cxn ang="T111">
                          <a:pos x="T50" y="T51"/>
                        </a:cxn>
                        <a:cxn ang="T112">
                          <a:pos x="T52" y="T53"/>
                        </a:cxn>
                        <a:cxn ang="T113">
                          <a:pos x="T54" y="T55"/>
                        </a:cxn>
                        <a:cxn ang="T114">
                          <a:pos x="T56" y="T57"/>
                        </a:cxn>
                        <a:cxn ang="T115">
                          <a:pos x="T58" y="T59"/>
                        </a:cxn>
                        <a:cxn ang="T116">
                          <a:pos x="T60" y="T61"/>
                        </a:cxn>
                        <a:cxn ang="T117">
                          <a:pos x="T62" y="T63"/>
                        </a:cxn>
                        <a:cxn ang="T118">
                          <a:pos x="T64" y="T65"/>
                        </a:cxn>
                        <a:cxn ang="T119">
                          <a:pos x="T66" y="T67"/>
                        </a:cxn>
                        <a:cxn ang="T120">
                          <a:pos x="T68" y="T69"/>
                        </a:cxn>
                        <a:cxn ang="T121">
                          <a:pos x="T70" y="T71"/>
                        </a:cxn>
                        <a:cxn ang="T122">
                          <a:pos x="T72" y="T73"/>
                        </a:cxn>
                        <a:cxn ang="T123">
                          <a:pos x="T74" y="T75"/>
                        </a:cxn>
                        <a:cxn ang="T124">
                          <a:pos x="T76" y="T77"/>
                        </a:cxn>
                        <a:cxn ang="T125">
                          <a:pos x="T78" y="T79"/>
                        </a:cxn>
                        <a:cxn ang="T126">
                          <a:pos x="T80" y="T81"/>
                        </a:cxn>
                        <a:cxn ang="T127">
                          <a:pos x="T82" y="T83"/>
                        </a:cxn>
                        <a:cxn ang="T128">
                          <a:pos x="T84" y="T85"/>
                        </a:cxn>
                      </a:cxnLst>
                      <a:rect l="T129" t="T130" r="T131" b="T132"/>
                      <a:pathLst>
                        <a:path w="170" h="201">
                          <a:moveTo>
                            <a:pt x="0" y="121"/>
                          </a:moveTo>
                          <a:lnTo>
                            <a:pt x="4" y="130"/>
                          </a:lnTo>
                          <a:lnTo>
                            <a:pt x="9" y="143"/>
                          </a:lnTo>
                          <a:lnTo>
                            <a:pt x="9" y="161"/>
                          </a:lnTo>
                          <a:lnTo>
                            <a:pt x="22" y="197"/>
                          </a:lnTo>
                          <a:lnTo>
                            <a:pt x="31" y="201"/>
                          </a:lnTo>
                          <a:lnTo>
                            <a:pt x="45" y="188"/>
                          </a:lnTo>
                          <a:lnTo>
                            <a:pt x="67" y="192"/>
                          </a:lnTo>
                          <a:lnTo>
                            <a:pt x="76" y="201"/>
                          </a:lnTo>
                          <a:lnTo>
                            <a:pt x="80" y="188"/>
                          </a:lnTo>
                          <a:lnTo>
                            <a:pt x="94" y="188"/>
                          </a:lnTo>
                          <a:lnTo>
                            <a:pt x="98" y="192"/>
                          </a:lnTo>
                          <a:lnTo>
                            <a:pt x="103" y="179"/>
                          </a:lnTo>
                          <a:lnTo>
                            <a:pt x="103" y="166"/>
                          </a:lnTo>
                          <a:lnTo>
                            <a:pt x="112" y="157"/>
                          </a:lnTo>
                          <a:lnTo>
                            <a:pt x="147" y="148"/>
                          </a:lnTo>
                          <a:lnTo>
                            <a:pt x="161" y="152"/>
                          </a:lnTo>
                          <a:lnTo>
                            <a:pt x="165" y="166"/>
                          </a:lnTo>
                          <a:lnTo>
                            <a:pt x="170" y="161"/>
                          </a:lnTo>
                          <a:lnTo>
                            <a:pt x="170" y="157"/>
                          </a:lnTo>
                          <a:lnTo>
                            <a:pt x="165" y="152"/>
                          </a:lnTo>
                          <a:lnTo>
                            <a:pt x="170" y="125"/>
                          </a:lnTo>
                          <a:lnTo>
                            <a:pt x="170" y="116"/>
                          </a:lnTo>
                          <a:lnTo>
                            <a:pt x="156" y="116"/>
                          </a:lnTo>
                          <a:lnTo>
                            <a:pt x="161" y="99"/>
                          </a:lnTo>
                          <a:lnTo>
                            <a:pt x="134" y="99"/>
                          </a:lnTo>
                          <a:lnTo>
                            <a:pt x="129" y="85"/>
                          </a:lnTo>
                          <a:lnTo>
                            <a:pt x="134" y="67"/>
                          </a:lnTo>
                          <a:lnTo>
                            <a:pt x="129" y="58"/>
                          </a:lnTo>
                          <a:lnTo>
                            <a:pt x="116" y="58"/>
                          </a:lnTo>
                          <a:lnTo>
                            <a:pt x="80" y="40"/>
                          </a:lnTo>
                          <a:lnTo>
                            <a:pt x="62" y="32"/>
                          </a:lnTo>
                          <a:lnTo>
                            <a:pt x="62" y="0"/>
                          </a:lnTo>
                          <a:lnTo>
                            <a:pt x="40" y="5"/>
                          </a:lnTo>
                          <a:lnTo>
                            <a:pt x="13" y="23"/>
                          </a:lnTo>
                          <a:lnTo>
                            <a:pt x="0" y="23"/>
                          </a:lnTo>
                          <a:lnTo>
                            <a:pt x="9" y="40"/>
                          </a:lnTo>
                          <a:lnTo>
                            <a:pt x="4" y="49"/>
                          </a:lnTo>
                          <a:lnTo>
                            <a:pt x="4" y="72"/>
                          </a:lnTo>
                          <a:lnTo>
                            <a:pt x="0" y="94"/>
                          </a:lnTo>
                          <a:lnTo>
                            <a:pt x="4" y="99"/>
                          </a:lnTo>
                          <a:lnTo>
                            <a:pt x="0" y="112"/>
                          </a:lnTo>
                          <a:lnTo>
                            <a:pt x="0" y="12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7" name="Freeform 78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779" y="2558"/>
                      <a:ext cx="535" cy="574"/>
                    </a:xfrm>
                    <a:custGeom>
                      <a:avLst/>
                      <a:gdLst>
                        <a:gd name="T0" fmla="*/ 8 w 567"/>
                        <a:gd name="T1" fmla="*/ 25 h 608"/>
                        <a:gd name="T2" fmla="*/ 8 w 567"/>
                        <a:gd name="T3" fmla="*/ 30 h 608"/>
                        <a:gd name="T4" fmla="*/ 8 w 567"/>
                        <a:gd name="T5" fmla="*/ 40 h 608"/>
                        <a:gd name="T6" fmla="*/ 8 w 567"/>
                        <a:gd name="T7" fmla="*/ 38 h 608"/>
                        <a:gd name="T8" fmla="*/ 15 w 567"/>
                        <a:gd name="T9" fmla="*/ 42 h 608"/>
                        <a:gd name="T10" fmla="*/ 23 w 567"/>
                        <a:gd name="T11" fmla="*/ 44 h 608"/>
                        <a:gd name="T12" fmla="*/ 35 w 567"/>
                        <a:gd name="T13" fmla="*/ 50 h 608"/>
                        <a:gd name="T14" fmla="*/ 36 w 567"/>
                        <a:gd name="T15" fmla="*/ 57 h 608"/>
                        <a:gd name="T16" fmla="*/ 42 w 567"/>
                        <a:gd name="T17" fmla="*/ 59 h 608"/>
                        <a:gd name="T18" fmla="*/ 42 w 567"/>
                        <a:gd name="T19" fmla="*/ 67 h 608"/>
                        <a:gd name="T20" fmla="*/ 41 w 567"/>
                        <a:gd name="T21" fmla="*/ 74 h 608"/>
                        <a:gd name="T22" fmla="*/ 47 w 567"/>
                        <a:gd name="T23" fmla="*/ 74 h 608"/>
                        <a:gd name="T24" fmla="*/ 50 w 567"/>
                        <a:gd name="T25" fmla="*/ 78 h 608"/>
                        <a:gd name="T26" fmla="*/ 52 w 567"/>
                        <a:gd name="T27" fmla="*/ 83 h 608"/>
                        <a:gd name="T28" fmla="*/ 42 w 567"/>
                        <a:gd name="T29" fmla="*/ 95 h 608"/>
                        <a:gd name="T30" fmla="*/ 45 w 567"/>
                        <a:gd name="T31" fmla="*/ 98 h 608"/>
                        <a:gd name="T32" fmla="*/ 51 w 567"/>
                        <a:gd name="T33" fmla="*/ 101 h 608"/>
                        <a:gd name="T34" fmla="*/ 52 w 567"/>
                        <a:gd name="T35" fmla="*/ 108 h 608"/>
                        <a:gd name="T36" fmla="*/ 63 w 567"/>
                        <a:gd name="T37" fmla="*/ 92 h 608"/>
                        <a:gd name="T38" fmla="*/ 64 w 567"/>
                        <a:gd name="T39" fmla="*/ 83 h 608"/>
                        <a:gd name="T40" fmla="*/ 73 w 567"/>
                        <a:gd name="T41" fmla="*/ 78 h 608"/>
                        <a:gd name="T42" fmla="*/ 82 w 567"/>
                        <a:gd name="T43" fmla="*/ 75 h 608"/>
                        <a:gd name="T44" fmla="*/ 87 w 567"/>
                        <a:gd name="T45" fmla="*/ 66 h 608"/>
                        <a:gd name="T46" fmla="*/ 88 w 567"/>
                        <a:gd name="T47" fmla="*/ 50 h 608"/>
                        <a:gd name="T48" fmla="*/ 93 w 567"/>
                        <a:gd name="T49" fmla="*/ 42 h 608"/>
                        <a:gd name="T50" fmla="*/ 99 w 567"/>
                        <a:gd name="T51" fmla="*/ 34 h 608"/>
                        <a:gd name="T52" fmla="*/ 92 w 567"/>
                        <a:gd name="T53" fmla="*/ 25 h 608"/>
                        <a:gd name="T54" fmla="*/ 86 w 567"/>
                        <a:gd name="T55" fmla="*/ 22 h 608"/>
                        <a:gd name="T56" fmla="*/ 74 w 567"/>
                        <a:gd name="T57" fmla="*/ 22 h 608"/>
                        <a:gd name="T58" fmla="*/ 72 w 567"/>
                        <a:gd name="T59" fmla="*/ 19 h 608"/>
                        <a:gd name="T60" fmla="*/ 63 w 567"/>
                        <a:gd name="T61" fmla="*/ 19 h 608"/>
                        <a:gd name="T62" fmla="*/ 63 w 567"/>
                        <a:gd name="T63" fmla="*/ 18 h 608"/>
                        <a:gd name="T64" fmla="*/ 59 w 567"/>
                        <a:gd name="T65" fmla="*/ 14 h 608"/>
                        <a:gd name="T66" fmla="*/ 61 w 567"/>
                        <a:gd name="T67" fmla="*/ 8 h 608"/>
                        <a:gd name="T68" fmla="*/ 56 w 567"/>
                        <a:gd name="T69" fmla="*/ 8 h 608"/>
                        <a:gd name="T70" fmla="*/ 53 w 567"/>
                        <a:gd name="T71" fmla="*/ 8 h 608"/>
                        <a:gd name="T72" fmla="*/ 45 w 567"/>
                        <a:gd name="T73" fmla="*/ 8 h 608"/>
                        <a:gd name="T74" fmla="*/ 40 w 567"/>
                        <a:gd name="T75" fmla="*/ 8 h 608"/>
                        <a:gd name="T76" fmla="*/ 36 w 567"/>
                        <a:gd name="T77" fmla="*/ 8 h 608"/>
                        <a:gd name="T78" fmla="*/ 36 w 567"/>
                        <a:gd name="T79" fmla="*/ 8 h 608"/>
                        <a:gd name="T80" fmla="*/ 34 w 567"/>
                        <a:gd name="T81" fmla="*/ 8 h 608"/>
                        <a:gd name="T82" fmla="*/ 24 w 567"/>
                        <a:gd name="T83" fmla="*/ 8 h 608"/>
                        <a:gd name="T84" fmla="*/ 24 w 567"/>
                        <a:gd name="T85" fmla="*/ 8 h 608"/>
                        <a:gd name="T86" fmla="*/ 24 w 567"/>
                        <a:gd name="T87" fmla="*/ 8 h 608"/>
                        <a:gd name="T88" fmla="*/ 18 w 567"/>
                        <a:gd name="T89" fmla="*/ 9 h 608"/>
                        <a:gd name="T90" fmla="*/ 11 w 567"/>
                        <a:gd name="T91" fmla="*/ 8 h 608"/>
                        <a:gd name="T92" fmla="*/ 12 w 567"/>
                        <a:gd name="T93" fmla="*/ 14 h 608"/>
                        <a:gd name="T94" fmla="*/ 12 w 567"/>
                        <a:gd name="T95" fmla="*/ 16 h 608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w 567"/>
                        <a:gd name="T145" fmla="*/ 0 h 608"/>
                        <a:gd name="T146" fmla="*/ 567 w 567"/>
                        <a:gd name="T147" fmla="*/ 608 h 608"/>
                      </a:gdLst>
                      <a:ahLst/>
                      <a:cxnLst>
                        <a:cxn ang="T96">
                          <a:pos x="T0" y="T1"/>
                        </a:cxn>
                        <a:cxn ang="T97">
                          <a:pos x="T2" y="T3"/>
                        </a:cxn>
                        <a:cxn ang="T98">
                          <a:pos x="T4" y="T5"/>
                        </a:cxn>
                        <a:cxn ang="T99">
                          <a:pos x="T6" y="T7"/>
                        </a:cxn>
                        <a:cxn ang="T100">
                          <a:pos x="T8" y="T9"/>
                        </a:cxn>
                        <a:cxn ang="T101">
                          <a:pos x="T10" y="T11"/>
                        </a:cxn>
                        <a:cxn ang="T102">
                          <a:pos x="T12" y="T13"/>
                        </a:cxn>
                        <a:cxn ang="T103">
                          <a:pos x="T14" y="T15"/>
                        </a:cxn>
                        <a:cxn ang="T104">
                          <a:pos x="T16" y="T17"/>
                        </a:cxn>
                        <a:cxn ang="T105">
                          <a:pos x="T18" y="T19"/>
                        </a:cxn>
                        <a:cxn ang="T106">
                          <a:pos x="T20" y="T21"/>
                        </a:cxn>
                        <a:cxn ang="T107">
                          <a:pos x="T22" y="T23"/>
                        </a:cxn>
                        <a:cxn ang="T108">
                          <a:pos x="T24" y="T25"/>
                        </a:cxn>
                        <a:cxn ang="T109">
                          <a:pos x="T26" y="T27"/>
                        </a:cxn>
                        <a:cxn ang="T110">
                          <a:pos x="T28" y="T29"/>
                        </a:cxn>
                        <a:cxn ang="T111">
                          <a:pos x="T30" y="T31"/>
                        </a:cxn>
                        <a:cxn ang="T112">
                          <a:pos x="T32" y="T33"/>
                        </a:cxn>
                        <a:cxn ang="T113">
                          <a:pos x="T34" y="T35"/>
                        </a:cxn>
                        <a:cxn ang="T114">
                          <a:pos x="T36" y="T37"/>
                        </a:cxn>
                        <a:cxn ang="T115">
                          <a:pos x="T38" y="T39"/>
                        </a:cxn>
                        <a:cxn ang="T116">
                          <a:pos x="T40" y="T41"/>
                        </a:cxn>
                        <a:cxn ang="T117">
                          <a:pos x="T42" y="T43"/>
                        </a:cxn>
                        <a:cxn ang="T118">
                          <a:pos x="T44" y="T45"/>
                        </a:cxn>
                        <a:cxn ang="T119">
                          <a:pos x="T46" y="T47"/>
                        </a:cxn>
                        <a:cxn ang="T120">
                          <a:pos x="T48" y="T49"/>
                        </a:cxn>
                        <a:cxn ang="T121">
                          <a:pos x="T50" y="T51"/>
                        </a:cxn>
                        <a:cxn ang="T122">
                          <a:pos x="T52" y="T53"/>
                        </a:cxn>
                        <a:cxn ang="T123">
                          <a:pos x="T54" y="T55"/>
                        </a:cxn>
                        <a:cxn ang="T124">
                          <a:pos x="T56" y="T57"/>
                        </a:cxn>
                        <a:cxn ang="T125">
                          <a:pos x="T58" y="T59"/>
                        </a:cxn>
                        <a:cxn ang="T126">
                          <a:pos x="T60" y="T61"/>
                        </a:cxn>
                        <a:cxn ang="T127">
                          <a:pos x="T62" y="T63"/>
                        </a:cxn>
                        <a:cxn ang="T128">
                          <a:pos x="T64" y="T65"/>
                        </a:cxn>
                        <a:cxn ang="T129">
                          <a:pos x="T66" y="T67"/>
                        </a:cxn>
                        <a:cxn ang="T130">
                          <a:pos x="T68" y="T69"/>
                        </a:cxn>
                        <a:cxn ang="T131">
                          <a:pos x="T70" y="T71"/>
                        </a:cxn>
                        <a:cxn ang="T132">
                          <a:pos x="T72" y="T73"/>
                        </a:cxn>
                        <a:cxn ang="T133">
                          <a:pos x="T74" y="T75"/>
                        </a:cxn>
                        <a:cxn ang="T134">
                          <a:pos x="T76" y="T77"/>
                        </a:cxn>
                        <a:cxn ang="T135">
                          <a:pos x="T78" y="T79"/>
                        </a:cxn>
                        <a:cxn ang="T136">
                          <a:pos x="T80" y="T81"/>
                        </a:cxn>
                        <a:cxn ang="T137">
                          <a:pos x="T82" y="T83"/>
                        </a:cxn>
                        <a:cxn ang="T138">
                          <a:pos x="T84" y="T85"/>
                        </a:cxn>
                        <a:cxn ang="T139">
                          <a:pos x="T86" y="T87"/>
                        </a:cxn>
                        <a:cxn ang="T140">
                          <a:pos x="T88" y="T89"/>
                        </a:cxn>
                        <a:cxn ang="T141">
                          <a:pos x="T90" y="T91"/>
                        </a:cxn>
                        <a:cxn ang="T142">
                          <a:pos x="T92" y="T93"/>
                        </a:cxn>
                        <a:cxn ang="T143">
                          <a:pos x="T94" y="T95"/>
                        </a:cxn>
                      </a:cxnLst>
                      <a:rect l="T144" t="T145" r="T146" b="T147"/>
                      <a:pathLst>
                        <a:path w="567" h="608">
                          <a:moveTo>
                            <a:pt x="53" y="139"/>
                          </a:moveTo>
                          <a:lnTo>
                            <a:pt x="58" y="143"/>
                          </a:lnTo>
                          <a:lnTo>
                            <a:pt x="45" y="143"/>
                          </a:lnTo>
                          <a:lnTo>
                            <a:pt x="27" y="148"/>
                          </a:lnTo>
                          <a:lnTo>
                            <a:pt x="18" y="157"/>
                          </a:lnTo>
                          <a:lnTo>
                            <a:pt x="13" y="170"/>
                          </a:lnTo>
                          <a:lnTo>
                            <a:pt x="0" y="188"/>
                          </a:lnTo>
                          <a:lnTo>
                            <a:pt x="9" y="206"/>
                          </a:lnTo>
                          <a:lnTo>
                            <a:pt x="9" y="219"/>
                          </a:lnTo>
                          <a:lnTo>
                            <a:pt x="22" y="219"/>
                          </a:lnTo>
                          <a:lnTo>
                            <a:pt x="27" y="228"/>
                          </a:lnTo>
                          <a:lnTo>
                            <a:pt x="49" y="215"/>
                          </a:lnTo>
                          <a:lnTo>
                            <a:pt x="49" y="242"/>
                          </a:lnTo>
                          <a:lnTo>
                            <a:pt x="67" y="242"/>
                          </a:lnTo>
                          <a:lnTo>
                            <a:pt x="80" y="242"/>
                          </a:lnTo>
                          <a:lnTo>
                            <a:pt x="107" y="224"/>
                          </a:lnTo>
                          <a:lnTo>
                            <a:pt x="129" y="219"/>
                          </a:lnTo>
                          <a:lnTo>
                            <a:pt x="129" y="251"/>
                          </a:lnTo>
                          <a:lnTo>
                            <a:pt x="147" y="259"/>
                          </a:lnTo>
                          <a:lnTo>
                            <a:pt x="183" y="277"/>
                          </a:lnTo>
                          <a:lnTo>
                            <a:pt x="196" y="277"/>
                          </a:lnTo>
                          <a:lnTo>
                            <a:pt x="201" y="286"/>
                          </a:lnTo>
                          <a:lnTo>
                            <a:pt x="196" y="304"/>
                          </a:lnTo>
                          <a:lnTo>
                            <a:pt x="201" y="318"/>
                          </a:lnTo>
                          <a:lnTo>
                            <a:pt x="228" y="318"/>
                          </a:lnTo>
                          <a:lnTo>
                            <a:pt x="223" y="335"/>
                          </a:lnTo>
                          <a:lnTo>
                            <a:pt x="237" y="335"/>
                          </a:lnTo>
                          <a:lnTo>
                            <a:pt x="237" y="344"/>
                          </a:lnTo>
                          <a:lnTo>
                            <a:pt x="232" y="371"/>
                          </a:lnTo>
                          <a:lnTo>
                            <a:pt x="237" y="376"/>
                          </a:lnTo>
                          <a:lnTo>
                            <a:pt x="237" y="380"/>
                          </a:lnTo>
                          <a:lnTo>
                            <a:pt x="237" y="394"/>
                          </a:lnTo>
                          <a:lnTo>
                            <a:pt x="232" y="411"/>
                          </a:lnTo>
                          <a:lnTo>
                            <a:pt x="246" y="411"/>
                          </a:lnTo>
                          <a:lnTo>
                            <a:pt x="259" y="407"/>
                          </a:lnTo>
                          <a:lnTo>
                            <a:pt x="268" y="416"/>
                          </a:lnTo>
                          <a:lnTo>
                            <a:pt x="268" y="443"/>
                          </a:lnTo>
                          <a:lnTo>
                            <a:pt x="281" y="438"/>
                          </a:lnTo>
                          <a:lnTo>
                            <a:pt x="286" y="443"/>
                          </a:lnTo>
                          <a:lnTo>
                            <a:pt x="281" y="461"/>
                          </a:lnTo>
                          <a:lnTo>
                            <a:pt x="286" y="465"/>
                          </a:lnTo>
                          <a:lnTo>
                            <a:pt x="295" y="465"/>
                          </a:lnTo>
                          <a:lnTo>
                            <a:pt x="295" y="487"/>
                          </a:lnTo>
                          <a:lnTo>
                            <a:pt x="277" y="501"/>
                          </a:lnTo>
                          <a:lnTo>
                            <a:pt x="241" y="537"/>
                          </a:lnTo>
                          <a:lnTo>
                            <a:pt x="241" y="541"/>
                          </a:lnTo>
                          <a:lnTo>
                            <a:pt x="250" y="541"/>
                          </a:lnTo>
                          <a:lnTo>
                            <a:pt x="259" y="554"/>
                          </a:lnTo>
                          <a:lnTo>
                            <a:pt x="268" y="550"/>
                          </a:lnTo>
                          <a:lnTo>
                            <a:pt x="277" y="563"/>
                          </a:lnTo>
                          <a:lnTo>
                            <a:pt x="290" y="568"/>
                          </a:lnTo>
                          <a:lnTo>
                            <a:pt x="299" y="586"/>
                          </a:lnTo>
                          <a:lnTo>
                            <a:pt x="295" y="595"/>
                          </a:lnTo>
                          <a:lnTo>
                            <a:pt x="295" y="608"/>
                          </a:lnTo>
                          <a:lnTo>
                            <a:pt x="308" y="599"/>
                          </a:lnTo>
                          <a:lnTo>
                            <a:pt x="317" y="577"/>
                          </a:lnTo>
                          <a:lnTo>
                            <a:pt x="362" y="514"/>
                          </a:lnTo>
                          <a:lnTo>
                            <a:pt x="366" y="501"/>
                          </a:lnTo>
                          <a:lnTo>
                            <a:pt x="371" y="465"/>
                          </a:lnTo>
                          <a:lnTo>
                            <a:pt x="366" y="461"/>
                          </a:lnTo>
                          <a:lnTo>
                            <a:pt x="375" y="461"/>
                          </a:lnTo>
                          <a:lnTo>
                            <a:pt x="397" y="443"/>
                          </a:lnTo>
                          <a:lnTo>
                            <a:pt x="415" y="443"/>
                          </a:lnTo>
                          <a:lnTo>
                            <a:pt x="415" y="434"/>
                          </a:lnTo>
                          <a:lnTo>
                            <a:pt x="447" y="425"/>
                          </a:lnTo>
                          <a:lnTo>
                            <a:pt x="464" y="420"/>
                          </a:lnTo>
                          <a:lnTo>
                            <a:pt x="464" y="416"/>
                          </a:lnTo>
                          <a:lnTo>
                            <a:pt x="473" y="411"/>
                          </a:lnTo>
                          <a:lnTo>
                            <a:pt x="496" y="367"/>
                          </a:lnTo>
                          <a:lnTo>
                            <a:pt x="496" y="349"/>
                          </a:lnTo>
                          <a:lnTo>
                            <a:pt x="505" y="340"/>
                          </a:lnTo>
                          <a:lnTo>
                            <a:pt x="505" y="277"/>
                          </a:lnTo>
                          <a:lnTo>
                            <a:pt x="509" y="264"/>
                          </a:lnTo>
                          <a:lnTo>
                            <a:pt x="514" y="268"/>
                          </a:lnTo>
                          <a:lnTo>
                            <a:pt x="531" y="237"/>
                          </a:lnTo>
                          <a:lnTo>
                            <a:pt x="540" y="237"/>
                          </a:lnTo>
                          <a:lnTo>
                            <a:pt x="567" y="197"/>
                          </a:lnTo>
                          <a:lnTo>
                            <a:pt x="567" y="184"/>
                          </a:lnTo>
                          <a:lnTo>
                            <a:pt x="558" y="152"/>
                          </a:lnTo>
                          <a:lnTo>
                            <a:pt x="536" y="152"/>
                          </a:lnTo>
                          <a:lnTo>
                            <a:pt x="527" y="143"/>
                          </a:lnTo>
                          <a:lnTo>
                            <a:pt x="523" y="143"/>
                          </a:lnTo>
                          <a:lnTo>
                            <a:pt x="500" y="121"/>
                          </a:lnTo>
                          <a:lnTo>
                            <a:pt x="487" y="116"/>
                          </a:lnTo>
                          <a:lnTo>
                            <a:pt x="460" y="116"/>
                          </a:lnTo>
                          <a:lnTo>
                            <a:pt x="438" y="112"/>
                          </a:lnTo>
                          <a:lnTo>
                            <a:pt x="424" y="116"/>
                          </a:lnTo>
                          <a:lnTo>
                            <a:pt x="424" y="103"/>
                          </a:lnTo>
                          <a:lnTo>
                            <a:pt x="420" y="94"/>
                          </a:lnTo>
                          <a:lnTo>
                            <a:pt x="411" y="103"/>
                          </a:lnTo>
                          <a:lnTo>
                            <a:pt x="406" y="94"/>
                          </a:lnTo>
                          <a:lnTo>
                            <a:pt x="375" y="90"/>
                          </a:lnTo>
                          <a:lnTo>
                            <a:pt x="357" y="103"/>
                          </a:lnTo>
                          <a:lnTo>
                            <a:pt x="348" y="116"/>
                          </a:lnTo>
                          <a:lnTo>
                            <a:pt x="353" y="99"/>
                          </a:lnTo>
                          <a:lnTo>
                            <a:pt x="357" y="94"/>
                          </a:lnTo>
                          <a:lnTo>
                            <a:pt x="366" y="85"/>
                          </a:lnTo>
                          <a:lnTo>
                            <a:pt x="339" y="81"/>
                          </a:lnTo>
                          <a:lnTo>
                            <a:pt x="335" y="76"/>
                          </a:lnTo>
                          <a:lnTo>
                            <a:pt x="353" y="76"/>
                          </a:lnTo>
                          <a:lnTo>
                            <a:pt x="344" y="72"/>
                          </a:lnTo>
                          <a:lnTo>
                            <a:pt x="348" y="49"/>
                          </a:lnTo>
                          <a:lnTo>
                            <a:pt x="335" y="45"/>
                          </a:lnTo>
                          <a:lnTo>
                            <a:pt x="330" y="18"/>
                          </a:lnTo>
                          <a:lnTo>
                            <a:pt x="321" y="14"/>
                          </a:lnTo>
                          <a:lnTo>
                            <a:pt x="321" y="23"/>
                          </a:lnTo>
                          <a:lnTo>
                            <a:pt x="313" y="41"/>
                          </a:lnTo>
                          <a:lnTo>
                            <a:pt x="299" y="49"/>
                          </a:lnTo>
                          <a:lnTo>
                            <a:pt x="286" y="49"/>
                          </a:lnTo>
                          <a:lnTo>
                            <a:pt x="277" y="41"/>
                          </a:lnTo>
                          <a:lnTo>
                            <a:pt x="259" y="41"/>
                          </a:lnTo>
                          <a:lnTo>
                            <a:pt x="259" y="54"/>
                          </a:lnTo>
                          <a:lnTo>
                            <a:pt x="254" y="49"/>
                          </a:lnTo>
                          <a:lnTo>
                            <a:pt x="228" y="54"/>
                          </a:lnTo>
                          <a:lnTo>
                            <a:pt x="219" y="63"/>
                          </a:lnTo>
                          <a:lnTo>
                            <a:pt x="210" y="58"/>
                          </a:lnTo>
                          <a:lnTo>
                            <a:pt x="201" y="45"/>
                          </a:lnTo>
                          <a:lnTo>
                            <a:pt x="201" y="23"/>
                          </a:lnTo>
                          <a:lnTo>
                            <a:pt x="210" y="14"/>
                          </a:lnTo>
                          <a:lnTo>
                            <a:pt x="201" y="14"/>
                          </a:lnTo>
                          <a:lnTo>
                            <a:pt x="201" y="0"/>
                          </a:lnTo>
                          <a:lnTo>
                            <a:pt x="192" y="0"/>
                          </a:lnTo>
                          <a:lnTo>
                            <a:pt x="192" y="14"/>
                          </a:lnTo>
                          <a:lnTo>
                            <a:pt x="161" y="18"/>
                          </a:lnTo>
                          <a:lnTo>
                            <a:pt x="147" y="18"/>
                          </a:lnTo>
                          <a:lnTo>
                            <a:pt x="134" y="9"/>
                          </a:lnTo>
                          <a:lnTo>
                            <a:pt x="129" y="18"/>
                          </a:lnTo>
                          <a:lnTo>
                            <a:pt x="134" y="23"/>
                          </a:lnTo>
                          <a:lnTo>
                            <a:pt x="138" y="41"/>
                          </a:lnTo>
                          <a:lnTo>
                            <a:pt x="152" y="45"/>
                          </a:lnTo>
                          <a:lnTo>
                            <a:pt x="143" y="45"/>
                          </a:lnTo>
                          <a:lnTo>
                            <a:pt x="134" y="54"/>
                          </a:lnTo>
                          <a:lnTo>
                            <a:pt x="112" y="63"/>
                          </a:lnTo>
                          <a:lnTo>
                            <a:pt x="103" y="58"/>
                          </a:lnTo>
                          <a:lnTo>
                            <a:pt x="94" y="58"/>
                          </a:lnTo>
                          <a:lnTo>
                            <a:pt x="94" y="45"/>
                          </a:lnTo>
                          <a:lnTo>
                            <a:pt x="80" y="54"/>
                          </a:lnTo>
                          <a:lnTo>
                            <a:pt x="62" y="54"/>
                          </a:lnTo>
                          <a:lnTo>
                            <a:pt x="58" y="67"/>
                          </a:lnTo>
                          <a:lnTo>
                            <a:pt x="71" y="67"/>
                          </a:lnTo>
                          <a:lnTo>
                            <a:pt x="67" y="76"/>
                          </a:lnTo>
                          <a:lnTo>
                            <a:pt x="53" y="76"/>
                          </a:lnTo>
                          <a:lnTo>
                            <a:pt x="58" y="85"/>
                          </a:lnTo>
                          <a:lnTo>
                            <a:pt x="67" y="85"/>
                          </a:lnTo>
                          <a:lnTo>
                            <a:pt x="71" y="94"/>
                          </a:lnTo>
                          <a:lnTo>
                            <a:pt x="53" y="13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8" name="Freeform 7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568" y="2373"/>
                      <a:ext cx="21" cy="38"/>
                    </a:xfrm>
                    <a:custGeom>
                      <a:avLst/>
                      <a:gdLst>
                        <a:gd name="T0" fmla="*/ 4 w 22"/>
                        <a:gd name="T1" fmla="*/ 9 h 40"/>
                        <a:gd name="T2" fmla="*/ 0 w 22"/>
                        <a:gd name="T3" fmla="*/ 10 h 40"/>
                        <a:gd name="T4" fmla="*/ 4 w 22"/>
                        <a:gd name="T5" fmla="*/ 10 h 40"/>
                        <a:gd name="T6" fmla="*/ 8 w 22"/>
                        <a:gd name="T7" fmla="*/ 10 h 40"/>
                        <a:gd name="T8" fmla="*/ 11 w 22"/>
                        <a:gd name="T9" fmla="*/ 10 h 40"/>
                        <a:gd name="T10" fmla="*/ 11 w 22"/>
                        <a:gd name="T11" fmla="*/ 10 h 40"/>
                        <a:gd name="T12" fmla="*/ 11 w 22"/>
                        <a:gd name="T13" fmla="*/ 10 h 40"/>
                        <a:gd name="T14" fmla="*/ 11 w 22"/>
                        <a:gd name="T15" fmla="*/ 4 h 40"/>
                        <a:gd name="T16" fmla="*/ 11 w 22"/>
                        <a:gd name="T17" fmla="*/ 0 h 40"/>
                        <a:gd name="T18" fmla="*/ 4 w 22"/>
                        <a:gd name="T19" fmla="*/ 9 h 40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2"/>
                        <a:gd name="T31" fmla="*/ 0 h 40"/>
                        <a:gd name="T32" fmla="*/ 22 w 22"/>
                        <a:gd name="T33" fmla="*/ 40 h 40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2" h="40">
                          <a:moveTo>
                            <a:pt x="4" y="9"/>
                          </a:moveTo>
                          <a:lnTo>
                            <a:pt x="0" y="26"/>
                          </a:lnTo>
                          <a:lnTo>
                            <a:pt x="4" y="40"/>
                          </a:lnTo>
                          <a:lnTo>
                            <a:pt x="8" y="40"/>
                          </a:lnTo>
                          <a:lnTo>
                            <a:pt x="13" y="35"/>
                          </a:lnTo>
                          <a:lnTo>
                            <a:pt x="17" y="31"/>
                          </a:lnTo>
                          <a:lnTo>
                            <a:pt x="22" y="26"/>
                          </a:lnTo>
                          <a:lnTo>
                            <a:pt x="17" y="4"/>
                          </a:lnTo>
                          <a:lnTo>
                            <a:pt x="13" y="0"/>
                          </a:lnTo>
                          <a:lnTo>
                            <a:pt x="4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69" name="Freeform 80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867" y="854"/>
                      <a:ext cx="1202" cy="1135"/>
                    </a:xfrm>
                    <a:custGeom>
                      <a:avLst/>
                      <a:gdLst>
                        <a:gd name="T0" fmla="*/ 28 w 1273"/>
                        <a:gd name="T1" fmla="*/ 159 h 1202"/>
                        <a:gd name="T2" fmla="*/ 34 w 1273"/>
                        <a:gd name="T3" fmla="*/ 178 h 1202"/>
                        <a:gd name="T4" fmla="*/ 131 w 1273"/>
                        <a:gd name="T5" fmla="*/ 195 h 1202"/>
                        <a:gd name="T6" fmla="*/ 154 w 1273"/>
                        <a:gd name="T7" fmla="*/ 209 h 1202"/>
                        <a:gd name="T8" fmla="*/ 182 w 1273"/>
                        <a:gd name="T9" fmla="*/ 197 h 1202"/>
                        <a:gd name="T10" fmla="*/ 213 w 1273"/>
                        <a:gd name="T11" fmla="*/ 167 h 1202"/>
                        <a:gd name="T12" fmla="*/ 200 w 1273"/>
                        <a:gd name="T13" fmla="*/ 146 h 1202"/>
                        <a:gd name="T14" fmla="*/ 171 w 1273"/>
                        <a:gd name="T15" fmla="*/ 127 h 1202"/>
                        <a:gd name="T16" fmla="*/ 161 w 1273"/>
                        <a:gd name="T17" fmla="*/ 176 h 1202"/>
                        <a:gd name="T18" fmla="*/ 124 w 1273"/>
                        <a:gd name="T19" fmla="*/ 146 h 1202"/>
                        <a:gd name="T20" fmla="*/ 135 w 1273"/>
                        <a:gd name="T21" fmla="*/ 110 h 1202"/>
                        <a:gd name="T22" fmla="*/ 146 w 1273"/>
                        <a:gd name="T23" fmla="*/ 104 h 1202"/>
                        <a:gd name="T24" fmla="*/ 146 w 1273"/>
                        <a:gd name="T25" fmla="*/ 78 h 1202"/>
                        <a:gd name="T26" fmla="*/ 130 w 1273"/>
                        <a:gd name="T27" fmla="*/ 82 h 1202"/>
                        <a:gd name="T28" fmla="*/ 114 w 1273"/>
                        <a:gd name="T29" fmla="*/ 73 h 1202"/>
                        <a:gd name="T30" fmla="*/ 110 w 1273"/>
                        <a:gd name="T31" fmla="*/ 90 h 1202"/>
                        <a:gd name="T32" fmla="*/ 86 w 1273"/>
                        <a:gd name="T33" fmla="*/ 97 h 1202"/>
                        <a:gd name="T34" fmla="*/ 42 w 1273"/>
                        <a:gd name="T35" fmla="*/ 76 h 1202"/>
                        <a:gd name="T36" fmla="*/ 22 w 1273"/>
                        <a:gd name="T37" fmla="*/ 168 h 1202"/>
                        <a:gd name="T38" fmla="*/ 42 w 1273"/>
                        <a:gd name="T39" fmla="*/ 186 h 1202"/>
                        <a:gd name="T40" fmla="*/ 54 w 1273"/>
                        <a:gd name="T41" fmla="*/ 62 h 1202"/>
                        <a:gd name="T42" fmla="*/ 53 w 1273"/>
                        <a:gd name="T43" fmla="*/ 21 h 1202"/>
                        <a:gd name="T44" fmla="*/ 57 w 1273"/>
                        <a:gd name="T45" fmla="*/ 8 h 1202"/>
                        <a:gd name="T46" fmla="*/ 75 w 1273"/>
                        <a:gd name="T47" fmla="*/ 74 h 1202"/>
                        <a:gd name="T48" fmla="*/ 99 w 1273"/>
                        <a:gd name="T49" fmla="*/ 86 h 1202"/>
                        <a:gd name="T50" fmla="*/ 88 w 1273"/>
                        <a:gd name="T51" fmla="*/ 62 h 1202"/>
                        <a:gd name="T52" fmla="*/ 68 w 1273"/>
                        <a:gd name="T53" fmla="*/ 47 h 1202"/>
                        <a:gd name="T54" fmla="*/ 62 w 1273"/>
                        <a:gd name="T55" fmla="*/ 107 h 1202"/>
                        <a:gd name="T56" fmla="*/ 42 w 1273"/>
                        <a:gd name="T57" fmla="*/ 105 h 1202"/>
                        <a:gd name="T58" fmla="*/ 81 w 1273"/>
                        <a:gd name="T59" fmla="*/ 126 h 1202"/>
                        <a:gd name="T60" fmla="*/ 64 w 1273"/>
                        <a:gd name="T61" fmla="*/ 17 h 1202"/>
                        <a:gd name="T62" fmla="*/ 73 w 1273"/>
                        <a:gd name="T63" fmla="*/ 28 h 1202"/>
                        <a:gd name="T64" fmla="*/ 91 w 1273"/>
                        <a:gd name="T65" fmla="*/ 30 h 1202"/>
                        <a:gd name="T66" fmla="*/ 82 w 1273"/>
                        <a:gd name="T67" fmla="*/ 26 h 1202"/>
                        <a:gd name="T68" fmla="*/ 110 w 1273"/>
                        <a:gd name="T69" fmla="*/ 32 h 1202"/>
                        <a:gd name="T70" fmla="*/ 101 w 1273"/>
                        <a:gd name="T71" fmla="*/ 17 h 1202"/>
                        <a:gd name="T72" fmla="*/ 102 w 1273"/>
                        <a:gd name="T73" fmla="*/ 47 h 1202"/>
                        <a:gd name="T74" fmla="*/ 113 w 1273"/>
                        <a:gd name="T75" fmla="*/ 47 h 1202"/>
                        <a:gd name="T76" fmla="*/ 123 w 1273"/>
                        <a:gd name="T77" fmla="*/ 53 h 1202"/>
                        <a:gd name="T78" fmla="*/ 121 w 1273"/>
                        <a:gd name="T79" fmla="*/ 11 h 1202"/>
                        <a:gd name="T80" fmla="*/ 144 w 1273"/>
                        <a:gd name="T81" fmla="*/ 37 h 1202"/>
                        <a:gd name="T82" fmla="*/ 139 w 1273"/>
                        <a:gd name="T83" fmla="*/ 25 h 1202"/>
                        <a:gd name="T84" fmla="*/ 144 w 1273"/>
                        <a:gd name="T85" fmla="*/ 123 h 1202"/>
                        <a:gd name="T86" fmla="*/ 142 w 1273"/>
                        <a:gd name="T87" fmla="*/ 118 h 1202"/>
                        <a:gd name="T88" fmla="*/ 136 w 1273"/>
                        <a:gd name="T89" fmla="*/ 17 h 1202"/>
                        <a:gd name="T90" fmla="*/ 151 w 1273"/>
                        <a:gd name="T91" fmla="*/ 8 h 1202"/>
                        <a:gd name="T92" fmla="*/ 150 w 1273"/>
                        <a:gd name="T93" fmla="*/ 123 h 1202"/>
                        <a:gd name="T94" fmla="*/ 166 w 1273"/>
                        <a:gd name="T95" fmla="*/ 78 h 1202"/>
                        <a:gd name="T96" fmla="*/ 175 w 1273"/>
                        <a:gd name="T97" fmla="*/ 101 h 1202"/>
                        <a:gd name="T98" fmla="*/ 179 w 1273"/>
                        <a:gd name="T99" fmla="*/ 125 h 1202"/>
                        <a:gd name="T100" fmla="*/ 199 w 1273"/>
                        <a:gd name="T101" fmla="*/ 112 h 1202"/>
                        <a:gd name="T102" fmla="*/ 186 w 1273"/>
                        <a:gd name="T103" fmla="*/ 75 h 1202"/>
                        <a:gd name="T104" fmla="*/ 169 w 1273"/>
                        <a:gd name="T105" fmla="*/ 56 h 1202"/>
                        <a:gd name="T106" fmla="*/ 144 w 1273"/>
                        <a:gd name="T107" fmla="*/ 49 h 1202"/>
                        <a:gd name="T108" fmla="*/ 132 w 1273"/>
                        <a:gd name="T109" fmla="*/ 66 h 1202"/>
                        <a:gd name="T110" fmla="*/ 159 w 1273"/>
                        <a:gd name="T111" fmla="*/ 127 h 1202"/>
                        <a:gd name="T112" fmla="*/ 188 w 1273"/>
                        <a:gd name="T113" fmla="*/ 203 h 1202"/>
                        <a:gd name="T114" fmla="*/ 208 w 1273"/>
                        <a:gd name="T115" fmla="*/ 200 h 1202"/>
                        <a:gd name="T116" fmla="*/ 195 w 1273"/>
                        <a:gd name="T117" fmla="*/ 187 h 1202"/>
                        <a:gd name="T118" fmla="*/ 197 w 1273"/>
                        <a:gd name="T119" fmla="*/ 186 h 1202"/>
                        <a:gd name="T120" fmla="*/ 220 w 1273"/>
                        <a:gd name="T121" fmla="*/ 195 h 1202"/>
                        <a:gd name="T122" fmla="*/ 225 w 1273"/>
                        <a:gd name="T123" fmla="*/ 193 h 1202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60000 65536"/>
                        <a:gd name="T184" fmla="*/ 0 60000 65536"/>
                        <a:gd name="T185" fmla="*/ 0 60000 65536"/>
                        <a:gd name="T186" fmla="*/ 0 w 1273"/>
                        <a:gd name="T187" fmla="*/ 0 h 1202"/>
                        <a:gd name="T188" fmla="*/ 1273 w 1273"/>
                        <a:gd name="T189" fmla="*/ 1202 h 1202"/>
                      </a:gdLst>
                      <a:ahLst/>
                      <a:cxnLst>
                        <a:cxn ang="T124">
                          <a:pos x="T0" y="T1"/>
                        </a:cxn>
                        <a:cxn ang="T125">
                          <a:pos x="T2" y="T3"/>
                        </a:cxn>
                        <a:cxn ang="T126">
                          <a:pos x="T4" y="T5"/>
                        </a:cxn>
                        <a:cxn ang="T127">
                          <a:pos x="T6" y="T7"/>
                        </a:cxn>
                        <a:cxn ang="T128">
                          <a:pos x="T8" y="T9"/>
                        </a:cxn>
                        <a:cxn ang="T129">
                          <a:pos x="T10" y="T11"/>
                        </a:cxn>
                        <a:cxn ang="T130">
                          <a:pos x="T12" y="T13"/>
                        </a:cxn>
                        <a:cxn ang="T131">
                          <a:pos x="T14" y="T15"/>
                        </a:cxn>
                        <a:cxn ang="T132">
                          <a:pos x="T16" y="T17"/>
                        </a:cxn>
                        <a:cxn ang="T133">
                          <a:pos x="T18" y="T19"/>
                        </a:cxn>
                        <a:cxn ang="T134">
                          <a:pos x="T20" y="T21"/>
                        </a:cxn>
                        <a:cxn ang="T135">
                          <a:pos x="T22" y="T23"/>
                        </a:cxn>
                        <a:cxn ang="T136">
                          <a:pos x="T24" y="T25"/>
                        </a:cxn>
                        <a:cxn ang="T137">
                          <a:pos x="T26" y="T27"/>
                        </a:cxn>
                        <a:cxn ang="T138">
                          <a:pos x="T28" y="T29"/>
                        </a:cxn>
                        <a:cxn ang="T139">
                          <a:pos x="T30" y="T31"/>
                        </a:cxn>
                        <a:cxn ang="T140">
                          <a:pos x="T32" y="T33"/>
                        </a:cxn>
                        <a:cxn ang="T141">
                          <a:pos x="T34" y="T35"/>
                        </a:cxn>
                        <a:cxn ang="T142">
                          <a:pos x="T36" y="T37"/>
                        </a:cxn>
                        <a:cxn ang="T143">
                          <a:pos x="T38" y="T39"/>
                        </a:cxn>
                        <a:cxn ang="T144">
                          <a:pos x="T40" y="T41"/>
                        </a:cxn>
                        <a:cxn ang="T145">
                          <a:pos x="T42" y="T43"/>
                        </a:cxn>
                        <a:cxn ang="T146">
                          <a:pos x="T44" y="T45"/>
                        </a:cxn>
                        <a:cxn ang="T147">
                          <a:pos x="T46" y="T47"/>
                        </a:cxn>
                        <a:cxn ang="T148">
                          <a:pos x="T48" y="T49"/>
                        </a:cxn>
                        <a:cxn ang="T149">
                          <a:pos x="T50" y="T51"/>
                        </a:cxn>
                        <a:cxn ang="T150">
                          <a:pos x="T52" y="T53"/>
                        </a:cxn>
                        <a:cxn ang="T151">
                          <a:pos x="T54" y="T55"/>
                        </a:cxn>
                        <a:cxn ang="T152">
                          <a:pos x="T56" y="T57"/>
                        </a:cxn>
                        <a:cxn ang="T153">
                          <a:pos x="T58" y="T59"/>
                        </a:cxn>
                        <a:cxn ang="T154">
                          <a:pos x="T60" y="T61"/>
                        </a:cxn>
                        <a:cxn ang="T155">
                          <a:pos x="T62" y="T63"/>
                        </a:cxn>
                        <a:cxn ang="T156">
                          <a:pos x="T64" y="T65"/>
                        </a:cxn>
                        <a:cxn ang="T157">
                          <a:pos x="T66" y="T67"/>
                        </a:cxn>
                        <a:cxn ang="T158">
                          <a:pos x="T68" y="T69"/>
                        </a:cxn>
                        <a:cxn ang="T159">
                          <a:pos x="T70" y="T71"/>
                        </a:cxn>
                        <a:cxn ang="T160">
                          <a:pos x="T72" y="T73"/>
                        </a:cxn>
                        <a:cxn ang="T161">
                          <a:pos x="T74" y="T75"/>
                        </a:cxn>
                        <a:cxn ang="T162">
                          <a:pos x="T76" y="T77"/>
                        </a:cxn>
                        <a:cxn ang="T163">
                          <a:pos x="T78" y="T79"/>
                        </a:cxn>
                        <a:cxn ang="T164">
                          <a:pos x="T80" y="T81"/>
                        </a:cxn>
                        <a:cxn ang="T165">
                          <a:pos x="T82" y="T83"/>
                        </a:cxn>
                        <a:cxn ang="T166">
                          <a:pos x="T84" y="T85"/>
                        </a:cxn>
                        <a:cxn ang="T167">
                          <a:pos x="T86" y="T87"/>
                        </a:cxn>
                        <a:cxn ang="T168">
                          <a:pos x="T88" y="T89"/>
                        </a:cxn>
                        <a:cxn ang="T169">
                          <a:pos x="T90" y="T91"/>
                        </a:cxn>
                        <a:cxn ang="T170">
                          <a:pos x="T92" y="T93"/>
                        </a:cxn>
                        <a:cxn ang="T171">
                          <a:pos x="T94" y="T95"/>
                        </a:cxn>
                        <a:cxn ang="T172">
                          <a:pos x="T96" y="T97"/>
                        </a:cxn>
                        <a:cxn ang="T173">
                          <a:pos x="T98" y="T99"/>
                        </a:cxn>
                        <a:cxn ang="T174">
                          <a:pos x="T100" y="T101"/>
                        </a:cxn>
                        <a:cxn ang="T175">
                          <a:pos x="T102" y="T103"/>
                        </a:cxn>
                        <a:cxn ang="T176">
                          <a:pos x="T104" y="T105"/>
                        </a:cxn>
                        <a:cxn ang="T177">
                          <a:pos x="T106" y="T107"/>
                        </a:cxn>
                        <a:cxn ang="T178">
                          <a:pos x="T108" y="T109"/>
                        </a:cxn>
                        <a:cxn ang="T179">
                          <a:pos x="T110" y="T111"/>
                        </a:cxn>
                        <a:cxn ang="T180">
                          <a:pos x="T112" y="T113"/>
                        </a:cxn>
                        <a:cxn ang="T181">
                          <a:pos x="T114" y="T115"/>
                        </a:cxn>
                        <a:cxn ang="T182">
                          <a:pos x="T116" y="T117"/>
                        </a:cxn>
                        <a:cxn ang="T183">
                          <a:pos x="T118" y="T119"/>
                        </a:cxn>
                        <a:cxn ang="T184">
                          <a:pos x="T120" y="T121"/>
                        </a:cxn>
                        <a:cxn ang="T185">
                          <a:pos x="T122" y="T123"/>
                        </a:cxn>
                      </a:cxnLst>
                      <a:rect l="T186" t="T187" r="T188" b="T189"/>
                      <a:pathLst>
                        <a:path w="1273" h="1202">
                          <a:moveTo>
                            <a:pt x="0" y="442"/>
                          </a:moveTo>
                          <a:lnTo>
                            <a:pt x="0" y="777"/>
                          </a:lnTo>
                          <a:lnTo>
                            <a:pt x="4" y="782"/>
                          </a:lnTo>
                          <a:lnTo>
                            <a:pt x="13" y="782"/>
                          </a:lnTo>
                          <a:lnTo>
                            <a:pt x="22" y="773"/>
                          </a:lnTo>
                          <a:lnTo>
                            <a:pt x="27" y="777"/>
                          </a:lnTo>
                          <a:lnTo>
                            <a:pt x="31" y="782"/>
                          </a:lnTo>
                          <a:lnTo>
                            <a:pt x="45" y="800"/>
                          </a:lnTo>
                          <a:lnTo>
                            <a:pt x="49" y="809"/>
                          </a:lnTo>
                          <a:lnTo>
                            <a:pt x="63" y="804"/>
                          </a:lnTo>
                          <a:lnTo>
                            <a:pt x="71" y="791"/>
                          </a:lnTo>
                          <a:lnTo>
                            <a:pt x="85" y="791"/>
                          </a:lnTo>
                          <a:lnTo>
                            <a:pt x="103" y="804"/>
                          </a:lnTo>
                          <a:lnTo>
                            <a:pt x="121" y="840"/>
                          </a:lnTo>
                          <a:lnTo>
                            <a:pt x="134" y="867"/>
                          </a:lnTo>
                          <a:lnTo>
                            <a:pt x="152" y="885"/>
                          </a:lnTo>
                          <a:lnTo>
                            <a:pt x="161" y="885"/>
                          </a:lnTo>
                          <a:lnTo>
                            <a:pt x="161" y="894"/>
                          </a:lnTo>
                          <a:lnTo>
                            <a:pt x="165" y="903"/>
                          </a:lnTo>
                          <a:lnTo>
                            <a:pt x="161" y="920"/>
                          </a:lnTo>
                          <a:lnTo>
                            <a:pt x="156" y="929"/>
                          </a:lnTo>
                          <a:lnTo>
                            <a:pt x="156" y="938"/>
                          </a:lnTo>
                          <a:lnTo>
                            <a:pt x="152" y="938"/>
                          </a:lnTo>
                          <a:lnTo>
                            <a:pt x="152" y="943"/>
                          </a:lnTo>
                          <a:lnTo>
                            <a:pt x="161" y="943"/>
                          </a:lnTo>
                          <a:lnTo>
                            <a:pt x="156" y="956"/>
                          </a:lnTo>
                          <a:lnTo>
                            <a:pt x="165" y="965"/>
                          </a:lnTo>
                          <a:lnTo>
                            <a:pt x="174" y="956"/>
                          </a:lnTo>
                          <a:lnTo>
                            <a:pt x="179" y="956"/>
                          </a:lnTo>
                          <a:lnTo>
                            <a:pt x="170" y="965"/>
                          </a:lnTo>
                          <a:lnTo>
                            <a:pt x="179" y="979"/>
                          </a:lnTo>
                          <a:lnTo>
                            <a:pt x="183" y="979"/>
                          </a:lnTo>
                          <a:lnTo>
                            <a:pt x="183" y="970"/>
                          </a:lnTo>
                          <a:lnTo>
                            <a:pt x="188" y="970"/>
                          </a:lnTo>
                          <a:lnTo>
                            <a:pt x="188" y="983"/>
                          </a:lnTo>
                          <a:lnTo>
                            <a:pt x="188" y="1001"/>
                          </a:lnTo>
                          <a:lnTo>
                            <a:pt x="197" y="1001"/>
                          </a:lnTo>
                          <a:lnTo>
                            <a:pt x="197" y="1005"/>
                          </a:lnTo>
                          <a:lnTo>
                            <a:pt x="206" y="1014"/>
                          </a:lnTo>
                          <a:lnTo>
                            <a:pt x="219" y="1023"/>
                          </a:lnTo>
                          <a:lnTo>
                            <a:pt x="237" y="1028"/>
                          </a:lnTo>
                          <a:lnTo>
                            <a:pt x="237" y="1037"/>
                          </a:lnTo>
                          <a:lnTo>
                            <a:pt x="246" y="1046"/>
                          </a:lnTo>
                          <a:lnTo>
                            <a:pt x="264" y="1055"/>
                          </a:lnTo>
                          <a:lnTo>
                            <a:pt x="268" y="1059"/>
                          </a:lnTo>
                          <a:lnTo>
                            <a:pt x="268" y="1063"/>
                          </a:lnTo>
                          <a:lnTo>
                            <a:pt x="657" y="1063"/>
                          </a:lnTo>
                          <a:lnTo>
                            <a:pt x="666" y="1059"/>
                          </a:lnTo>
                          <a:lnTo>
                            <a:pt x="670" y="1068"/>
                          </a:lnTo>
                          <a:lnTo>
                            <a:pt x="692" y="1068"/>
                          </a:lnTo>
                          <a:lnTo>
                            <a:pt x="701" y="1072"/>
                          </a:lnTo>
                          <a:lnTo>
                            <a:pt x="710" y="1081"/>
                          </a:lnTo>
                          <a:lnTo>
                            <a:pt x="724" y="1077"/>
                          </a:lnTo>
                          <a:lnTo>
                            <a:pt x="733" y="1081"/>
                          </a:lnTo>
                          <a:lnTo>
                            <a:pt x="750" y="1072"/>
                          </a:lnTo>
                          <a:lnTo>
                            <a:pt x="759" y="1068"/>
                          </a:lnTo>
                          <a:lnTo>
                            <a:pt x="764" y="1059"/>
                          </a:lnTo>
                          <a:lnTo>
                            <a:pt x="786" y="1063"/>
                          </a:lnTo>
                          <a:lnTo>
                            <a:pt x="795" y="1081"/>
                          </a:lnTo>
                          <a:lnTo>
                            <a:pt x="809" y="1081"/>
                          </a:lnTo>
                          <a:lnTo>
                            <a:pt x="809" y="1099"/>
                          </a:lnTo>
                          <a:lnTo>
                            <a:pt x="817" y="1113"/>
                          </a:lnTo>
                          <a:lnTo>
                            <a:pt x="826" y="1117"/>
                          </a:lnTo>
                          <a:lnTo>
                            <a:pt x="867" y="1122"/>
                          </a:lnTo>
                          <a:lnTo>
                            <a:pt x="889" y="1148"/>
                          </a:lnTo>
                          <a:lnTo>
                            <a:pt x="876" y="1144"/>
                          </a:lnTo>
                          <a:lnTo>
                            <a:pt x="880" y="1153"/>
                          </a:lnTo>
                          <a:lnTo>
                            <a:pt x="867" y="1148"/>
                          </a:lnTo>
                          <a:lnTo>
                            <a:pt x="858" y="1135"/>
                          </a:lnTo>
                          <a:lnTo>
                            <a:pt x="853" y="1135"/>
                          </a:lnTo>
                          <a:lnTo>
                            <a:pt x="862" y="1148"/>
                          </a:lnTo>
                          <a:lnTo>
                            <a:pt x="858" y="1162"/>
                          </a:lnTo>
                          <a:lnTo>
                            <a:pt x="858" y="1171"/>
                          </a:lnTo>
                          <a:lnTo>
                            <a:pt x="844" y="1189"/>
                          </a:lnTo>
                          <a:lnTo>
                            <a:pt x="844" y="1193"/>
                          </a:lnTo>
                          <a:lnTo>
                            <a:pt x="840" y="1198"/>
                          </a:lnTo>
                          <a:lnTo>
                            <a:pt x="844" y="1202"/>
                          </a:lnTo>
                          <a:lnTo>
                            <a:pt x="862" y="1189"/>
                          </a:lnTo>
                          <a:lnTo>
                            <a:pt x="876" y="1193"/>
                          </a:lnTo>
                          <a:lnTo>
                            <a:pt x="876" y="1189"/>
                          </a:lnTo>
                          <a:lnTo>
                            <a:pt x="893" y="1184"/>
                          </a:lnTo>
                          <a:lnTo>
                            <a:pt x="893" y="1180"/>
                          </a:lnTo>
                          <a:lnTo>
                            <a:pt x="880" y="1175"/>
                          </a:lnTo>
                          <a:lnTo>
                            <a:pt x="889" y="1171"/>
                          </a:lnTo>
                          <a:lnTo>
                            <a:pt x="911" y="1162"/>
                          </a:lnTo>
                          <a:lnTo>
                            <a:pt x="925" y="1166"/>
                          </a:lnTo>
                          <a:lnTo>
                            <a:pt x="929" y="1157"/>
                          </a:lnTo>
                          <a:lnTo>
                            <a:pt x="934" y="1157"/>
                          </a:lnTo>
                          <a:lnTo>
                            <a:pt x="992" y="1108"/>
                          </a:lnTo>
                          <a:lnTo>
                            <a:pt x="1014" y="1099"/>
                          </a:lnTo>
                          <a:lnTo>
                            <a:pt x="1032" y="1072"/>
                          </a:lnTo>
                          <a:lnTo>
                            <a:pt x="1041" y="1059"/>
                          </a:lnTo>
                          <a:lnTo>
                            <a:pt x="1063" y="1050"/>
                          </a:lnTo>
                          <a:lnTo>
                            <a:pt x="1072" y="1032"/>
                          </a:lnTo>
                          <a:lnTo>
                            <a:pt x="1170" y="1032"/>
                          </a:lnTo>
                          <a:lnTo>
                            <a:pt x="1193" y="1001"/>
                          </a:lnTo>
                          <a:lnTo>
                            <a:pt x="1215" y="996"/>
                          </a:lnTo>
                          <a:lnTo>
                            <a:pt x="1228" y="983"/>
                          </a:lnTo>
                          <a:lnTo>
                            <a:pt x="1228" y="974"/>
                          </a:lnTo>
                          <a:lnTo>
                            <a:pt x="1224" y="974"/>
                          </a:lnTo>
                          <a:lnTo>
                            <a:pt x="1228" y="965"/>
                          </a:lnTo>
                          <a:lnTo>
                            <a:pt x="1228" y="956"/>
                          </a:lnTo>
                          <a:lnTo>
                            <a:pt x="1219" y="943"/>
                          </a:lnTo>
                          <a:lnTo>
                            <a:pt x="1211" y="947"/>
                          </a:lnTo>
                          <a:lnTo>
                            <a:pt x="1202" y="952"/>
                          </a:lnTo>
                          <a:lnTo>
                            <a:pt x="1206" y="938"/>
                          </a:lnTo>
                          <a:lnTo>
                            <a:pt x="1206" y="934"/>
                          </a:lnTo>
                          <a:lnTo>
                            <a:pt x="1197" y="934"/>
                          </a:lnTo>
                          <a:lnTo>
                            <a:pt x="1170" y="956"/>
                          </a:lnTo>
                          <a:lnTo>
                            <a:pt x="1170" y="943"/>
                          </a:lnTo>
                          <a:lnTo>
                            <a:pt x="1184" y="938"/>
                          </a:lnTo>
                          <a:lnTo>
                            <a:pt x="1193" y="929"/>
                          </a:lnTo>
                          <a:lnTo>
                            <a:pt x="1197" y="925"/>
                          </a:lnTo>
                          <a:lnTo>
                            <a:pt x="1197" y="916"/>
                          </a:lnTo>
                          <a:lnTo>
                            <a:pt x="1184" y="925"/>
                          </a:lnTo>
                          <a:lnTo>
                            <a:pt x="1184" y="912"/>
                          </a:lnTo>
                          <a:lnTo>
                            <a:pt x="1161" y="912"/>
                          </a:lnTo>
                          <a:lnTo>
                            <a:pt x="1161" y="894"/>
                          </a:lnTo>
                          <a:lnTo>
                            <a:pt x="1139" y="885"/>
                          </a:lnTo>
                          <a:lnTo>
                            <a:pt x="1135" y="871"/>
                          </a:lnTo>
                          <a:lnTo>
                            <a:pt x="1148" y="871"/>
                          </a:lnTo>
                          <a:lnTo>
                            <a:pt x="1135" y="840"/>
                          </a:lnTo>
                          <a:lnTo>
                            <a:pt x="1126" y="836"/>
                          </a:lnTo>
                          <a:lnTo>
                            <a:pt x="1130" y="827"/>
                          </a:lnTo>
                          <a:lnTo>
                            <a:pt x="1117" y="822"/>
                          </a:lnTo>
                          <a:lnTo>
                            <a:pt x="1121" y="818"/>
                          </a:lnTo>
                          <a:lnTo>
                            <a:pt x="1094" y="769"/>
                          </a:lnTo>
                          <a:lnTo>
                            <a:pt x="1090" y="791"/>
                          </a:lnTo>
                          <a:lnTo>
                            <a:pt x="1081" y="809"/>
                          </a:lnTo>
                          <a:lnTo>
                            <a:pt x="1077" y="809"/>
                          </a:lnTo>
                          <a:lnTo>
                            <a:pt x="1059" y="831"/>
                          </a:lnTo>
                          <a:lnTo>
                            <a:pt x="1045" y="809"/>
                          </a:lnTo>
                          <a:lnTo>
                            <a:pt x="1027" y="813"/>
                          </a:lnTo>
                          <a:lnTo>
                            <a:pt x="1032" y="804"/>
                          </a:lnTo>
                          <a:lnTo>
                            <a:pt x="1027" y="800"/>
                          </a:lnTo>
                          <a:lnTo>
                            <a:pt x="1027" y="777"/>
                          </a:lnTo>
                          <a:lnTo>
                            <a:pt x="1023" y="764"/>
                          </a:lnTo>
                          <a:lnTo>
                            <a:pt x="1032" y="760"/>
                          </a:lnTo>
                          <a:lnTo>
                            <a:pt x="1027" y="751"/>
                          </a:lnTo>
                          <a:lnTo>
                            <a:pt x="1018" y="755"/>
                          </a:lnTo>
                          <a:lnTo>
                            <a:pt x="1001" y="746"/>
                          </a:lnTo>
                          <a:lnTo>
                            <a:pt x="987" y="715"/>
                          </a:lnTo>
                          <a:lnTo>
                            <a:pt x="969" y="702"/>
                          </a:lnTo>
                          <a:lnTo>
                            <a:pt x="956" y="710"/>
                          </a:lnTo>
                          <a:lnTo>
                            <a:pt x="911" y="697"/>
                          </a:lnTo>
                          <a:lnTo>
                            <a:pt x="902" y="706"/>
                          </a:lnTo>
                          <a:lnTo>
                            <a:pt x="902" y="719"/>
                          </a:lnTo>
                          <a:lnTo>
                            <a:pt x="907" y="733"/>
                          </a:lnTo>
                          <a:lnTo>
                            <a:pt x="902" y="760"/>
                          </a:lnTo>
                          <a:lnTo>
                            <a:pt x="907" y="760"/>
                          </a:lnTo>
                          <a:lnTo>
                            <a:pt x="911" y="782"/>
                          </a:lnTo>
                          <a:lnTo>
                            <a:pt x="920" y="782"/>
                          </a:lnTo>
                          <a:lnTo>
                            <a:pt x="898" y="809"/>
                          </a:lnTo>
                          <a:lnTo>
                            <a:pt x="898" y="818"/>
                          </a:lnTo>
                          <a:lnTo>
                            <a:pt x="902" y="822"/>
                          </a:lnTo>
                          <a:lnTo>
                            <a:pt x="925" y="849"/>
                          </a:lnTo>
                          <a:lnTo>
                            <a:pt x="929" y="880"/>
                          </a:lnTo>
                          <a:lnTo>
                            <a:pt x="902" y="912"/>
                          </a:lnTo>
                          <a:lnTo>
                            <a:pt x="880" y="920"/>
                          </a:lnTo>
                          <a:lnTo>
                            <a:pt x="898" y="938"/>
                          </a:lnTo>
                          <a:lnTo>
                            <a:pt x="893" y="961"/>
                          </a:lnTo>
                          <a:lnTo>
                            <a:pt x="902" y="979"/>
                          </a:lnTo>
                          <a:lnTo>
                            <a:pt x="898" y="988"/>
                          </a:lnTo>
                          <a:lnTo>
                            <a:pt x="902" y="1001"/>
                          </a:lnTo>
                          <a:lnTo>
                            <a:pt x="898" y="1005"/>
                          </a:lnTo>
                          <a:lnTo>
                            <a:pt x="889" y="996"/>
                          </a:lnTo>
                          <a:lnTo>
                            <a:pt x="880" y="1010"/>
                          </a:lnTo>
                          <a:lnTo>
                            <a:pt x="862" y="988"/>
                          </a:lnTo>
                          <a:lnTo>
                            <a:pt x="853" y="983"/>
                          </a:lnTo>
                          <a:lnTo>
                            <a:pt x="858" y="979"/>
                          </a:lnTo>
                          <a:lnTo>
                            <a:pt x="844" y="961"/>
                          </a:lnTo>
                          <a:lnTo>
                            <a:pt x="849" y="947"/>
                          </a:lnTo>
                          <a:lnTo>
                            <a:pt x="844" y="934"/>
                          </a:lnTo>
                          <a:lnTo>
                            <a:pt x="849" y="912"/>
                          </a:lnTo>
                          <a:lnTo>
                            <a:pt x="809" y="907"/>
                          </a:lnTo>
                          <a:lnTo>
                            <a:pt x="773" y="885"/>
                          </a:lnTo>
                          <a:lnTo>
                            <a:pt x="755" y="867"/>
                          </a:lnTo>
                          <a:lnTo>
                            <a:pt x="728" y="853"/>
                          </a:lnTo>
                          <a:lnTo>
                            <a:pt x="706" y="867"/>
                          </a:lnTo>
                          <a:lnTo>
                            <a:pt x="692" y="813"/>
                          </a:lnTo>
                          <a:lnTo>
                            <a:pt x="675" y="818"/>
                          </a:lnTo>
                          <a:lnTo>
                            <a:pt x="666" y="809"/>
                          </a:lnTo>
                          <a:lnTo>
                            <a:pt x="670" y="773"/>
                          </a:lnTo>
                          <a:lnTo>
                            <a:pt x="688" y="724"/>
                          </a:lnTo>
                          <a:lnTo>
                            <a:pt x="706" y="706"/>
                          </a:lnTo>
                          <a:lnTo>
                            <a:pt x="706" y="697"/>
                          </a:lnTo>
                          <a:lnTo>
                            <a:pt x="724" y="693"/>
                          </a:lnTo>
                          <a:lnTo>
                            <a:pt x="724" y="675"/>
                          </a:lnTo>
                          <a:lnTo>
                            <a:pt x="652" y="657"/>
                          </a:lnTo>
                          <a:lnTo>
                            <a:pt x="652" y="643"/>
                          </a:lnTo>
                          <a:lnTo>
                            <a:pt x="688" y="657"/>
                          </a:lnTo>
                          <a:lnTo>
                            <a:pt x="724" y="670"/>
                          </a:lnTo>
                          <a:lnTo>
                            <a:pt x="733" y="666"/>
                          </a:lnTo>
                          <a:lnTo>
                            <a:pt x="737" y="652"/>
                          </a:lnTo>
                          <a:lnTo>
                            <a:pt x="755" y="657"/>
                          </a:lnTo>
                          <a:lnTo>
                            <a:pt x="768" y="648"/>
                          </a:lnTo>
                          <a:lnTo>
                            <a:pt x="777" y="612"/>
                          </a:lnTo>
                          <a:lnTo>
                            <a:pt x="755" y="612"/>
                          </a:lnTo>
                          <a:lnTo>
                            <a:pt x="742" y="590"/>
                          </a:lnTo>
                          <a:lnTo>
                            <a:pt x="768" y="608"/>
                          </a:lnTo>
                          <a:lnTo>
                            <a:pt x="782" y="608"/>
                          </a:lnTo>
                          <a:lnTo>
                            <a:pt x="795" y="585"/>
                          </a:lnTo>
                          <a:lnTo>
                            <a:pt x="782" y="581"/>
                          </a:lnTo>
                          <a:lnTo>
                            <a:pt x="782" y="572"/>
                          </a:lnTo>
                          <a:lnTo>
                            <a:pt x="804" y="567"/>
                          </a:lnTo>
                          <a:lnTo>
                            <a:pt x="804" y="581"/>
                          </a:lnTo>
                          <a:lnTo>
                            <a:pt x="813" y="585"/>
                          </a:lnTo>
                          <a:lnTo>
                            <a:pt x="809" y="590"/>
                          </a:lnTo>
                          <a:lnTo>
                            <a:pt x="813" y="603"/>
                          </a:lnTo>
                          <a:lnTo>
                            <a:pt x="813" y="590"/>
                          </a:lnTo>
                          <a:lnTo>
                            <a:pt x="817" y="585"/>
                          </a:lnTo>
                          <a:lnTo>
                            <a:pt x="826" y="603"/>
                          </a:lnTo>
                          <a:lnTo>
                            <a:pt x="831" y="603"/>
                          </a:lnTo>
                          <a:lnTo>
                            <a:pt x="826" y="590"/>
                          </a:lnTo>
                          <a:lnTo>
                            <a:pt x="817" y="581"/>
                          </a:lnTo>
                          <a:lnTo>
                            <a:pt x="822" y="581"/>
                          </a:lnTo>
                          <a:lnTo>
                            <a:pt x="822" y="567"/>
                          </a:lnTo>
                          <a:lnTo>
                            <a:pt x="822" y="563"/>
                          </a:lnTo>
                          <a:lnTo>
                            <a:pt x="831" y="581"/>
                          </a:lnTo>
                          <a:lnTo>
                            <a:pt x="853" y="563"/>
                          </a:lnTo>
                          <a:lnTo>
                            <a:pt x="853" y="554"/>
                          </a:lnTo>
                          <a:lnTo>
                            <a:pt x="867" y="545"/>
                          </a:lnTo>
                          <a:lnTo>
                            <a:pt x="867" y="527"/>
                          </a:lnTo>
                          <a:lnTo>
                            <a:pt x="858" y="514"/>
                          </a:lnTo>
                          <a:lnTo>
                            <a:pt x="849" y="491"/>
                          </a:lnTo>
                          <a:lnTo>
                            <a:pt x="858" y="491"/>
                          </a:lnTo>
                          <a:lnTo>
                            <a:pt x="867" y="478"/>
                          </a:lnTo>
                          <a:lnTo>
                            <a:pt x="858" y="474"/>
                          </a:lnTo>
                          <a:lnTo>
                            <a:pt x="867" y="469"/>
                          </a:lnTo>
                          <a:lnTo>
                            <a:pt x="867" y="460"/>
                          </a:lnTo>
                          <a:lnTo>
                            <a:pt x="849" y="442"/>
                          </a:lnTo>
                          <a:lnTo>
                            <a:pt x="826" y="442"/>
                          </a:lnTo>
                          <a:lnTo>
                            <a:pt x="817" y="438"/>
                          </a:lnTo>
                          <a:lnTo>
                            <a:pt x="804" y="438"/>
                          </a:lnTo>
                          <a:lnTo>
                            <a:pt x="804" y="460"/>
                          </a:lnTo>
                          <a:lnTo>
                            <a:pt x="809" y="465"/>
                          </a:lnTo>
                          <a:lnTo>
                            <a:pt x="804" y="474"/>
                          </a:lnTo>
                          <a:lnTo>
                            <a:pt x="795" y="478"/>
                          </a:lnTo>
                          <a:lnTo>
                            <a:pt x="795" y="505"/>
                          </a:lnTo>
                          <a:lnTo>
                            <a:pt x="786" y="518"/>
                          </a:lnTo>
                          <a:lnTo>
                            <a:pt x="773" y="536"/>
                          </a:lnTo>
                          <a:lnTo>
                            <a:pt x="759" y="496"/>
                          </a:lnTo>
                          <a:lnTo>
                            <a:pt x="764" y="478"/>
                          </a:lnTo>
                          <a:lnTo>
                            <a:pt x="764" y="460"/>
                          </a:lnTo>
                          <a:lnTo>
                            <a:pt x="750" y="447"/>
                          </a:lnTo>
                          <a:lnTo>
                            <a:pt x="746" y="447"/>
                          </a:lnTo>
                          <a:lnTo>
                            <a:pt x="737" y="496"/>
                          </a:lnTo>
                          <a:lnTo>
                            <a:pt x="728" y="496"/>
                          </a:lnTo>
                          <a:lnTo>
                            <a:pt x="728" y="469"/>
                          </a:lnTo>
                          <a:lnTo>
                            <a:pt x="719" y="456"/>
                          </a:lnTo>
                          <a:lnTo>
                            <a:pt x="728" y="456"/>
                          </a:lnTo>
                          <a:lnTo>
                            <a:pt x="733" y="451"/>
                          </a:lnTo>
                          <a:lnTo>
                            <a:pt x="719" y="442"/>
                          </a:lnTo>
                          <a:lnTo>
                            <a:pt x="710" y="451"/>
                          </a:lnTo>
                          <a:lnTo>
                            <a:pt x="701" y="442"/>
                          </a:lnTo>
                          <a:lnTo>
                            <a:pt x="706" y="429"/>
                          </a:lnTo>
                          <a:lnTo>
                            <a:pt x="701" y="420"/>
                          </a:lnTo>
                          <a:lnTo>
                            <a:pt x="715" y="420"/>
                          </a:lnTo>
                          <a:lnTo>
                            <a:pt x="706" y="393"/>
                          </a:lnTo>
                          <a:lnTo>
                            <a:pt x="692" y="389"/>
                          </a:lnTo>
                          <a:lnTo>
                            <a:pt x="692" y="366"/>
                          </a:lnTo>
                          <a:lnTo>
                            <a:pt x="679" y="348"/>
                          </a:lnTo>
                          <a:lnTo>
                            <a:pt x="661" y="344"/>
                          </a:lnTo>
                          <a:lnTo>
                            <a:pt x="652" y="348"/>
                          </a:lnTo>
                          <a:lnTo>
                            <a:pt x="661" y="357"/>
                          </a:lnTo>
                          <a:lnTo>
                            <a:pt x="652" y="362"/>
                          </a:lnTo>
                          <a:lnTo>
                            <a:pt x="643" y="389"/>
                          </a:lnTo>
                          <a:lnTo>
                            <a:pt x="657" y="393"/>
                          </a:lnTo>
                          <a:lnTo>
                            <a:pt x="643" y="407"/>
                          </a:lnTo>
                          <a:lnTo>
                            <a:pt x="643" y="424"/>
                          </a:lnTo>
                          <a:lnTo>
                            <a:pt x="652" y="442"/>
                          </a:lnTo>
                          <a:lnTo>
                            <a:pt x="688" y="451"/>
                          </a:lnTo>
                          <a:lnTo>
                            <a:pt x="675" y="460"/>
                          </a:lnTo>
                          <a:lnTo>
                            <a:pt x="670" y="478"/>
                          </a:lnTo>
                          <a:lnTo>
                            <a:pt x="683" y="469"/>
                          </a:lnTo>
                          <a:lnTo>
                            <a:pt x="683" y="487"/>
                          </a:lnTo>
                          <a:lnTo>
                            <a:pt x="670" y="505"/>
                          </a:lnTo>
                          <a:lnTo>
                            <a:pt x="661" y="505"/>
                          </a:lnTo>
                          <a:lnTo>
                            <a:pt x="657" y="518"/>
                          </a:lnTo>
                          <a:lnTo>
                            <a:pt x="666" y="527"/>
                          </a:lnTo>
                          <a:lnTo>
                            <a:pt x="657" y="536"/>
                          </a:lnTo>
                          <a:lnTo>
                            <a:pt x="648" y="527"/>
                          </a:lnTo>
                          <a:lnTo>
                            <a:pt x="652" y="496"/>
                          </a:lnTo>
                          <a:lnTo>
                            <a:pt x="643" y="509"/>
                          </a:lnTo>
                          <a:lnTo>
                            <a:pt x="639" y="491"/>
                          </a:lnTo>
                          <a:lnTo>
                            <a:pt x="625" y="487"/>
                          </a:lnTo>
                          <a:lnTo>
                            <a:pt x="616" y="500"/>
                          </a:lnTo>
                          <a:lnTo>
                            <a:pt x="616" y="509"/>
                          </a:lnTo>
                          <a:lnTo>
                            <a:pt x="603" y="514"/>
                          </a:lnTo>
                          <a:lnTo>
                            <a:pt x="567" y="514"/>
                          </a:lnTo>
                          <a:lnTo>
                            <a:pt x="549" y="505"/>
                          </a:lnTo>
                          <a:lnTo>
                            <a:pt x="536" y="509"/>
                          </a:lnTo>
                          <a:lnTo>
                            <a:pt x="518" y="496"/>
                          </a:lnTo>
                          <a:lnTo>
                            <a:pt x="518" y="478"/>
                          </a:lnTo>
                          <a:lnTo>
                            <a:pt x="509" y="469"/>
                          </a:lnTo>
                          <a:lnTo>
                            <a:pt x="491" y="483"/>
                          </a:lnTo>
                          <a:lnTo>
                            <a:pt x="474" y="483"/>
                          </a:lnTo>
                          <a:lnTo>
                            <a:pt x="469" y="500"/>
                          </a:lnTo>
                          <a:lnTo>
                            <a:pt x="478" y="500"/>
                          </a:lnTo>
                          <a:lnTo>
                            <a:pt x="509" y="487"/>
                          </a:lnTo>
                          <a:lnTo>
                            <a:pt x="514" y="496"/>
                          </a:lnTo>
                          <a:lnTo>
                            <a:pt x="482" y="523"/>
                          </a:lnTo>
                          <a:lnTo>
                            <a:pt x="482" y="554"/>
                          </a:lnTo>
                          <a:lnTo>
                            <a:pt x="474" y="559"/>
                          </a:lnTo>
                          <a:lnTo>
                            <a:pt x="478" y="541"/>
                          </a:lnTo>
                          <a:lnTo>
                            <a:pt x="465" y="532"/>
                          </a:lnTo>
                          <a:lnTo>
                            <a:pt x="465" y="523"/>
                          </a:lnTo>
                          <a:lnTo>
                            <a:pt x="447" y="514"/>
                          </a:lnTo>
                          <a:lnTo>
                            <a:pt x="407" y="532"/>
                          </a:lnTo>
                          <a:lnTo>
                            <a:pt x="371" y="527"/>
                          </a:lnTo>
                          <a:lnTo>
                            <a:pt x="375" y="505"/>
                          </a:lnTo>
                          <a:lnTo>
                            <a:pt x="389" y="505"/>
                          </a:lnTo>
                          <a:lnTo>
                            <a:pt x="393" y="496"/>
                          </a:lnTo>
                          <a:lnTo>
                            <a:pt x="380" y="469"/>
                          </a:lnTo>
                          <a:lnTo>
                            <a:pt x="353" y="460"/>
                          </a:lnTo>
                          <a:lnTo>
                            <a:pt x="357" y="474"/>
                          </a:lnTo>
                          <a:lnTo>
                            <a:pt x="340" y="460"/>
                          </a:lnTo>
                          <a:lnTo>
                            <a:pt x="304" y="451"/>
                          </a:lnTo>
                          <a:lnTo>
                            <a:pt x="259" y="433"/>
                          </a:lnTo>
                          <a:lnTo>
                            <a:pt x="255" y="447"/>
                          </a:lnTo>
                          <a:lnTo>
                            <a:pt x="241" y="451"/>
                          </a:lnTo>
                          <a:lnTo>
                            <a:pt x="241" y="424"/>
                          </a:lnTo>
                          <a:lnTo>
                            <a:pt x="237" y="424"/>
                          </a:lnTo>
                          <a:lnTo>
                            <a:pt x="237" y="447"/>
                          </a:lnTo>
                          <a:lnTo>
                            <a:pt x="228" y="442"/>
                          </a:lnTo>
                          <a:lnTo>
                            <a:pt x="197" y="393"/>
                          </a:lnTo>
                          <a:lnTo>
                            <a:pt x="188" y="402"/>
                          </a:lnTo>
                          <a:lnTo>
                            <a:pt x="192" y="429"/>
                          </a:lnTo>
                          <a:lnTo>
                            <a:pt x="130" y="460"/>
                          </a:lnTo>
                          <a:lnTo>
                            <a:pt x="130" y="451"/>
                          </a:lnTo>
                          <a:lnTo>
                            <a:pt x="165" y="433"/>
                          </a:lnTo>
                          <a:lnTo>
                            <a:pt x="170" y="420"/>
                          </a:lnTo>
                          <a:lnTo>
                            <a:pt x="147" y="424"/>
                          </a:lnTo>
                          <a:lnTo>
                            <a:pt x="139" y="438"/>
                          </a:lnTo>
                          <a:lnTo>
                            <a:pt x="134" y="429"/>
                          </a:lnTo>
                          <a:lnTo>
                            <a:pt x="103" y="451"/>
                          </a:lnTo>
                          <a:lnTo>
                            <a:pt x="98" y="433"/>
                          </a:lnTo>
                          <a:lnTo>
                            <a:pt x="71" y="460"/>
                          </a:lnTo>
                          <a:lnTo>
                            <a:pt x="31" y="447"/>
                          </a:lnTo>
                          <a:lnTo>
                            <a:pt x="0" y="442"/>
                          </a:lnTo>
                          <a:close/>
                          <a:moveTo>
                            <a:pt x="121" y="938"/>
                          </a:moveTo>
                          <a:lnTo>
                            <a:pt x="121" y="956"/>
                          </a:lnTo>
                          <a:lnTo>
                            <a:pt x="130" y="974"/>
                          </a:lnTo>
                          <a:lnTo>
                            <a:pt x="143" y="988"/>
                          </a:lnTo>
                          <a:lnTo>
                            <a:pt x="134" y="970"/>
                          </a:lnTo>
                          <a:lnTo>
                            <a:pt x="139" y="965"/>
                          </a:lnTo>
                          <a:lnTo>
                            <a:pt x="134" y="952"/>
                          </a:lnTo>
                          <a:lnTo>
                            <a:pt x="139" y="943"/>
                          </a:lnTo>
                          <a:lnTo>
                            <a:pt x="121" y="938"/>
                          </a:lnTo>
                          <a:close/>
                          <a:moveTo>
                            <a:pt x="183" y="1019"/>
                          </a:moveTo>
                          <a:lnTo>
                            <a:pt x="192" y="1028"/>
                          </a:lnTo>
                          <a:lnTo>
                            <a:pt x="197" y="1041"/>
                          </a:lnTo>
                          <a:lnTo>
                            <a:pt x="201" y="1037"/>
                          </a:lnTo>
                          <a:lnTo>
                            <a:pt x="210" y="1046"/>
                          </a:lnTo>
                          <a:lnTo>
                            <a:pt x="232" y="1063"/>
                          </a:lnTo>
                          <a:lnTo>
                            <a:pt x="259" y="1072"/>
                          </a:lnTo>
                          <a:lnTo>
                            <a:pt x="259" y="1068"/>
                          </a:lnTo>
                          <a:lnTo>
                            <a:pt x="246" y="1055"/>
                          </a:lnTo>
                          <a:lnTo>
                            <a:pt x="232" y="1041"/>
                          </a:lnTo>
                          <a:lnTo>
                            <a:pt x="228" y="1032"/>
                          </a:lnTo>
                          <a:lnTo>
                            <a:pt x="197" y="1019"/>
                          </a:lnTo>
                          <a:lnTo>
                            <a:pt x="183" y="1019"/>
                          </a:lnTo>
                          <a:close/>
                          <a:moveTo>
                            <a:pt x="241" y="223"/>
                          </a:moveTo>
                          <a:lnTo>
                            <a:pt x="250" y="228"/>
                          </a:lnTo>
                          <a:lnTo>
                            <a:pt x="259" y="246"/>
                          </a:lnTo>
                          <a:lnTo>
                            <a:pt x="241" y="281"/>
                          </a:lnTo>
                          <a:lnTo>
                            <a:pt x="250" y="290"/>
                          </a:lnTo>
                          <a:lnTo>
                            <a:pt x="237" y="290"/>
                          </a:lnTo>
                          <a:lnTo>
                            <a:pt x="228" y="331"/>
                          </a:lnTo>
                          <a:lnTo>
                            <a:pt x="237" y="331"/>
                          </a:lnTo>
                          <a:lnTo>
                            <a:pt x="255" y="344"/>
                          </a:lnTo>
                          <a:lnTo>
                            <a:pt x="255" y="366"/>
                          </a:lnTo>
                          <a:lnTo>
                            <a:pt x="264" y="375"/>
                          </a:lnTo>
                          <a:lnTo>
                            <a:pt x="273" y="371"/>
                          </a:lnTo>
                          <a:lnTo>
                            <a:pt x="281" y="353"/>
                          </a:lnTo>
                          <a:lnTo>
                            <a:pt x="290" y="362"/>
                          </a:lnTo>
                          <a:lnTo>
                            <a:pt x="304" y="348"/>
                          </a:lnTo>
                          <a:lnTo>
                            <a:pt x="304" y="322"/>
                          </a:lnTo>
                          <a:lnTo>
                            <a:pt x="313" y="313"/>
                          </a:lnTo>
                          <a:lnTo>
                            <a:pt x="308" y="304"/>
                          </a:lnTo>
                          <a:lnTo>
                            <a:pt x="313" y="290"/>
                          </a:lnTo>
                          <a:lnTo>
                            <a:pt x="335" y="277"/>
                          </a:lnTo>
                          <a:lnTo>
                            <a:pt x="353" y="268"/>
                          </a:lnTo>
                          <a:lnTo>
                            <a:pt x="371" y="255"/>
                          </a:lnTo>
                          <a:lnTo>
                            <a:pt x="348" y="232"/>
                          </a:lnTo>
                          <a:lnTo>
                            <a:pt x="340" y="210"/>
                          </a:lnTo>
                          <a:lnTo>
                            <a:pt x="322" y="214"/>
                          </a:lnTo>
                          <a:lnTo>
                            <a:pt x="317" y="219"/>
                          </a:lnTo>
                          <a:lnTo>
                            <a:pt x="290" y="205"/>
                          </a:lnTo>
                          <a:lnTo>
                            <a:pt x="241" y="223"/>
                          </a:lnTo>
                          <a:close/>
                          <a:moveTo>
                            <a:pt x="259" y="89"/>
                          </a:moveTo>
                          <a:lnTo>
                            <a:pt x="264" y="98"/>
                          </a:lnTo>
                          <a:lnTo>
                            <a:pt x="281" y="98"/>
                          </a:lnTo>
                          <a:lnTo>
                            <a:pt x="286" y="89"/>
                          </a:lnTo>
                          <a:lnTo>
                            <a:pt x="295" y="112"/>
                          </a:lnTo>
                          <a:lnTo>
                            <a:pt x="308" y="98"/>
                          </a:lnTo>
                          <a:lnTo>
                            <a:pt x="308" y="80"/>
                          </a:lnTo>
                          <a:lnTo>
                            <a:pt x="313" y="94"/>
                          </a:lnTo>
                          <a:lnTo>
                            <a:pt x="322" y="76"/>
                          </a:lnTo>
                          <a:lnTo>
                            <a:pt x="322" y="49"/>
                          </a:lnTo>
                          <a:lnTo>
                            <a:pt x="335" y="45"/>
                          </a:lnTo>
                          <a:lnTo>
                            <a:pt x="335" y="71"/>
                          </a:lnTo>
                          <a:lnTo>
                            <a:pt x="344" y="89"/>
                          </a:lnTo>
                          <a:lnTo>
                            <a:pt x="348" y="80"/>
                          </a:lnTo>
                          <a:lnTo>
                            <a:pt x="348" y="67"/>
                          </a:lnTo>
                          <a:lnTo>
                            <a:pt x="362" y="71"/>
                          </a:lnTo>
                          <a:lnTo>
                            <a:pt x="366" y="49"/>
                          </a:lnTo>
                          <a:lnTo>
                            <a:pt x="362" y="36"/>
                          </a:lnTo>
                          <a:lnTo>
                            <a:pt x="371" y="27"/>
                          </a:lnTo>
                          <a:lnTo>
                            <a:pt x="357" y="9"/>
                          </a:lnTo>
                          <a:lnTo>
                            <a:pt x="353" y="9"/>
                          </a:lnTo>
                          <a:lnTo>
                            <a:pt x="348" y="22"/>
                          </a:lnTo>
                          <a:lnTo>
                            <a:pt x="317" y="18"/>
                          </a:lnTo>
                          <a:lnTo>
                            <a:pt x="299" y="49"/>
                          </a:lnTo>
                          <a:lnTo>
                            <a:pt x="286" y="54"/>
                          </a:lnTo>
                          <a:lnTo>
                            <a:pt x="286" y="67"/>
                          </a:lnTo>
                          <a:lnTo>
                            <a:pt x="264" y="76"/>
                          </a:lnTo>
                          <a:lnTo>
                            <a:pt x="259" y="89"/>
                          </a:lnTo>
                          <a:close/>
                          <a:moveTo>
                            <a:pt x="322" y="362"/>
                          </a:moveTo>
                          <a:lnTo>
                            <a:pt x="335" y="353"/>
                          </a:lnTo>
                          <a:lnTo>
                            <a:pt x="362" y="348"/>
                          </a:lnTo>
                          <a:lnTo>
                            <a:pt x="375" y="353"/>
                          </a:lnTo>
                          <a:lnTo>
                            <a:pt x="348" y="362"/>
                          </a:lnTo>
                          <a:lnTo>
                            <a:pt x="326" y="375"/>
                          </a:lnTo>
                          <a:lnTo>
                            <a:pt x="326" y="384"/>
                          </a:lnTo>
                          <a:lnTo>
                            <a:pt x="340" y="393"/>
                          </a:lnTo>
                          <a:lnTo>
                            <a:pt x="375" y="398"/>
                          </a:lnTo>
                          <a:lnTo>
                            <a:pt x="398" y="389"/>
                          </a:lnTo>
                          <a:lnTo>
                            <a:pt x="433" y="398"/>
                          </a:lnTo>
                          <a:lnTo>
                            <a:pt x="438" y="402"/>
                          </a:lnTo>
                          <a:lnTo>
                            <a:pt x="420" y="411"/>
                          </a:lnTo>
                          <a:lnTo>
                            <a:pt x="398" y="407"/>
                          </a:lnTo>
                          <a:lnTo>
                            <a:pt x="353" y="416"/>
                          </a:lnTo>
                          <a:lnTo>
                            <a:pt x="344" y="429"/>
                          </a:lnTo>
                          <a:lnTo>
                            <a:pt x="357" y="451"/>
                          </a:lnTo>
                          <a:lnTo>
                            <a:pt x="402" y="451"/>
                          </a:lnTo>
                          <a:lnTo>
                            <a:pt x="402" y="460"/>
                          </a:lnTo>
                          <a:lnTo>
                            <a:pt x="393" y="469"/>
                          </a:lnTo>
                          <a:lnTo>
                            <a:pt x="393" y="483"/>
                          </a:lnTo>
                          <a:lnTo>
                            <a:pt x="407" y="496"/>
                          </a:lnTo>
                          <a:lnTo>
                            <a:pt x="451" y="491"/>
                          </a:lnTo>
                          <a:lnTo>
                            <a:pt x="474" y="474"/>
                          </a:lnTo>
                          <a:lnTo>
                            <a:pt x="482" y="474"/>
                          </a:lnTo>
                          <a:lnTo>
                            <a:pt x="491" y="465"/>
                          </a:lnTo>
                          <a:lnTo>
                            <a:pt x="496" y="447"/>
                          </a:lnTo>
                          <a:lnTo>
                            <a:pt x="500" y="465"/>
                          </a:lnTo>
                          <a:lnTo>
                            <a:pt x="527" y="460"/>
                          </a:lnTo>
                          <a:lnTo>
                            <a:pt x="518" y="474"/>
                          </a:lnTo>
                          <a:lnTo>
                            <a:pt x="554" y="478"/>
                          </a:lnTo>
                          <a:lnTo>
                            <a:pt x="572" y="465"/>
                          </a:lnTo>
                          <a:lnTo>
                            <a:pt x="563" y="447"/>
                          </a:lnTo>
                          <a:lnTo>
                            <a:pt x="554" y="451"/>
                          </a:lnTo>
                          <a:lnTo>
                            <a:pt x="549" y="442"/>
                          </a:lnTo>
                          <a:lnTo>
                            <a:pt x="567" y="438"/>
                          </a:lnTo>
                          <a:lnTo>
                            <a:pt x="581" y="442"/>
                          </a:lnTo>
                          <a:lnTo>
                            <a:pt x="581" y="420"/>
                          </a:lnTo>
                          <a:lnTo>
                            <a:pt x="558" y="411"/>
                          </a:lnTo>
                          <a:lnTo>
                            <a:pt x="554" y="398"/>
                          </a:lnTo>
                          <a:lnTo>
                            <a:pt x="545" y="407"/>
                          </a:lnTo>
                          <a:lnTo>
                            <a:pt x="527" y="380"/>
                          </a:lnTo>
                          <a:lnTo>
                            <a:pt x="527" y="348"/>
                          </a:lnTo>
                          <a:lnTo>
                            <a:pt x="509" y="281"/>
                          </a:lnTo>
                          <a:lnTo>
                            <a:pt x="491" y="264"/>
                          </a:lnTo>
                          <a:lnTo>
                            <a:pt x="491" y="273"/>
                          </a:lnTo>
                          <a:lnTo>
                            <a:pt x="478" y="268"/>
                          </a:lnTo>
                          <a:lnTo>
                            <a:pt x="478" y="281"/>
                          </a:lnTo>
                          <a:lnTo>
                            <a:pt x="487" y="344"/>
                          </a:lnTo>
                          <a:lnTo>
                            <a:pt x="478" y="353"/>
                          </a:lnTo>
                          <a:lnTo>
                            <a:pt x="474" y="344"/>
                          </a:lnTo>
                          <a:lnTo>
                            <a:pt x="469" y="304"/>
                          </a:lnTo>
                          <a:lnTo>
                            <a:pt x="456" y="286"/>
                          </a:lnTo>
                          <a:lnTo>
                            <a:pt x="442" y="286"/>
                          </a:lnTo>
                          <a:lnTo>
                            <a:pt x="447" y="299"/>
                          </a:lnTo>
                          <a:lnTo>
                            <a:pt x="451" y="299"/>
                          </a:lnTo>
                          <a:lnTo>
                            <a:pt x="451" y="322"/>
                          </a:lnTo>
                          <a:lnTo>
                            <a:pt x="433" y="322"/>
                          </a:lnTo>
                          <a:lnTo>
                            <a:pt x="424" y="326"/>
                          </a:lnTo>
                          <a:lnTo>
                            <a:pt x="438" y="299"/>
                          </a:lnTo>
                          <a:lnTo>
                            <a:pt x="424" y="286"/>
                          </a:lnTo>
                          <a:lnTo>
                            <a:pt x="402" y="277"/>
                          </a:lnTo>
                          <a:lnTo>
                            <a:pt x="398" y="304"/>
                          </a:lnTo>
                          <a:lnTo>
                            <a:pt x="384" y="313"/>
                          </a:lnTo>
                          <a:lnTo>
                            <a:pt x="389" y="295"/>
                          </a:lnTo>
                          <a:lnTo>
                            <a:pt x="389" y="259"/>
                          </a:lnTo>
                          <a:lnTo>
                            <a:pt x="380" y="259"/>
                          </a:lnTo>
                          <a:lnTo>
                            <a:pt x="322" y="295"/>
                          </a:lnTo>
                          <a:lnTo>
                            <a:pt x="322" y="304"/>
                          </a:lnTo>
                          <a:lnTo>
                            <a:pt x="322" y="313"/>
                          </a:lnTo>
                          <a:lnTo>
                            <a:pt x="335" y="308"/>
                          </a:lnTo>
                          <a:lnTo>
                            <a:pt x="331" y="317"/>
                          </a:lnTo>
                          <a:lnTo>
                            <a:pt x="317" y="322"/>
                          </a:lnTo>
                          <a:lnTo>
                            <a:pt x="308" y="340"/>
                          </a:lnTo>
                          <a:lnTo>
                            <a:pt x="308" y="348"/>
                          </a:lnTo>
                          <a:lnTo>
                            <a:pt x="317" y="340"/>
                          </a:lnTo>
                          <a:lnTo>
                            <a:pt x="326" y="344"/>
                          </a:lnTo>
                          <a:lnTo>
                            <a:pt x="322" y="353"/>
                          </a:lnTo>
                          <a:lnTo>
                            <a:pt x="322" y="362"/>
                          </a:lnTo>
                          <a:close/>
                          <a:moveTo>
                            <a:pt x="322" y="550"/>
                          </a:moveTo>
                          <a:lnTo>
                            <a:pt x="299" y="572"/>
                          </a:lnTo>
                          <a:lnTo>
                            <a:pt x="322" y="581"/>
                          </a:lnTo>
                          <a:lnTo>
                            <a:pt x="344" y="572"/>
                          </a:lnTo>
                          <a:lnTo>
                            <a:pt x="348" y="576"/>
                          </a:lnTo>
                          <a:lnTo>
                            <a:pt x="344" y="594"/>
                          </a:lnTo>
                          <a:lnTo>
                            <a:pt x="322" y="599"/>
                          </a:lnTo>
                          <a:lnTo>
                            <a:pt x="322" y="590"/>
                          </a:lnTo>
                          <a:lnTo>
                            <a:pt x="313" y="590"/>
                          </a:lnTo>
                          <a:lnTo>
                            <a:pt x="308" y="599"/>
                          </a:lnTo>
                          <a:lnTo>
                            <a:pt x="313" y="608"/>
                          </a:lnTo>
                          <a:lnTo>
                            <a:pt x="308" y="612"/>
                          </a:lnTo>
                          <a:lnTo>
                            <a:pt x="295" y="630"/>
                          </a:lnTo>
                          <a:lnTo>
                            <a:pt x="290" y="626"/>
                          </a:lnTo>
                          <a:lnTo>
                            <a:pt x="299" y="603"/>
                          </a:lnTo>
                          <a:lnTo>
                            <a:pt x="295" y="599"/>
                          </a:lnTo>
                          <a:lnTo>
                            <a:pt x="281" y="626"/>
                          </a:lnTo>
                          <a:lnTo>
                            <a:pt x="255" y="617"/>
                          </a:lnTo>
                          <a:lnTo>
                            <a:pt x="268" y="612"/>
                          </a:lnTo>
                          <a:lnTo>
                            <a:pt x="273" y="599"/>
                          </a:lnTo>
                          <a:lnTo>
                            <a:pt x="268" y="590"/>
                          </a:lnTo>
                          <a:lnTo>
                            <a:pt x="286" y="590"/>
                          </a:lnTo>
                          <a:lnTo>
                            <a:pt x="281" y="581"/>
                          </a:lnTo>
                          <a:lnTo>
                            <a:pt x="241" y="585"/>
                          </a:lnTo>
                          <a:lnTo>
                            <a:pt x="232" y="590"/>
                          </a:lnTo>
                          <a:lnTo>
                            <a:pt x="237" y="576"/>
                          </a:lnTo>
                          <a:lnTo>
                            <a:pt x="246" y="581"/>
                          </a:lnTo>
                          <a:lnTo>
                            <a:pt x="268" y="572"/>
                          </a:lnTo>
                          <a:lnTo>
                            <a:pt x="308" y="545"/>
                          </a:lnTo>
                          <a:lnTo>
                            <a:pt x="322" y="550"/>
                          </a:lnTo>
                          <a:close/>
                          <a:moveTo>
                            <a:pt x="335" y="107"/>
                          </a:moveTo>
                          <a:lnTo>
                            <a:pt x="313" y="143"/>
                          </a:lnTo>
                          <a:lnTo>
                            <a:pt x="313" y="152"/>
                          </a:lnTo>
                          <a:lnTo>
                            <a:pt x="326" y="156"/>
                          </a:lnTo>
                          <a:lnTo>
                            <a:pt x="340" y="107"/>
                          </a:lnTo>
                          <a:lnTo>
                            <a:pt x="335" y="107"/>
                          </a:lnTo>
                          <a:close/>
                          <a:moveTo>
                            <a:pt x="357" y="684"/>
                          </a:moveTo>
                          <a:lnTo>
                            <a:pt x="402" y="715"/>
                          </a:lnTo>
                          <a:lnTo>
                            <a:pt x="415" y="715"/>
                          </a:lnTo>
                          <a:lnTo>
                            <a:pt x="433" y="697"/>
                          </a:lnTo>
                          <a:lnTo>
                            <a:pt x="451" y="693"/>
                          </a:lnTo>
                          <a:lnTo>
                            <a:pt x="451" y="702"/>
                          </a:lnTo>
                          <a:lnTo>
                            <a:pt x="433" y="710"/>
                          </a:lnTo>
                          <a:lnTo>
                            <a:pt x="411" y="737"/>
                          </a:lnTo>
                          <a:lnTo>
                            <a:pt x="402" y="737"/>
                          </a:lnTo>
                          <a:lnTo>
                            <a:pt x="402" y="746"/>
                          </a:lnTo>
                          <a:lnTo>
                            <a:pt x="371" y="755"/>
                          </a:lnTo>
                          <a:lnTo>
                            <a:pt x="348" y="751"/>
                          </a:lnTo>
                          <a:lnTo>
                            <a:pt x="322" y="737"/>
                          </a:lnTo>
                          <a:lnTo>
                            <a:pt x="326" y="733"/>
                          </a:lnTo>
                          <a:lnTo>
                            <a:pt x="348" y="742"/>
                          </a:lnTo>
                          <a:lnTo>
                            <a:pt x="366" y="742"/>
                          </a:lnTo>
                          <a:lnTo>
                            <a:pt x="371" y="724"/>
                          </a:lnTo>
                          <a:lnTo>
                            <a:pt x="384" y="719"/>
                          </a:lnTo>
                          <a:lnTo>
                            <a:pt x="375" y="702"/>
                          </a:lnTo>
                          <a:lnTo>
                            <a:pt x="366" y="706"/>
                          </a:lnTo>
                          <a:lnTo>
                            <a:pt x="357" y="684"/>
                          </a:lnTo>
                          <a:close/>
                          <a:moveTo>
                            <a:pt x="384" y="71"/>
                          </a:moveTo>
                          <a:lnTo>
                            <a:pt x="375" y="76"/>
                          </a:lnTo>
                          <a:lnTo>
                            <a:pt x="362" y="89"/>
                          </a:lnTo>
                          <a:lnTo>
                            <a:pt x="375" y="98"/>
                          </a:lnTo>
                          <a:lnTo>
                            <a:pt x="357" y="98"/>
                          </a:lnTo>
                          <a:lnTo>
                            <a:pt x="353" y="107"/>
                          </a:lnTo>
                          <a:lnTo>
                            <a:pt x="348" y="121"/>
                          </a:lnTo>
                          <a:lnTo>
                            <a:pt x="371" y="121"/>
                          </a:lnTo>
                          <a:lnTo>
                            <a:pt x="348" y="134"/>
                          </a:lnTo>
                          <a:lnTo>
                            <a:pt x="344" y="152"/>
                          </a:lnTo>
                          <a:lnTo>
                            <a:pt x="375" y="147"/>
                          </a:lnTo>
                          <a:lnTo>
                            <a:pt x="357" y="161"/>
                          </a:lnTo>
                          <a:lnTo>
                            <a:pt x="344" y="161"/>
                          </a:lnTo>
                          <a:lnTo>
                            <a:pt x="340" y="174"/>
                          </a:lnTo>
                          <a:lnTo>
                            <a:pt x="357" y="174"/>
                          </a:lnTo>
                          <a:lnTo>
                            <a:pt x="366" y="174"/>
                          </a:lnTo>
                          <a:lnTo>
                            <a:pt x="371" y="183"/>
                          </a:lnTo>
                          <a:lnTo>
                            <a:pt x="380" y="183"/>
                          </a:lnTo>
                          <a:lnTo>
                            <a:pt x="389" y="179"/>
                          </a:lnTo>
                          <a:lnTo>
                            <a:pt x="398" y="156"/>
                          </a:lnTo>
                          <a:lnTo>
                            <a:pt x="407" y="156"/>
                          </a:lnTo>
                          <a:lnTo>
                            <a:pt x="398" y="174"/>
                          </a:lnTo>
                          <a:lnTo>
                            <a:pt x="398" y="179"/>
                          </a:lnTo>
                          <a:lnTo>
                            <a:pt x="411" y="170"/>
                          </a:lnTo>
                          <a:lnTo>
                            <a:pt x="433" y="170"/>
                          </a:lnTo>
                          <a:lnTo>
                            <a:pt x="429" y="179"/>
                          </a:lnTo>
                          <a:lnTo>
                            <a:pt x="407" y="183"/>
                          </a:lnTo>
                          <a:lnTo>
                            <a:pt x="384" y="188"/>
                          </a:lnTo>
                          <a:lnTo>
                            <a:pt x="384" y="197"/>
                          </a:lnTo>
                          <a:lnTo>
                            <a:pt x="389" y="210"/>
                          </a:lnTo>
                          <a:lnTo>
                            <a:pt x="402" y="214"/>
                          </a:lnTo>
                          <a:lnTo>
                            <a:pt x="420" y="210"/>
                          </a:lnTo>
                          <a:lnTo>
                            <a:pt x="433" y="201"/>
                          </a:lnTo>
                          <a:lnTo>
                            <a:pt x="438" y="192"/>
                          </a:lnTo>
                          <a:lnTo>
                            <a:pt x="456" y="192"/>
                          </a:lnTo>
                          <a:lnTo>
                            <a:pt x="460" y="183"/>
                          </a:lnTo>
                          <a:lnTo>
                            <a:pt x="496" y="188"/>
                          </a:lnTo>
                          <a:lnTo>
                            <a:pt x="509" y="174"/>
                          </a:lnTo>
                          <a:lnTo>
                            <a:pt x="509" y="165"/>
                          </a:lnTo>
                          <a:lnTo>
                            <a:pt x="523" y="134"/>
                          </a:lnTo>
                          <a:lnTo>
                            <a:pt x="514" y="116"/>
                          </a:lnTo>
                          <a:lnTo>
                            <a:pt x="505" y="107"/>
                          </a:lnTo>
                          <a:lnTo>
                            <a:pt x="496" y="116"/>
                          </a:lnTo>
                          <a:lnTo>
                            <a:pt x="482" y="121"/>
                          </a:lnTo>
                          <a:lnTo>
                            <a:pt x="482" y="112"/>
                          </a:lnTo>
                          <a:lnTo>
                            <a:pt x="469" y="107"/>
                          </a:lnTo>
                          <a:lnTo>
                            <a:pt x="469" y="89"/>
                          </a:lnTo>
                          <a:lnTo>
                            <a:pt x="465" y="71"/>
                          </a:lnTo>
                          <a:lnTo>
                            <a:pt x="456" y="67"/>
                          </a:lnTo>
                          <a:lnTo>
                            <a:pt x="460" y="58"/>
                          </a:lnTo>
                          <a:lnTo>
                            <a:pt x="456" y="54"/>
                          </a:lnTo>
                          <a:lnTo>
                            <a:pt x="451" y="58"/>
                          </a:lnTo>
                          <a:lnTo>
                            <a:pt x="438" y="76"/>
                          </a:lnTo>
                          <a:lnTo>
                            <a:pt x="456" y="107"/>
                          </a:lnTo>
                          <a:lnTo>
                            <a:pt x="442" y="121"/>
                          </a:lnTo>
                          <a:lnTo>
                            <a:pt x="460" y="143"/>
                          </a:lnTo>
                          <a:lnTo>
                            <a:pt x="456" y="152"/>
                          </a:lnTo>
                          <a:lnTo>
                            <a:pt x="433" y="152"/>
                          </a:lnTo>
                          <a:lnTo>
                            <a:pt x="424" y="134"/>
                          </a:lnTo>
                          <a:lnTo>
                            <a:pt x="407" y="130"/>
                          </a:lnTo>
                          <a:lnTo>
                            <a:pt x="420" y="125"/>
                          </a:lnTo>
                          <a:lnTo>
                            <a:pt x="407" y="89"/>
                          </a:lnTo>
                          <a:lnTo>
                            <a:pt x="393" y="94"/>
                          </a:lnTo>
                          <a:lnTo>
                            <a:pt x="389" y="71"/>
                          </a:lnTo>
                          <a:lnTo>
                            <a:pt x="384" y="71"/>
                          </a:lnTo>
                          <a:close/>
                          <a:moveTo>
                            <a:pt x="500" y="246"/>
                          </a:moveTo>
                          <a:lnTo>
                            <a:pt x="496" y="255"/>
                          </a:lnTo>
                          <a:lnTo>
                            <a:pt x="505" y="264"/>
                          </a:lnTo>
                          <a:lnTo>
                            <a:pt x="518" y="286"/>
                          </a:lnTo>
                          <a:lnTo>
                            <a:pt x="527" y="273"/>
                          </a:lnTo>
                          <a:lnTo>
                            <a:pt x="532" y="259"/>
                          </a:lnTo>
                          <a:lnTo>
                            <a:pt x="523" y="241"/>
                          </a:lnTo>
                          <a:lnTo>
                            <a:pt x="500" y="246"/>
                          </a:lnTo>
                          <a:close/>
                          <a:moveTo>
                            <a:pt x="585" y="183"/>
                          </a:moveTo>
                          <a:lnTo>
                            <a:pt x="616" y="179"/>
                          </a:lnTo>
                          <a:lnTo>
                            <a:pt x="621" y="156"/>
                          </a:lnTo>
                          <a:lnTo>
                            <a:pt x="630" y="161"/>
                          </a:lnTo>
                          <a:lnTo>
                            <a:pt x="625" y="143"/>
                          </a:lnTo>
                          <a:lnTo>
                            <a:pt x="621" y="143"/>
                          </a:lnTo>
                          <a:lnTo>
                            <a:pt x="634" y="112"/>
                          </a:lnTo>
                          <a:lnTo>
                            <a:pt x="630" y="76"/>
                          </a:lnTo>
                          <a:lnTo>
                            <a:pt x="612" y="71"/>
                          </a:lnTo>
                          <a:lnTo>
                            <a:pt x="608" y="85"/>
                          </a:lnTo>
                          <a:lnTo>
                            <a:pt x="599" y="76"/>
                          </a:lnTo>
                          <a:lnTo>
                            <a:pt x="590" y="71"/>
                          </a:lnTo>
                          <a:lnTo>
                            <a:pt x="581" y="80"/>
                          </a:lnTo>
                          <a:lnTo>
                            <a:pt x="590" y="98"/>
                          </a:lnTo>
                          <a:lnTo>
                            <a:pt x="599" y="103"/>
                          </a:lnTo>
                          <a:lnTo>
                            <a:pt x="594" y="107"/>
                          </a:lnTo>
                          <a:lnTo>
                            <a:pt x="594" y="125"/>
                          </a:lnTo>
                          <a:lnTo>
                            <a:pt x="581" y="103"/>
                          </a:lnTo>
                          <a:lnTo>
                            <a:pt x="576" y="89"/>
                          </a:lnTo>
                          <a:lnTo>
                            <a:pt x="563" y="89"/>
                          </a:lnTo>
                          <a:lnTo>
                            <a:pt x="563" y="103"/>
                          </a:lnTo>
                          <a:lnTo>
                            <a:pt x="572" y="103"/>
                          </a:lnTo>
                          <a:lnTo>
                            <a:pt x="567" y="112"/>
                          </a:lnTo>
                          <a:lnTo>
                            <a:pt x="576" y="138"/>
                          </a:lnTo>
                          <a:lnTo>
                            <a:pt x="572" y="143"/>
                          </a:lnTo>
                          <a:lnTo>
                            <a:pt x="563" y="138"/>
                          </a:lnTo>
                          <a:lnTo>
                            <a:pt x="549" y="152"/>
                          </a:lnTo>
                          <a:lnTo>
                            <a:pt x="549" y="161"/>
                          </a:lnTo>
                          <a:lnTo>
                            <a:pt x="576" y="152"/>
                          </a:lnTo>
                          <a:lnTo>
                            <a:pt x="594" y="152"/>
                          </a:lnTo>
                          <a:lnTo>
                            <a:pt x="585" y="161"/>
                          </a:lnTo>
                          <a:lnTo>
                            <a:pt x="585" y="174"/>
                          </a:lnTo>
                          <a:lnTo>
                            <a:pt x="585" y="183"/>
                          </a:lnTo>
                          <a:close/>
                          <a:moveTo>
                            <a:pt x="603" y="246"/>
                          </a:moveTo>
                          <a:lnTo>
                            <a:pt x="594" y="237"/>
                          </a:lnTo>
                          <a:lnTo>
                            <a:pt x="581" y="246"/>
                          </a:lnTo>
                          <a:lnTo>
                            <a:pt x="581" y="255"/>
                          </a:lnTo>
                          <a:lnTo>
                            <a:pt x="572" y="259"/>
                          </a:lnTo>
                          <a:lnTo>
                            <a:pt x="594" y="290"/>
                          </a:lnTo>
                          <a:lnTo>
                            <a:pt x="590" y="295"/>
                          </a:lnTo>
                          <a:lnTo>
                            <a:pt x="567" y="273"/>
                          </a:lnTo>
                          <a:lnTo>
                            <a:pt x="558" y="277"/>
                          </a:lnTo>
                          <a:lnTo>
                            <a:pt x="554" y="290"/>
                          </a:lnTo>
                          <a:lnTo>
                            <a:pt x="567" y="308"/>
                          </a:lnTo>
                          <a:lnTo>
                            <a:pt x="563" y="317"/>
                          </a:lnTo>
                          <a:lnTo>
                            <a:pt x="585" y="317"/>
                          </a:lnTo>
                          <a:lnTo>
                            <a:pt x="603" y="348"/>
                          </a:lnTo>
                          <a:lnTo>
                            <a:pt x="603" y="371"/>
                          </a:lnTo>
                          <a:lnTo>
                            <a:pt x="621" y="371"/>
                          </a:lnTo>
                          <a:lnTo>
                            <a:pt x="625" y="357"/>
                          </a:lnTo>
                          <a:lnTo>
                            <a:pt x="621" y="344"/>
                          </a:lnTo>
                          <a:lnTo>
                            <a:pt x="639" y="340"/>
                          </a:lnTo>
                          <a:lnTo>
                            <a:pt x="639" y="286"/>
                          </a:lnTo>
                          <a:lnTo>
                            <a:pt x="630" y="295"/>
                          </a:lnTo>
                          <a:lnTo>
                            <a:pt x="621" y="277"/>
                          </a:lnTo>
                          <a:lnTo>
                            <a:pt x="634" y="264"/>
                          </a:lnTo>
                          <a:lnTo>
                            <a:pt x="634" y="255"/>
                          </a:lnTo>
                          <a:lnTo>
                            <a:pt x="639" y="246"/>
                          </a:lnTo>
                          <a:lnTo>
                            <a:pt x="639" y="237"/>
                          </a:lnTo>
                          <a:lnTo>
                            <a:pt x="603" y="246"/>
                          </a:lnTo>
                          <a:close/>
                          <a:moveTo>
                            <a:pt x="657" y="241"/>
                          </a:moveTo>
                          <a:lnTo>
                            <a:pt x="666" y="250"/>
                          </a:lnTo>
                          <a:lnTo>
                            <a:pt x="652" y="246"/>
                          </a:lnTo>
                          <a:lnTo>
                            <a:pt x="652" y="273"/>
                          </a:lnTo>
                          <a:lnTo>
                            <a:pt x="652" y="308"/>
                          </a:lnTo>
                          <a:lnTo>
                            <a:pt x="661" y="313"/>
                          </a:lnTo>
                          <a:lnTo>
                            <a:pt x="661" y="340"/>
                          </a:lnTo>
                          <a:lnTo>
                            <a:pt x="675" y="344"/>
                          </a:lnTo>
                          <a:lnTo>
                            <a:pt x="675" y="335"/>
                          </a:lnTo>
                          <a:lnTo>
                            <a:pt x="688" y="322"/>
                          </a:lnTo>
                          <a:lnTo>
                            <a:pt x="683" y="304"/>
                          </a:lnTo>
                          <a:lnTo>
                            <a:pt x="666" y="304"/>
                          </a:lnTo>
                          <a:lnTo>
                            <a:pt x="666" y="295"/>
                          </a:lnTo>
                          <a:lnTo>
                            <a:pt x="688" y="295"/>
                          </a:lnTo>
                          <a:lnTo>
                            <a:pt x="715" y="304"/>
                          </a:lnTo>
                          <a:lnTo>
                            <a:pt x="733" y="250"/>
                          </a:lnTo>
                          <a:lnTo>
                            <a:pt x="719" y="241"/>
                          </a:lnTo>
                          <a:lnTo>
                            <a:pt x="679" y="228"/>
                          </a:lnTo>
                          <a:lnTo>
                            <a:pt x="657" y="241"/>
                          </a:lnTo>
                          <a:close/>
                          <a:moveTo>
                            <a:pt x="666" y="143"/>
                          </a:moveTo>
                          <a:lnTo>
                            <a:pt x="652" y="152"/>
                          </a:lnTo>
                          <a:lnTo>
                            <a:pt x="643" y="170"/>
                          </a:lnTo>
                          <a:lnTo>
                            <a:pt x="643" y="179"/>
                          </a:lnTo>
                          <a:lnTo>
                            <a:pt x="657" y="179"/>
                          </a:lnTo>
                          <a:lnTo>
                            <a:pt x="683" y="197"/>
                          </a:lnTo>
                          <a:lnTo>
                            <a:pt x="688" y="192"/>
                          </a:lnTo>
                          <a:lnTo>
                            <a:pt x="683" y="161"/>
                          </a:lnTo>
                          <a:lnTo>
                            <a:pt x="666" y="143"/>
                          </a:lnTo>
                          <a:close/>
                          <a:moveTo>
                            <a:pt x="697" y="76"/>
                          </a:moveTo>
                          <a:lnTo>
                            <a:pt x="688" y="89"/>
                          </a:lnTo>
                          <a:lnTo>
                            <a:pt x="692" y="71"/>
                          </a:lnTo>
                          <a:lnTo>
                            <a:pt x="679" y="62"/>
                          </a:lnTo>
                          <a:lnTo>
                            <a:pt x="657" y="54"/>
                          </a:lnTo>
                          <a:lnTo>
                            <a:pt x="634" y="58"/>
                          </a:lnTo>
                          <a:lnTo>
                            <a:pt x="639" y="76"/>
                          </a:lnTo>
                          <a:lnTo>
                            <a:pt x="661" y="103"/>
                          </a:lnTo>
                          <a:lnTo>
                            <a:pt x="683" y="107"/>
                          </a:lnTo>
                          <a:lnTo>
                            <a:pt x="697" y="98"/>
                          </a:lnTo>
                          <a:lnTo>
                            <a:pt x="710" y="138"/>
                          </a:lnTo>
                          <a:lnTo>
                            <a:pt x="701" y="152"/>
                          </a:lnTo>
                          <a:lnTo>
                            <a:pt x="710" y="197"/>
                          </a:lnTo>
                          <a:lnTo>
                            <a:pt x="719" y="205"/>
                          </a:lnTo>
                          <a:lnTo>
                            <a:pt x="724" y="197"/>
                          </a:lnTo>
                          <a:lnTo>
                            <a:pt x="737" y="210"/>
                          </a:lnTo>
                          <a:lnTo>
                            <a:pt x="746" y="205"/>
                          </a:lnTo>
                          <a:lnTo>
                            <a:pt x="750" y="197"/>
                          </a:lnTo>
                          <a:lnTo>
                            <a:pt x="759" y="192"/>
                          </a:lnTo>
                          <a:lnTo>
                            <a:pt x="759" y="205"/>
                          </a:lnTo>
                          <a:lnTo>
                            <a:pt x="782" y="205"/>
                          </a:lnTo>
                          <a:lnTo>
                            <a:pt x="809" y="205"/>
                          </a:lnTo>
                          <a:lnTo>
                            <a:pt x="826" y="205"/>
                          </a:lnTo>
                          <a:lnTo>
                            <a:pt x="835" y="192"/>
                          </a:lnTo>
                          <a:lnTo>
                            <a:pt x="840" y="201"/>
                          </a:lnTo>
                          <a:lnTo>
                            <a:pt x="853" y="210"/>
                          </a:lnTo>
                          <a:lnTo>
                            <a:pt x="871" y="201"/>
                          </a:lnTo>
                          <a:lnTo>
                            <a:pt x="871" y="192"/>
                          </a:lnTo>
                          <a:lnTo>
                            <a:pt x="884" y="188"/>
                          </a:lnTo>
                          <a:lnTo>
                            <a:pt x="880" y="179"/>
                          </a:lnTo>
                          <a:lnTo>
                            <a:pt x="871" y="179"/>
                          </a:lnTo>
                          <a:lnTo>
                            <a:pt x="884" y="165"/>
                          </a:lnTo>
                          <a:lnTo>
                            <a:pt x="884" y="143"/>
                          </a:lnTo>
                          <a:lnTo>
                            <a:pt x="867" y="134"/>
                          </a:lnTo>
                          <a:lnTo>
                            <a:pt x="849" y="130"/>
                          </a:lnTo>
                          <a:lnTo>
                            <a:pt x="835" y="134"/>
                          </a:lnTo>
                          <a:lnTo>
                            <a:pt x="826" y="130"/>
                          </a:lnTo>
                          <a:lnTo>
                            <a:pt x="800" y="138"/>
                          </a:lnTo>
                          <a:lnTo>
                            <a:pt x="791" y="152"/>
                          </a:lnTo>
                          <a:lnTo>
                            <a:pt x="773" y="143"/>
                          </a:lnTo>
                          <a:lnTo>
                            <a:pt x="759" y="138"/>
                          </a:lnTo>
                          <a:lnTo>
                            <a:pt x="750" y="143"/>
                          </a:lnTo>
                          <a:lnTo>
                            <a:pt x="737" y="134"/>
                          </a:lnTo>
                          <a:lnTo>
                            <a:pt x="737" y="125"/>
                          </a:lnTo>
                          <a:lnTo>
                            <a:pt x="724" y="121"/>
                          </a:lnTo>
                          <a:lnTo>
                            <a:pt x="733" y="116"/>
                          </a:lnTo>
                          <a:lnTo>
                            <a:pt x="724" y="112"/>
                          </a:lnTo>
                          <a:lnTo>
                            <a:pt x="724" y="107"/>
                          </a:lnTo>
                          <a:lnTo>
                            <a:pt x="746" y="107"/>
                          </a:lnTo>
                          <a:lnTo>
                            <a:pt x="750" y="103"/>
                          </a:lnTo>
                          <a:lnTo>
                            <a:pt x="719" y="89"/>
                          </a:lnTo>
                          <a:lnTo>
                            <a:pt x="728" y="85"/>
                          </a:lnTo>
                          <a:lnTo>
                            <a:pt x="710" y="67"/>
                          </a:lnTo>
                          <a:lnTo>
                            <a:pt x="701" y="76"/>
                          </a:lnTo>
                          <a:lnTo>
                            <a:pt x="697" y="76"/>
                          </a:lnTo>
                          <a:close/>
                          <a:moveTo>
                            <a:pt x="777" y="670"/>
                          </a:moveTo>
                          <a:lnTo>
                            <a:pt x="800" y="666"/>
                          </a:lnTo>
                          <a:lnTo>
                            <a:pt x="804" y="688"/>
                          </a:lnTo>
                          <a:lnTo>
                            <a:pt x="817" y="675"/>
                          </a:lnTo>
                          <a:lnTo>
                            <a:pt x="822" y="666"/>
                          </a:lnTo>
                          <a:lnTo>
                            <a:pt x="831" y="652"/>
                          </a:lnTo>
                          <a:lnTo>
                            <a:pt x="849" y="657"/>
                          </a:lnTo>
                          <a:lnTo>
                            <a:pt x="844" y="666"/>
                          </a:lnTo>
                          <a:lnTo>
                            <a:pt x="867" y="670"/>
                          </a:lnTo>
                          <a:lnTo>
                            <a:pt x="876" y="661"/>
                          </a:lnTo>
                          <a:lnTo>
                            <a:pt x="867" y="652"/>
                          </a:lnTo>
                          <a:lnTo>
                            <a:pt x="853" y="652"/>
                          </a:lnTo>
                          <a:lnTo>
                            <a:pt x="853" y="639"/>
                          </a:lnTo>
                          <a:lnTo>
                            <a:pt x="822" y="612"/>
                          </a:lnTo>
                          <a:lnTo>
                            <a:pt x="817" y="608"/>
                          </a:lnTo>
                          <a:lnTo>
                            <a:pt x="813" y="617"/>
                          </a:lnTo>
                          <a:lnTo>
                            <a:pt x="804" y="599"/>
                          </a:lnTo>
                          <a:lnTo>
                            <a:pt x="800" y="594"/>
                          </a:lnTo>
                          <a:lnTo>
                            <a:pt x="791" y="612"/>
                          </a:lnTo>
                          <a:lnTo>
                            <a:pt x="786" y="634"/>
                          </a:lnTo>
                          <a:lnTo>
                            <a:pt x="791" y="657"/>
                          </a:lnTo>
                          <a:lnTo>
                            <a:pt x="777" y="657"/>
                          </a:lnTo>
                          <a:lnTo>
                            <a:pt x="777" y="670"/>
                          </a:lnTo>
                          <a:close/>
                          <a:moveTo>
                            <a:pt x="791" y="0"/>
                          </a:moveTo>
                          <a:lnTo>
                            <a:pt x="800" y="13"/>
                          </a:lnTo>
                          <a:lnTo>
                            <a:pt x="809" y="18"/>
                          </a:lnTo>
                          <a:lnTo>
                            <a:pt x="826" y="18"/>
                          </a:lnTo>
                          <a:lnTo>
                            <a:pt x="831" y="31"/>
                          </a:lnTo>
                          <a:lnTo>
                            <a:pt x="791" y="22"/>
                          </a:lnTo>
                          <a:lnTo>
                            <a:pt x="782" y="4"/>
                          </a:lnTo>
                          <a:lnTo>
                            <a:pt x="768" y="0"/>
                          </a:lnTo>
                          <a:lnTo>
                            <a:pt x="755" y="9"/>
                          </a:lnTo>
                          <a:lnTo>
                            <a:pt x="768" y="31"/>
                          </a:lnTo>
                          <a:lnTo>
                            <a:pt x="777" y="31"/>
                          </a:lnTo>
                          <a:lnTo>
                            <a:pt x="777" y="40"/>
                          </a:lnTo>
                          <a:lnTo>
                            <a:pt x="759" y="45"/>
                          </a:lnTo>
                          <a:lnTo>
                            <a:pt x="746" y="62"/>
                          </a:lnTo>
                          <a:lnTo>
                            <a:pt x="742" y="80"/>
                          </a:lnTo>
                          <a:lnTo>
                            <a:pt x="759" y="89"/>
                          </a:lnTo>
                          <a:lnTo>
                            <a:pt x="782" y="98"/>
                          </a:lnTo>
                          <a:lnTo>
                            <a:pt x="809" y="98"/>
                          </a:lnTo>
                          <a:lnTo>
                            <a:pt x="809" y="89"/>
                          </a:lnTo>
                          <a:lnTo>
                            <a:pt x="817" y="85"/>
                          </a:lnTo>
                          <a:lnTo>
                            <a:pt x="822" y="76"/>
                          </a:lnTo>
                          <a:lnTo>
                            <a:pt x="831" y="94"/>
                          </a:lnTo>
                          <a:lnTo>
                            <a:pt x="858" y="85"/>
                          </a:lnTo>
                          <a:lnTo>
                            <a:pt x="867" y="94"/>
                          </a:lnTo>
                          <a:lnTo>
                            <a:pt x="862" y="107"/>
                          </a:lnTo>
                          <a:lnTo>
                            <a:pt x="867" y="112"/>
                          </a:lnTo>
                          <a:lnTo>
                            <a:pt x="893" y="89"/>
                          </a:lnTo>
                          <a:lnTo>
                            <a:pt x="907" y="71"/>
                          </a:lnTo>
                          <a:lnTo>
                            <a:pt x="907" y="58"/>
                          </a:lnTo>
                          <a:lnTo>
                            <a:pt x="889" y="58"/>
                          </a:lnTo>
                          <a:lnTo>
                            <a:pt x="889" y="40"/>
                          </a:lnTo>
                          <a:lnTo>
                            <a:pt x="867" y="36"/>
                          </a:lnTo>
                          <a:lnTo>
                            <a:pt x="853" y="45"/>
                          </a:lnTo>
                          <a:lnTo>
                            <a:pt x="849" y="40"/>
                          </a:lnTo>
                          <a:lnTo>
                            <a:pt x="858" y="36"/>
                          </a:lnTo>
                          <a:lnTo>
                            <a:pt x="849" y="22"/>
                          </a:lnTo>
                          <a:lnTo>
                            <a:pt x="858" y="18"/>
                          </a:lnTo>
                          <a:lnTo>
                            <a:pt x="871" y="31"/>
                          </a:lnTo>
                          <a:lnTo>
                            <a:pt x="902" y="31"/>
                          </a:lnTo>
                          <a:lnTo>
                            <a:pt x="911" y="18"/>
                          </a:lnTo>
                          <a:lnTo>
                            <a:pt x="907" y="18"/>
                          </a:lnTo>
                          <a:lnTo>
                            <a:pt x="911" y="4"/>
                          </a:lnTo>
                          <a:lnTo>
                            <a:pt x="925" y="0"/>
                          </a:lnTo>
                          <a:lnTo>
                            <a:pt x="791" y="0"/>
                          </a:lnTo>
                          <a:close/>
                          <a:moveTo>
                            <a:pt x="831" y="693"/>
                          </a:moveTo>
                          <a:lnTo>
                            <a:pt x="822" y="706"/>
                          </a:lnTo>
                          <a:lnTo>
                            <a:pt x="826" y="715"/>
                          </a:lnTo>
                          <a:lnTo>
                            <a:pt x="835" y="715"/>
                          </a:lnTo>
                          <a:lnTo>
                            <a:pt x="849" y="697"/>
                          </a:lnTo>
                          <a:lnTo>
                            <a:pt x="849" y="688"/>
                          </a:lnTo>
                          <a:lnTo>
                            <a:pt x="844" y="688"/>
                          </a:lnTo>
                          <a:lnTo>
                            <a:pt x="840" y="693"/>
                          </a:lnTo>
                          <a:lnTo>
                            <a:pt x="831" y="693"/>
                          </a:lnTo>
                          <a:close/>
                          <a:moveTo>
                            <a:pt x="831" y="1122"/>
                          </a:moveTo>
                          <a:lnTo>
                            <a:pt x="849" y="1131"/>
                          </a:lnTo>
                          <a:lnTo>
                            <a:pt x="853" y="1122"/>
                          </a:lnTo>
                          <a:lnTo>
                            <a:pt x="831" y="1122"/>
                          </a:lnTo>
                          <a:close/>
                          <a:moveTo>
                            <a:pt x="871" y="438"/>
                          </a:moveTo>
                          <a:lnTo>
                            <a:pt x="880" y="451"/>
                          </a:lnTo>
                          <a:lnTo>
                            <a:pt x="889" y="442"/>
                          </a:lnTo>
                          <a:lnTo>
                            <a:pt x="889" y="433"/>
                          </a:lnTo>
                          <a:lnTo>
                            <a:pt x="902" y="429"/>
                          </a:lnTo>
                          <a:lnTo>
                            <a:pt x="898" y="411"/>
                          </a:lnTo>
                          <a:lnTo>
                            <a:pt x="889" y="402"/>
                          </a:lnTo>
                          <a:lnTo>
                            <a:pt x="893" y="398"/>
                          </a:lnTo>
                          <a:lnTo>
                            <a:pt x="907" y="416"/>
                          </a:lnTo>
                          <a:lnTo>
                            <a:pt x="916" y="416"/>
                          </a:lnTo>
                          <a:lnTo>
                            <a:pt x="916" y="438"/>
                          </a:lnTo>
                          <a:lnTo>
                            <a:pt x="929" y="438"/>
                          </a:lnTo>
                          <a:lnTo>
                            <a:pt x="920" y="447"/>
                          </a:lnTo>
                          <a:lnTo>
                            <a:pt x="943" y="460"/>
                          </a:lnTo>
                          <a:lnTo>
                            <a:pt x="929" y="469"/>
                          </a:lnTo>
                          <a:lnTo>
                            <a:pt x="929" y="483"/>
                          </a:lnTo>
                          <a:lnTo>
                            <a:pt x="947" y="465"/>
                          </a:lnTo>
                          <a:lnTo>
                            <a:pt x="965" y="487"/>
                          </a:lnTo>
                          <a:lnTo>
                            <a:pt x="969" y="500"/>
                          </a:lnTo>
                          <a:lnTo>
                            <a:pt x="983" y="500"/>
                          </a:lnTo>
                          <a:lnTo>
                            <a:pt x="992" y="527"/>
                          </a:lnTo>
                          <a:lnTo>
                            <a:pt x="1005" y="527"/>
                          </a:lnTo>
                          <a:lnTo>
                            <a:pt x="992" y="532"/>
                          </a:lnTo>
                          <a:lnTo>
                            <a:pt x="983" y="559"/>
                          </a:lnTo>
                          <a:lnTo>
                            <a:pt x="1005" y="559"/>
                          </a:lnTo>
                          <a:lnTo>
                            <a:pt x="1010" y="541"/>
                          </a:lnTo>
                          <a:lnTo>
                            <a:pt x="1036" y="572"/>
                          </a:lnTo>
                          <a:lnTo>
                            <a:pt x="1010" y="585"/>
                          </a:lnTo>
                          <a:lnTo>
                            <a:pt x="1001" y="567"/>
                          </a:lnTo>
                          <a:lnTo>
                            <a:pt x="978" y="563"/>
                          </a:lnTo>
                          <a:lnTo>
                            <a:pt x="960" y="585"/>
                          </a:lnTo>
                          <a:lnTo>
                            <a:pt x="974" y="594"/>
                          </a:lnTo>
                          <a:lnTo>
                            <a:pt x="974" y="612"/>
                          </a:lnTo>
                          <a:lnTo>
                            <a:pt x="965" y="608"/>
                          </a:lnTo>
                          <a:lnTo>
                            <a:pt x="934" y="612"/>
                          </a:lnTo>
                          <a:lnTo>
                            <a:pt x="916" y="603"/>
                          </a:lnTo>
                          <a:lnTo>
                            <a:pt x="902" y="626"/>
                          </a:lnTo>
                          <a:lnTo>
                            <a:pt x="902" y="639"/>
                          </a:lnTo>
                          <a:lnTo>
                            <a:pt x="911" y="648"/>
                          </a:lnTo>
                          <a:lnTo>
                            <a:pt x="925" y="648"/>
                          </a:lnTo>
                          <a:lnTo>
                            <a:pt x="929" y="643"/>
                          </a:lnTo>
                          <a:lnTo>
                            <a:pt x="965" y="643"/>
                          </a:lnTo>
                          <a:lnTo>
                            <a:pt x="1001" y="666"/>
                          </a:lnTo>
                          <a:lnTo>
                            <a:pt x="992" y="675"/>
                          </a:lnTo>
                          <a:lnTo>
                            <a:pt x="996" y="688"/>
                          </a:lnTo>
                          <a:lnTo>
                            <a:pt x="1010" y="688"/>
                          </a:lnTo>
                          <a:lnTo>
                            <a:pt x="1014" y="697"/>
                          </a:lnTo>
                          <a:lnTo>
                            <a:pt x="1005" y="693"/>
                          </a:lnTo>
                          <a:lnTo>
                            <a:pt x="1010" y="706"/>
                          </a:lnTo>
                          <a:lnTo>
                            <a:pt x="1018" y="706"/>
                          </a:lnTo>
                          <a:lnTo>
                            <a:pt x="1023" y="697"/>
                          </a:lnTo>
                          <a:lnTo>
                            <a:pt x="1081" y="724"/>
                          </a:lnTo>
                          <a:lnTo>
                            <a:pt x="1081" y="710"/>
                          </a:lnTo>
                          <a:lnTo>
                            <a:pt x="1041" y="666"/>
                          </a:lnTo>
                          <a:lnTo>
                            <a:pt x="1041" y="657"/>
                          </a:lnTo>
                          <a:lnTo>
                            <a:pt x="1094" y="693"/>
                          </a:lnTo>
                          <a:lnTo>
                            <a:pt x="1103" y="661"/>
                          </a:lnTo>
                          <a:lnTo>
                            <a:pt x="1094" y="634"/>
                          </a:lnTo>
                          <a:lnTo>
                            <a:pt x="1072" y="626"/>
                          </a:lnTo>
                          <a:lnTo>
                            <a:pt x="1050" y="590"/>
                          </a:lnTo>
                          <a:lnTo>
                            <a:pt x="1063" y="590"/>
                          </a:lnTo>
                          <a:lnTo>
                            <a:pt x="1063" y="585"/>
                          </a:lnTo>
                          <a:lnTo>
                            <a:pt x="1063" y="581"/>
                          </a:lnTo>
                          <a:lnTo>
                            <a:pt x="1072" y="576"/>
                          </a:lnTo>
                          <a:lnTo>
                            <a:pt x="1103" y="621"/>
                          </a:lnTo>
                          <a:lnTo>
                            <a:pt x="1117" y="626"/>
                          </a:lnTo>
                          <a:lnTo>
                            <a:pt x="1117" y="599"/>
                          </a:lnTo>
                          <a:lnTo>
                            <a:pt x="1135" y="603"/>
                          </a:lnTo>
                          <a:lnTo>
                            <a:pt x="1139" y="585"/>
                          </a:lnTo>
                          <a:lnTo>
                            <a:pt x="1152" y="567"/>
                          </a:lnTo>
                          <a:lnTo>
                            <a:pt x="1139" y="545"/>
                          </a:lnTo>
                          <a:lnTo>
                            <a:pt x="1121" y="541"/>
                          </a:lnTo>
                          <a:lnTo>
                            <a:pt x="1121" y="532"/>
                          </a:lnTo>
                          <a:lnTo>
                            <a:pt x="1094" y="505"/>
                          </a:lnTo>
                          <a:lnTo>
                            <a:pt x="1068" y="500"/>
                          </a:lnTo>
                          <a:lnTo>
                            <a:pt x="1068" y="487"/>
                          </a:lnTo>
                          <a:lnTo>
                            <a:pt x="1054" y="487"/>
                          </a:lnTo>
                          <a:lnTo>
                            <a:pt x="1054" y="456"/>
                          </a:lnTo>
                          <a:lnTo>
                            <a:pt x="1068" y="460"/>
                          </a:lnTo>
                          <a:lnTo>
                            <a:pt x="1077" y="451"/>
                          </a:lnTo>
                          <a:lnTo>
                            <a:pt x="1054" y="438"/>
                          </a:lnTo>
                          <a:lnTo>
                            <a:pt x="1068" y="433"/>
                          </a:lnTo>
                          <a:lnTo>
                            <a:pt x="1054" y="411"/>
                          </a:lnTo>
                          <a:lnTo>
                            <a:pt x="1041" y="420"/>
                          </a:lnTo>
                          <a:lnTo>
                            <a:pt x="1050" y="407"/>
                          </a:lnTo>
                          <a:lnTo>
                            <a:pt x="1023" y="398"/>
                          </a:lnTo>
                          <a:lnTo>
                            <a:pt x="1005" y="407"/>
                          </a:lnTo>
                          <a:lnTo>
                            <a:pt x="1014" y="389"/>
                          </a:lnTo>
                          <a:lnTo>
                            <a:pt x="1014" y="375"/>
                          </a:lnTo>
                          <a:lnTo>
                            <a:pt x="1005" y="375"/>
                          </a:lnTo>
                          <a:lnTo>
                            <a:pt x="1010" y="362"/>
                          </a:lnTo>
                          <a:lnTo>
                            <a:pt x="1005" y="353"/>
                          </a:lnTo>
                          <a:lnTo>
                            <a:pt x="983" y="344"/>
                          </a:lnTo>
                          <a:lnTo>
                            <a:pt x="978" y="357"/>
                          </a:lnTo>
                          <a:lnTo>
                            <a:pt x="969" y="335"/>
                          </a:lnTo>
                          <a:lnTo>
                            <a:pt x="956" y="344"/>
                          </a:lnTo>
                          <a:lnTo>
                            <a:pt x="956" y="335"/>
                          </a:lnTo>
                          <a:lnTo>
                            <a:pt x="965" y="326"/>
                          </a:lnTo>
                          <a:lnTo>
                            <a:pt x="960" y="317"/>
                          </a:lnTo>
                          <a:lnTo>
                            <a:pt x="951" y="317"/>
                          </a:lnTo>
                          <a:lnTo>
                            <a:pt x="947" y="313"/>
                          </a:lnTo>
                          <a:lnTo>
                            <a:pt x="951" y="308"/>
                          </a:lnTo>
                          <a:lnTo>
                            <a:pt x="951" y="295"/>
                          </a:lnTo>
                          <a:lnTo>
                            <a:pt x="920" y="281"/>
                          </a:lnTo>
                          <a:lnTo>
                            <a:pt x="907" y="295"/>
                          </a:lnTo>
                          <a:lnTo>
                            <a:pt x="911" y="304"/>
                          </a:lnTo>
                          <a:lnTo>
                            <a:pt x="902" y="304"/>
                          </a:lnTo>
                          <a:lnTo>
                            <a:pt x="902" y="313"/>
                          </a:lnTo>
                          <a:lnTo>
                            <a:pt x="889" y="304"/>
                          </a:lnTo>
                          <a:lnTo>
                            <a:pt x="884" y="308"/>
                          </a:lnTo>
                          <a:lnTo>
                            <a:pt x="880" y="299"/>
                          </a:lnTo>
                          <a:lnTo>
                            <a:pt x="871" y="326"/>
                          </a:lnTo>
                          <a:lnTo>
                            <a:pt x="871" y="290"/>
                          </a:lnTo>
                          <a:lnTo>
                            <a:pt x="867" y="268"/>
                          </a:lnTo>
                          <a:lnTo>
                            <a:pt x="862" y="264"/>
                          </a:lnTo>
                          <a:lnTo>
                            <a:pt x="858" y="241"/>
                          </a:lnTo>
                          <a:lnTo>
                            <a:pt x="840" y="241"/>
                          </a:lnTo>
                          <a:lnTo>
                            <a:pt x="809" y="259"/>
                          </a:lnTo>
                          <a:lnTo>
                            <a:pt x="813" y="268"/>
                          </a:lnTo>
                          <a:lnTo>
                            <a:pt x="804" y="273"/>
                          </a:lnTo>
                          <a:lnTo>
                            <a:pt x="804" y="304"/>
                          </a:lnTo>
                          <a:lnTo>
                            <a:pt x="809" y="308"/>
                          </a:lnTo>
                          <a:lnTo>
                            <a:pt x="804" y="331"/>
                          </a:lnTo>
                          <a:lnTo>
                            <a:pt x="804" y="344"/>
                          </a:lnTo>
                          <a:lnTo>
                            <a:pt x="817" y="344"/>
                          </a:lnTo>
                          <a:lnTo>
                            <a:pt x="813" y="371"/>
                          </a:lnTo>
                          <a:lnTo>
                            <a:pt x="795" y="375"/>
                          </a:lnTo>
                          <a:lnTo>
                            <a:pt x="795" y="371"/>
                          </a:lnTo>
                          <a:lnTo>
                            <a:pt x="809" y="362"/>
                          </a:lnTo>
                          <a:lnTo>
                            <a:pt x="804" y="357"/>
                          </a:lnTo>
                          <a:lnTo>
                            <a:pt x="791" y="322"/>
                          </a:lnTo>
                          <a:lnTo>
                            <a:pt x="795" y="304"/>
                          </a:lnTo>
                          <a:lnTo>
                            <a:pt x="791" y="290"/>
                          </a:lnTo>
                          <a:lnTo>
                            <a:pt x="809" y="241"/>
                          </a:lnTo>
                          <a:lnTo>
                            <a:pt x="791" y="237"/>
                          </a:lnTo>
                          <a:lnTo>
                            <a:pt x="755" y="264"/>
                          </a:lnTo>
                          <a:lnTo>
                            <a:pt x="737" y="322"/>
                          </a:lnTo>
                          <a:lnTo>
                            <a:pt x="737" y="366"/>
                          </a:lnTo>
                          <a:lnTo>
                            <a:pt x="768" y="371"/>
                          </a:lnTo>
                          <a:lnTo>
                            <a:pt x="777" y="384"/>
                          </a:lnTo>
                          <a:lnTo>
                            <a:pt x="759" y="380"/>
                          </a:lnTo>
                          <a:lnTo>
                            <a:pt x="742" y="380"/>
                          </a:lnTo>
                          <a:lnTo>
                            <a:pt x="759" y="416"/>
                          </a:lnTo>
                          <a:lnTo>
                            <a:pt x="773" y="420"/>
                          </a:lnTo>
                          <a:lnTo>
                            <a:pt x="786" y="411"/>
                          </a:lnTo>
                          <a:lnTo>
                            <a:pt x="800" y="429"/>
                          </a:lnTo>
                          <a:lnTo>
                            <a:pt x="831" y="429"/>
                          </a:lnTo>
                          <a:lnTo>
                            <a:pt x="853" y="438"/>
                          </a:lnTo>
                          <a:lnTo>
                            <a:pt x="858" y="429"/>
                          </a:lnTo>
                          <a:lnTo>
                            <a:pt x="871" y="438"/>
                          </a:lnTo>
                          <a:close/>
                          <a:moveTo>
                            <a:pt x="880" y="702"/>
                          </a:moveTo>
                          <a:lnTo>
                            <a:pt x="871" y="715"/>
                          </a:lnTo>
                          <a:lnTo>
                            <a:pt x="871" y="724"/>
                          </a:lnTo>
                          <a:lnTo>
                            <a:pt x="880" y="728"/>
                          </a:lnTo>
                          <a:lnTo>
                            <a:pt x="884" y="733"/>
                          </a:lnTo>
                          <a:lnTo>
                            <a:pt x="889" y="706"/>
                          </a:lnTo>
                          <a:lnTo>
                            <a:pt x="884" y="702"/>
                          </a:lnTo>
                          <a:lnTo>
                            <a:pt x="880" y="702"/>
                          </a:lnTo>
                          <a:close/>
                          <a:moveTo>
                            <a:pt x="934" y="496"/>
                          </a:moveTo>
                          <a:lnTo>
                            <a:pt x="920" y="514"/>
                          </a:lnTo>
                          <a:lnTo>
                            <a:pt x="920" y="536"/>
                          </a:lnTo>
                          <a:lnTo>
                            <a:pt x="929" y="536"/>
                          </a:lnTo>
                          <a:lnTo>
                            <a:pt x="943" y="536"/>
                          </a:lnTo>
                          <a:lnTo>
                            <a:pt x="951" y="523"/>
                          </a:lnTo>
                          <a:lnTo>
                            <a:pt x="947" y="505"/>
                          </a:lnTo>
                          <a:lnTo>
                            <a:pt x="951" y="496"/>
                          </a:lnTo>
                          <a:lnTo>
                            <a:pt x="934" y="496"/>
                          </a:lnTo>
                          <a:close/>
                          <a:moveTo>
                            <a:pt x="956" y="1148"/>
                          </a:moveTo>
                          <a:lnTo>
                            <a:pt x="1001" y="1144"/>
                          </a:lnTo>
                          <a:lnTo>
                            <a:pt x="1014" y="1122"/>
                          </a:lnTo>
                          <a:lnTo>
                            <a:pt x="1032" y="1095"/>
                          </a:lnTo>
                          <a:lnTo>
                            <a:pt x="1036" y="1099"/>
                          </a:lnTo>
                          <a:lnTo>
                            <a:pt x="1045" y="1095"/>
                          </a:lnTo>
                          <a:lnTo>
                            <a:pt x="1054" y="1135"/>
                          </a:lnTo>
                          <a:lnTo>
                            <a:pt x="1063" y="1139"/>
                          </a:lnTo>
                          <a:lnTo>
                            <a:pt x="1077" y="1139"/>
                          </a:lnTo>
                          <a:lnTo>
                            <a:pt x="1094" y="1135"/>
                          </a:lnTo>
                          <a:lnTo>
                            <a:pt x="1108" y="1139"/>
                          </a:lnTo>
                          <a:lnTo>
                            <a:pt x="1099" y="1139"/>
                          </a:lnTo>
                          <a:lnTo>
                            <a:pt x="1081" y="1153"/>
                          </a:lnTo>
                          <a:lnTo>
                            <a:pt x="1077" y="1166"/>
                          </a:lnTo>
                          <a:lnTo>
                            <a:pt x="1090" y="1175"/>
                          </a:lnTo>
                          <a:lnTo>
                            <a:pt x="1103" y="1153"/>
                          </a:lnTo>
                          <a:lnTo>
                            <a:pt x="1117" y="1157"/>
                          </a:lnTo>
                          <a:lnTo>
                            <a:pt x="1152" y="1139"/>
                          </a:lnTo>
                          <a:lnTo>
                            <a:pt x="1152" y="1131"/>
                          </a:lnTo>
                          <a:lnTo>
                            <a:pt x="1157" y="1135"/>
                          </a:lnTo>
                          <a:lnTo>
                            <a:pt x="1166" y="1131"/>
                          </a:lnTo>
                          <a:lnTo>
                            <a:pt x="1175" y="1122"/>
                          </a:lnTo>
                          <a:lnTo>
                            <a:pt x="1170" y="1117"/>
                          </a:lnTo>
                          <a:lnTo>
                            <a:pt x="1166" y="1117"/>
                          </a:lnTo>
                          <a:lnTo>
                            <a:pt x="1161" y="1122"/>
                          </a:lnTo>
                          <a:lnTo>
                            <a:pt x="1166" y="1099"/>
                          </a:lnTo>
                          <a:lnTo>
                            <a:pt x="1157" y="1099"/>
                          </a:lnTo>
                          <a:lnTo>
                            <a:pt x="1148" y="1122"/>
                          </a:lnTo>
                          <a:lnTo>
                            <a:pt x="1152" y="1131"/>
                          </a:lnTo>
                          <a:lnTo>
                            <a:pt x="1139" y="1126"/>
                          </a:lnTo>
                          <a:lnTo>
                            <a:pt x="1126" y="1131"/>
                          </a:lnTo>
                          <a:lnTo>
                            <a:pt x="1108" y="1122"/>
                          </a:lnTo>
                          <a:lnTo>
                            <a:pt x="1094" y="1104"/>
                          </a:lnTo>
                          <a:lnTo>
                            <a:pt x="1099" y="1090"/>
                          </a:lnTo>
                          <a:lnTo>
                            <a:pt x="1094" y="1086"/>
                          </a:lnTo>
                          <a:lnTo>
                            <a:pt x="1085" y="1095"/>
                          </a:lnTo>
                          <a:lnTo>
                            <a:pt x="1077" y="1081"/>
                          </a:lnTo>
                          <a:lnTo>
                            <a:pt x="1077" y="1077"/>
                          </a:lnTo>
                          <a:lnTo>
                            <a:pt x="1090" y="1081"/>
                          </a:lnTo>
                          <a:lnTo>
                            <a:pt x="1108" y="1072"/>
                          </a:lnTo>
                          <a:lnTo>
                            <a:pt x="1103" y="1059"/>
                          </a:lnTo>
                          <a:lnTo>
                            <a:pt x="1094" y="1055"/>
                          </a:lnTo>
                          <a:lnTo>
                            <a:pt x="1085" y="1050"/>
                          </a:lnTo>
                          <a:lnTo>
                            <a:pt x="1077" y="1055"/>
                          </a:lnTo>
                          <a:lnTo>
                            <a:pt x="1045" y="1068"/>
                          </a:lnTo>
                          <a:lnTo>
                            <a:pt x="1023" y="1095"/>
                          </a:lnTo>
                          <a:lnTo>
                            <a:pt x="1014" y="1108"/>
                          </a:lnTo>
                          <a:lnTo>
                            <a:pt x="996" y="1113"/>
                          </a:lnTo>
                          <a:lnTo>
                            <a:pt x="956" y="1148"/>
                          </a:lnTo>
                          <a:close/>
                          <a:moveTo>
                            <a:pt x="1085" y="733"/>
                          </a:moveTo>
                          <a:lnTo>
                            <a:pt x="1099" y="746"/>
                          </a:lnTo>
                          <a:lnTo>
                            <a:pt x="1103" y="733"/>
                          </a:lnTo>
                          <a:lnTo>
                            <a:pt x="1099" y="728"/>
                          </a:lnTo>
                          <a:lnTo>
                            <a:pt x="1085" y="733"/>
                          </a:lnTo>
                          <a:close/>
                          <a:moveTo>
                            <a:pt x="1103" y="1041"/>
                          </a:moveTo>
                          <a:lnTo>
                            <a:pt x="1117" y="1050"/>
                          </a:lnTo>
                          <a:lnTo>
                            <a:pt x="1117" y="1055"/>
                          </a:lnTo>
                          <a:lnTo>
                            <a:pt x="1144" y="1059"/>
                          </a:lnTo>
                          <a:lnTo>
                            <a:pt x="1144" y="1050"/>
                          </a:lnTo>
                          <a:lnTo>
                            <a:pt x="1130" y="1046"/>
                          </a:lnTo>
                          <a:lnTo>
                            <a:pt x="1108" y="1041"/>
                          </a:lnTo>
                          <a:lnTo>
                            <a:pt x="1103" y="1041"/>
                          </a:lnTo>
                          <a:close/>
                          <a:moveTo>
                            <a:pt x="1112" y="1099"/>
                          </a:moveTo>
                          <a:lnTo>
                            <a:pt x="1103" y="1108"/>
                          </a:lnTo>
                          <a:lnTo>
                            <a:pt x="1117" y="1122"/>
                          </a:lnTo>
                          <a:lnTo>
                            <a:pt x="1130" y="1122"/>
                          </a:lnTo>
                          <a:lnTo>
                            <a:pt x="1139" y="1113"/>
                          </a:lnTo>
                          <a:lnTo>
                            <a:pt x="1117" y="1113"/>
                          </a:lnTo>
                          <a:lnTo>
                            <a:pt x="1112" y="1099"/>
                          </a:lnTo>
                          <a:close/>
                          <a:moveTo>
                            <a:pt x="1237" y="996"/>
                          </a:moveTo>
                          <a:lnTo>
                            <a:pt x="1228" y="996"/>
                          </a:lnTo>
                          <a:lnTo>
                            <a:pt x="1215" y="1005"/>
                          </a:lnTo>
                          <a:lnTo>
                            <a:pt x="1211" y="1010"/>
                          </a:lnTo>
                          <a:lnTo>
                            <a:pt x="1184" y="1068"/>
                          </a:lnTo>
                          <a:lnTo>
                            <a:pt x="1188" y="1072"/>
                          </a:lnTo>
                          <a:lnTo>
                            <a:pt x="1175" y="1081"/>
                          </a:lnTo>
                          <a:lnTo>
                            <a:pt x="1179" y="1090"/>
                          </a:lnTo>
                          <a:lnTo>
                            <a:pt x="1215" y="1090"/>
                          </a:lnTo>
                          <a:lnTo>
                            <a:pt x="1224" y="1086"/>
                          </a:lnTo>
                          <a:lnTo>
                            <a:pt x="1228" y="1090"/>
                          </a:lnTo>
                          <a:lnTo>
                            <a:pt x="1233" y="1086"/>
                          </a:lnTo>
                          <a:lnTo>
                            <a:pt x="1237" y="1086"/>
                          </a:lnTo>
                          <a:lnTo>
                            <a:pt x="1224" y="1104"/>
                          </a:lnTo>
                          <a:lnTo>
                            <a:pt x="1233" y="1104"/>
                          </a:lnTo>
                          <a:lnTo>
                            <a:pt x="1237" y="1095"/>
                          </a:lnTo>
                          <a:lnTo>
                            <a:pt x="1251" y="1081"/>
                          </a:lnTo>
                          <a:lnTo>
                            <a:pt x="1246" y="1099"/>
                          </a:lnTo>
                          <a:lnTo>
                            <a:pt x="1246" y="1108"/>
                          </a:lnTo>
                          <a:lnTo>
                            <a:pt x="1255" y="1095"/>
                          </a:lnTo>
                          <a:lnTo>
                            <a:pt x="1260" y="1108"/>
                          </a:lnTo>
                          <a:lnTo>
                            <a:pt x="1269" y="1104"/>
                          </a:lnTo>
                          <a:lnTo>
                            <a:pt x="1273" y="1095"/>
                          </a:lnTo>
                          <a:lnTo>
                            <a:pt x="1273" y="1086"/>
                          </a:lnTo>
                          <a:lnTo>
                            <a:pt x="1264" y="1095"/>
                          </a:lnTo>
                          <a:lnTo>
                            <a:pt x="1269" y="1077"/>
                          </a:lnTo>
                          <a:lnTo>
                            <a:pt x="1255" y="1086"/>
                          </a:lnTo>
                          <a:lnTo>
                            <a:pt x="1260" y="1077"/>
                          </a:lnTo>
                          <a:lnTo>
                            <a:pt x="1269" y="1072"/>
                          </a:lnTo>
                          <a:lnTo>
                            <a:pt x="1269" y="1063"/>
                          </a:lnTo>
                          <a:lnTo>
                            <a:pt x="1255" y="1072"/>
                          </a:lnTo>
                          <a:lnTo>
                            <a:pt x="1255" y="1063"/>
                          </a:lnTo>
                          <a:lnTo>
                            <a:pt x="1260" y="1055"/>
                          </a:lnTo>
                          <a:lnTo>
                            <a:pt x="1251" y="1046"/>
                          </a:lnTo>
                          <a:lnTo>
                            <a:pt x="1237" y="1055"/>
                          </a:lnTo>
                          <a:lnTo>
                            <a:pt x="1228" y="1055"/>
                          </a:lnTo>
                          <a:lnTo>
                            <a:pt x="1233" y="1037"/>
                          </a:lnTo>
                          <a:lnTo>
                            <a:pt x="1224" y="1032"/>
                          </a:lnTo>
                          <a:lnTo>
                            <a:pt x="1215" y="1050"/>
                          </a:lnTo>
                          <a:lnTo>
                            <a:pt x="1211" y="1046"/>
                          </a:lnTo>
                          <a:lnTo>
                            <a:pt x="1228" y="1019"/>
                          </a:lnTo>
                          <a:lnTo>
                            <a:pt x="1237" y="996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0" name="Freeform 81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1762" y="2879"/>
                      <a:ext cx="118" cy="684"/>
                    </a:xfrm>
                    <a:custGeom>
                      <a:avLst/>
                      <a:gdLst>
                        <a:gd name="T0" fmla="*/ 13 w 125"/>
                        <a:gd name="T1" fmla="*/ 16 h 724"/>
                        <a:gd name="T2" fmla="*/ 12 w 125"/>
                        <a:gd name="T3" fmla="*/ 24 h 724"/>
                        <a:gd name="T4" fmla="*/ 9 w 125"/>
                        <a:gd name="T5" fmla="*/ 37 h 724"/>
                        <a:gd name="T6" fmla="*/ 8 w 125"/>
                        <a:gd name="T7" fmla="*/ 45 h 724"/>
                        <a:gd name="T8" fmla="*/ 8 w 125"/>
                        <a:gd name="T9" fmla="*/ 69 h 724"/>
                        <a:gd name="T10" fmla="*/ 8 w 125"/>
                        <a:gd name="T11" fmla="*/ 74 h 724"/>
                        <a:gd name="T12" fmla="*/ 8 w 125"/>
                        <a:gd name="T13" fmla="*/ 79 h 724"/>
                        <a:gd name="T14" fmla="*/ 8 w 125"/>
                        <a:gd name="T15" fmla="*/ 85 h 724"/>
                        <a:gd name="T16" fmla="*/ 8 w 125"/>
                        <a:gd name="T17" fmla="*/ 91 h 724"/>
                        <a:gd name="T18" fmla="*/ 4 w 125"/>
                        <a:gd name="T19" fmla="*/ 94 h 724"/>
                        <a:gd name="T20" fmla="*/ 8 w 125"/>
                        <a:gd name="T21" fmla="*/ 96 h 724"/>
                        <a:gd name="T22" fmla="*/ 8 w 125"/>
                        <a:gd name="T23" fmla="*/ 108 h 724"/>
                        <a:gd name="T24" fmla="*/ 8 w 125"/>
                        <a:gd name="T25" fmla="*/ 114 h 724"/>
                        <a:gd name="T26" fmla="*/ 8 w 125"/>
                        <a:gd name="T27" fmla="*/ 119 h 724"/>
                        <a:gd name="T28" fmla="*/ 8 w 125"/>
                        <a:gd name="T29" fmla="*/ 121 h 724"/>
                        <a:gd name="T30" fmla="*/ 16 w 125"/>
                        <a:gd name="T31" fmla="*/ 116 h 724"/>
                        <a:gd name="T32" fmla="*/ 8 w 125"/>
                        <a:gd name="T33" fmla="*/ 114 h 724"/>
                        <a:gd name="T34" fmla="*/ 8 w 125"/>
                        <a:gd name="T35" fmla="*/ 105 h 724"/>
                        <a:gd name="T36" fmla="*/ 8 w 125"/>
                        <a:gd name="T37" fmla="*/ 92 h 724"/>
                        <a:gd name="T38" fmla="*/ 8 w 125"/>
                        <a:gd name="T39" fmla="*/ 86 h 724"/>
                        <a:gd name="T40" fmla="*/ 8 w 125"/>
                        <a:gd name="T41" fmla="*/ 85 h 724"/>
                        <a:gd name="T42" fmla="*/ 8 w 125"/>
                        <a:gd name="T43" fmla="*/ 76 h 724"/>
                        <a:gd name="T44" fmla="*/ 8 w 125"/>
                        <a:gd name="T45" fmla="*/ 68 h 724"/>
                        <a:gd name="T46" fmla="*/ 9 w 125"/>
                        <a:gd name="T47" fmla="*/ 58 h 724"/>
                        <a:gd name="T48" fmla="*/ 15 w 125"/>
                        <a:gd name="T49" fmla="*/ 49 h 724"/>
                        <a:gd name="T50" fmla="*/ 12 w 125"/>
                        <a:gd name="T51" fmla="*/ 41 h 724"/>
                        <a:gd name="T52" fmla="*/ 14 w 125"/>
                        <a:gd name="T53" fmla="*/ 35 h 724"/>
                        <a:gd name="T54" fmla="*/ 17 w 125"/>
                        <a:gd name="T55" fmla="*/ 25 h 724"/>
                        <a:gd name="T56" fmla="*/ 22 w 125"/>
                        <a:gd name="T57" fmla="*/ 16 h 724"/>
                        <a:gd name="T58" fmla="*/ 18 w 125"/>
                        <a:gd name="T59" fmla="*/ 9 h 724"/>
                        <a:gd name="T60" fmla="*/ 13 w 125"/>
                        <a:gd name="T61" fmla="*/ 9 h 724"/>
                        <a:gd name="T62" fmla="*/ 12 w 125"/>
                        <a:gd name="T63" fmla="*/ 122 h 724"/>
                        <a:gd name="T64" fmla="*/ 13 w 125"/>
                        <a:gd name="T65" fmla="*/ 122 h 724"/>
                        <a:gd name="T66" fmla="*/ 19 w 125"/>
                        <a:gd name="T67" fmla="*/ 116 h 724"/>
                        <a:gd name="T68" fmla="*/ 14 w 125"/>
                        <a:gd name="T69" fmla="*/ 121 h 724"/>
                        <a:gd name="T70" fmla="*/ 15 w 125"/>
                        <a:gd name="T71" fmla="*/ 123 h 724"/>
                        <a:gd name="T72" fmla="*/ 8 w 125"/>
                        <a:gd name="T73" fmla="*/ 118 h 724"/>
                        <a:gd name="T74" fmla="*/ 8 w 125"/>
                        <a:gd name="T75" fmla="*/ 121 h 724"/>
                        <a:gd name="T76" fmla="*/ 8 w 125"/>
                        <a:gd name="T77" fmla="*/ 123 h 724"/>
                        <a:gd name="T78" fmla="*/ 8 w 125"/>
                        <a:gd name="T79" fmla="*/ 128 h 724"/>
                        <a:gd name="T80" fmla="*/ 13 w 125"/>
                        <a:gd name="T81" fmla="*/ 128 h 724"/>
                        <a:gd name="T82" fmla="*/ 14 w 125"/>
                        <a:gd name="T83" fmla="*/ 128 h 724"/>
                        <a:gd name="T84" fmla="*/ 17 w 125"/>
                        <a:gd name="T85" fmla="*/ 132 h 724"/>
                        <a:gd name="T86" fmla="*/ 18 w 125"/>
                        <a:gd name="T87" fmla="*/ 132 h 724"/>
                        <a:gd name="T88" fmla="*/ 20 w 125"/>
                        <a:gd name="T89" fmla="*/ 129 h 724"/>
                        <a:gd name="T90" fmla="*/ 20 w 125"/>
                        <a:gd name="T91" fmla="*/ 128 h 724"/>
                        <a:gd name="T92" fmla="*/ 22 w 125"/>
                        <a:gd name="T93" fmla="*/ 128 h 724"/>
                        <a:gd name="T94" fmla="*/ 19 w 125"/>
                        <a:gd name="T95" fmla="*/ 128 h 724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w 125"/>
                        <a:gd name="T145" fmla="*/ 0 h 724"/>
                        <a:gd name="T146" fmla="*/ 125 w 125"/>
                        <a:gd name="T147" fmla="*/ 724 h 724"/>
                      </a:gdLst>
                      <a:ahLst/>
                      <a:cxnLst>
                        <a:cxn ang="T96">
                          <a:pos x="T0" y="T1"/>
                        </a:cxn>
                        <a:cxn ang="T97">
                          <a:pos x="T2" y="T3"/>
                        </a:cxn>
                        <a:cxn ang="T98">
                          <a:pos x="T4" y="T5"/>
                        </a:cxn>
                        <a:cxn ang="T99">
                          <a:pos x="T6" y="T7"/>
                        </a:cxn>
                        <a:cxn ang="T100">
                          <a:pos x="T8" y="T9"/>
                        </a:cxn>
                        <a:cxn ang="T101">
                          <a:pos x="T10" y="T11"/>
                        </a:cxn>
                        <a:cxn ang="T102">
                          <a:pos x="T12" y="T13"/>
                        </a:cxn>
                        <a:cxn ang="T103">
                          <a:pos x="T14" y="T15"/>
                        </a:cxn>
                        <a:cxn ang="T104">
                          <a:pos x="T16" y="T17"/>
                        </a:cxn>
                        <a:cxn ang="T105">
                          <a:pos x="T18" y="T19"/>
                        </a:cxn>
                        <a:cxn ang="T106">
                          <a:pos x="T20" y="T21"/>
                        </a:cxn>
                        <a:cxn ang="T107">
                          <a:pos x="T22" y="T23"/>
                        </a:cxn>
                        <a:cxn ang="T108">
                          <a:pos x="T24" y="T25"/>
                        </a:cxn>
                        <a:cxn ang="T109">
                          <a:pos x="T26" y="T27"/>
                        </a:cxn>
                        <a:cxn ang="T110">
                          <a:pos x="T28" y="T29"/>
                        </a:cxn>
                        <a:cxn ang="T111">
                          <a:pos x="T30" y="T31"/>
                        </a:cxn>
                        <a:cxn ang="T112">
                          <a:pos x="T32" y="T33"/>
                        </a:cxn>
                        <a:cxn ang="T113">
                          <a:pos x="T34" y="T35"/>
                        </a:cxn>
                        <a:cxn ang="T114">
                          <a:pos x="T36" y="T37"/>
                        </a:cxn>
                        <a:cxn ang="T115">
                          <a:pos x="T38" y="T39"/>
                        </a:cxn>
                        <a:cxn ang="T116">
                          <a:pos x="T40" y="T41"/>
                        </a:cxn>
                        <a:cxn ang="T117">
                          <a:pos x="T42" y="T43"/>
                        </a:cxn>
                        <a:cxn ang="T118">
                          <a:pos x="T44" y="T45"/>
                        </a:cxn>
                        <a:cxn ang="T119">
                          <a:pos x="T46" y="T47"/>
                        </a:cxn>
                        <a:cxn ang="T120">
                          <a:pos x="T48" y="T49"/>
                        </a:cxn>
                        <a:cxn ang="T121">
                          <a:pos x="T50" y="T51"/>
                        </a:cxn>
                        <a:cxn ang="T122">
                          <a:pos x="T52" y="T53"/>
                        </a:cxn>
                        <a:cxn ang="T123">
                          <a:pos x="T54" y="T55"/>
                        </a:cxn>
                        <a:cxn ang="T124">
                          <a:pos x="T56" y="T57"/>
                        </a:cxn>
                        <a:cxn ang="T125">
                          <a:pos x="T58" y="T59"/>
                        </a:cxn>
                        <a:cxn ang="T126">
                          <a:pos x="T60" y="T61"/>
                        </a:cxn>
                        <a:cxn ang="T127">
                          <a:pos x="T62" y="T63"/>
                        </a:cxn>
                        <a:cxn ang="T128">
                          <a:pos x="T64" y="T65"/>
                        </a:cxn>
                        <a:cxn ang="T129">
                          <a:pos x="T66" y="T67"/>
                        </a:cxn>
                        <a:cxn ang="T130">
                          <a:pos x="T68" y="T69"/>
                        </a:cxn>
                        <a:cxn ang="T131">
                          <a:pos x="T70" y="T71"/>
                        </a:cxn>
                        <a:cxn ang="T132">
                          <a:pos x="T72" y="T73"/>
                        </a:cxn>
                        <a:cxn ang="T133">
                          <a:pos x="T74" y="T75"/>
                        </a:cxn>
                        <a:cxn ang="T134">
                          <a:pos x="T76" y="T77"/>
                        </a:cxn>
                        <a:cxn ang="T135">
                          <a:pos x="T78" y="T79"/>
                        </a:cxn>
                        <a:cxn ang="T136">
                          <a:pos x="T80" y="T81"/>
                        </a:cxn>
                        <a:cxn ang="T137">
                          <a:pos x="T82" y="T83"/>
                        </a:cxn>
                        <a:cxn ang="T138">
                          <a:pos x="T84" y="T85"/>
                        </a:cxn>
                        <a:cxn ang="T139">
                          <a:pos x="T86" y="T87"/>
                        </a:cxn>
                        <a:cxn ang="T140">
                          <a:pos x="T88" y="T89"/>
                        </a:cxn>
                        <a:cxn ang="T141">
                          <a:pos x="T90" y="T91"/>
                        </a:cxn>
                        <a:cxn ang="T142">
                          <a:pos x="T92" y="T93"/>
                        </a:cxn>
                        <a:cxn ang="T143">
                          <a:pos x="T94" y="T95"/>
                        </a:cxn>
                      </a:cxnLst>
                      <a:rect l="T144" t="T145" r="T146" b="T147"/>
                      <a:pathLst>
                        <a:path w="125" h="724">
                          <a:moveTo>
                            <a:pt x="71" y="9"/>
                          </a:moveTo>
                          <a:lnTo>
                            <a:pt x="71" y="31"/>
                          </a:lnTo>
                          <a:lnTo>
                            <a:pt x="71" y="80"/>
                          </a:lnTo>
                          <a:lnTo>
                            <a:pt x="67" y="85"/>
                          </a:lnTo>
                          <a:lnTo>
                            <a:pt x="67" y="121"/>
                          </a:lnTo>
                          <a:lnTo>
                            <a:pt x="67" y="125"/>
                          </a:lnTo>
                          <a:lnTo>
                            <a:pt x="67" y="138"/>
                          </a:lnTo>
                          <a:lnTo>
                            <a:pt x="54" y="183"/>
                          </a:lnTo>
                          <a:lnTo>
                            <a:pt x="58" y="197"/>
                          </a:lnTo>
                          <a:lnTo>
                            <a:pt x="49" y="205"/>
                          </a:lnTo>
                          <a:lnTo>
                            <a:pt x="54" y="241"/>
                          </a:lnTo>
                          <a:lnTo>
                            <a:pt x="49" y="250"/>
                          </a:lnTo>
                          <a:lnTo>
                            <a:pt x="54" y="259"/>
                          </a:lnTo>
                          <a:lnTo>
                            <a:pt x="27" y="326"/>
                          </a:lnTo>
                          <a:lnTo>
                            <a:pt x="31" y="375"/>
                          </a:lnTo>
                          <a:lnTo>
                            <a:pt x="22" y="380"/>
                          </a:lnTo>
                          <a:lnTo>
                            <a:pt x="27" y="398"/>
                          </a:lnTo>
                          <a:lnTo>
                            <a:pt x="27" y="407"/>
                          </a:lnTo>
                          <a:lnTo>
                            <a:pt x="22" y="411"/>
                          </a:lnTo>
                          <a:lnTo>
                            <a:pt x="22" y="442"/>
                          </a:lnTo>
                          <a:lnTo>
                            <a:pt x="27" y="438"/>
                          </a:lnTo>
                          <a:lnTo>
                            <a:pt x="31" y="416"/>
                          </a:lnTo>
                          <a:lnTo>
                            <a:pt x="40" y="416"/>
                          </a:lnTo>
                          <a:lnTo>
                            <a:pt x="27" y="465"/>
                          </a:lnTo>
                          <a:lnTo>
                            <a:pt x="27" y="451"/>
                          </a:lnTo>
                          <a:lnTo>
                            <a:pt x="22" y="456"/>
                          </a:lnTo>
                          <a:lnTo>
                            <a:pt x="9" y="500"/>
                          </a:lnTo>
                          <a:lnTo>
                            <a:pt x="0" y="509"/>
                          </a:lnTo>
                          <a:lnTo>
                            <a:pt x="0" y="523"/>
                          </a:lnTo>
                          <a:lnTo>
                            <a:pt x="4" y="518"/>
                          </a:lnTo>
                          <a:lnTo>
                            <a:pt x="9" y="509"/>
                          </a:lnTo>
                          <a:lnTo>
                            <a:pt x="22" y="518"/>
                          </a:lnTo>
                          <a:lnTo>
                            <a:pt x="18" y="527"/>
                          </a:lnTo>
                          <a:lnTo>
                            <a:pt x="4" y="541"/>
                          </a:lnTo>
                          <a:lnTo>
                            <a:pt x="4" y="603"/>
                          </a:lnTo>
                          <a:lnTo>
                            <a:pt x="13" y="599"/>
                          </a:lnTo>
                          <a:lnTo>
                            <a:pt x="4" y="617"/>
                          </a:lnTo>
                          <a:lnTo>
                            <a:pt x="9" y="643"/>
                          </a:lnTo>
                          <a:lnTo>
                            <a:pt x="18" y="626"/>
                          </a:lnTo>
                          <a:lnTo>
                            <a:pt x="18" y="648"/>
                          </a:lnTo>
                          <a:lnTo>
                            <a:pt x="27" y="643"/>
                          </a:lnTo>
                          <a:lnTo>
                            <a:pt x="27" y="652"/>
                          </a:lnTo>
                          <a:lnTo>
                            <a:pt x="40" y="657"/>
                          </a:lnTo>
                          <a:lnTo>
                            <a:pt x="36" y="661"/>
                          </a:lnTo>
                          <a:lnTo>
                            <a:pt x="49" y="666"/>
                          </a:lnTo>
                          <a:lnTo>
                            <a:pt x="63" y="675"/>
                          </a:lnTo>
                          <a:lnTo>
                            <a:pt x="67" y="648"/>
                          </a:lnTo>
                          <a:lnTo>
                            <a:pt x="85" y="643"/>
                          </a:lnTo>
                          <a:lnTo>
                            <a:pt x="89" y="634"/>
                          </a:lnTo>
                          <a:lnTo>
                            <a:pt x="49" y="630"/>
                          </a:lnTo>
                          <a:lnTo>
                            <a:pt x="40" y="621"/>
                          </a:lnTo>
                          <a:lnTo>
                            <a:pt x="40" y="603"/>
                          </a:lnTo>
                          <a:lnTo>
                            <a:pt x="31" y="603"/>
                          </a:lnTo>
                          <a:lnTo>
                            <a:pt x="27" y="576"/>
                          </a:lnTo>
                          <a:lnTo>
                            <a:pt x="36" y="559"/>
                          </a:lnTo>
                          <a:lnTo>
                            <a:pt x="40" y="554"/>
                          </a:lnTo>
                          <a:lnTo>
                            <a:pt x="49" y="509"/>
                          </a:lnTo>
                          <a:lnTo>
                            <a:pt x="49" y="491"/>
                          </a:lnTo>
                          <a:lnTo>
                            <a:pt x="58" y="483"/>
                          </a:lnTo>
                          <a:lnTo>
                            <a:pt x="49" y="474"/>
                          </a:lnTo>
                          <a:lnTo>
                            <a:pt x="58" y="474"/>
                          </a:lnTo>
                          <a:lnTo>
                            <a:pt x="58" y="465"/>
                          </a:lnTo>
                          <a:lnTo>
                            <a:pt x="49" y="465"/>
                          </a:lnTo>
                          <a:lnTo>
                            <a:pt x="54" y="442"/>
                          </a:lnTo>
                          <a:lnTo>
                            <a:pt x="49" y="429"/>
                          </a:lnTo>
                          <a:lnTo>
                            <a:pt x="54" y="416"/>
                          </a:lnTo>
                          <a:lnTo>
                            <a:pt x="49" y="393"/>
                          </a:lnTo>
                          <a:lnTo>
                            <a:pt x="49" y="375"/>
                          </a:lnTo>
                          <a:lnTo>
                            <a:pt x="54" y="371"/>
                          </a:lnTo>
                          <a:lnTo>
                            <a:pt x="54" y="357"/>
                          </a:lnTo>
                          <a:lnTo>
                            <a:pt x="63" y="353"/>
                          </a:lnTo>
                          <a:lnTo>
                            <a:pt x="58" y="317"/>
                          </a:lnTo>
                          <a:lnTo>
                            <a:pt x="67" y="304"/>
                          </a:lnTo>
                          <a:lnTo>
                            <a:pt x="71" y="281"/>
                          </a:lnTo>
                          <a:lnTo>
                            <a:pt x="80" y="268"/>
                          </a:lnTo>
                          <a:lnTo>
                            <a:pt x="80" y="250"/>
                          </a:lnTo>
                          <a:lnTo>
                            <a:pt x="76" y="250"/>
                          </a:lnTo>
                          <a:lnTo>
                            <a:pt x="67" y="223"/>
                          </a:lnTo>
                          <a:lnTo>
                            <a:pt x="71" y="210"/>
                          </a:lnTo>
                          <a:lnTo>
                            <a:pt x="80" y="205"/>
                          </a:lnTo>
                          <a:lnTo>
                            <a:pt x="76" y="188"/>
                          </a:lnTo>
                          <a:lnTo>
                            <a:pt x="85" y="161"/>
                          </a:lnTo>
                          <a:lnTo>
                            <a:pt x="94" y="147"/>
                          </a:lnTo>
                          <a:lnTo>
                            <a:pt x="89" y="138"/>
                          </a:lnTo>
                          <a:lnTo>
                            <a:pt x="94" y="112"/>
                          </a:lnTo>
                          <a:lnTo>
                            <a:pt x="116" y="98"/>
                          </a:lnTo>
                          <a:lnTo>
                            <a:pt x="116" y="80"/>
                          </a:lnTo>
                          <a:lnTo>
                            <a:pt x="107" y="76"/>
                          </a:lnTo>
                          <a:lnTo>
                            <a:pt x="94" y="40"/>
                          </a:lnTo>
                          <a:lnTo>
                            <a:pt x="94" y="22"/>
                          </a:lnTo>
                          <a:lnTo>
                            <a:pt x="89" y="9"/>
                          </a:lnTo>
                          <a:lnTo>
                            <a:pt x="85" y="0"/>
                          </a:lnTo>
                          <a:lnTo>
                            <a:pt x="71" y="9"/>
                          </a:lnTo>
                          <a:close/>
                          <a:moveTo>
                            <a:pt x="71" y="666"/>
                          </a:moveTo>
                          <a:lnTo>
                            <a:pt x="71" y="670"/>
                          </a:lnTo>
                          <a:lnTo>
                            <a:pt x="67" y="675"/>
                          </a:lnTo>
                          <a:lnTo>
                            <a:pt x="67" y="679"/>
                          </a:lnTo>
                          <a:lnTo>
                            <a:pt x="71" y="679"/>
                          </a:lnTo>
                          <a:lnTo>
                            <a:pt x="71" y="675"/>
                          </a:lnTo>
                          <a:lnTo>
                            <a:pt x="76" y="675"/>
                          </a:lnTo>
                          <a:lnTo>
                            <a:pt x="71" y="666"/>
                          </a:lnTo>
                          <a:close/>
                          <a:moveTo>
                            <a:pt x="98" y="643"/>
                          </a:moveTo>
                          <a:lnTo>
                            <a:pt x="89" y="643"/>
                          </a:lnTo>
                          <a:lnTo>
                            <a:pt x="76" y="648"/>
                          </a:lnTo>
                          <a:lnTo>
                            <a:pt x="76" y="666"/>
                          </a:lnTo>
                          <a:lnTo>
                            <a:pt x="89" y="661"/>
                          </a:lnTo>
                          <a:lnTo>
                            <a:pt x="80" y="670"/>
                          </a:lnTo>
                          <a:lnTo>
                            <a:pt x="80" y="679"/>
                          </a:lnTo>
                          <a:lnTo>
                            <a:pt x="94" y="693"/>
                          </a:lnTo>
                          <a:lnTo>
                            <a:pt x="67" y="684"/>
                          </a:lnTo>
                          <a:lnTo>
                            <a:pt x="13" y="648"/>
                          </a:lnTo>
                          <a:lnTo>
                            <a:pt x="13" y="657"/>
                          </a:lnTo>
                          <a:lnTo>
                            <a:pt x="31" y="666"/>
                          </a:lnTo>
                          <a:lnTo>
                            <a:pt x="27" y="670"/>
                          </a:lnTo>
                          <a:lnTo>
                            <a:pt x="31" y="679"/>
                          </a:lnTo>
                          <a:lnTo>
                            <a:pt x="40" y="684"/>
                          </a:lnTo>
                          <a:lnTo>
                            <a:pt x="49" y="679"/>
                          </a:lnTo>
                          <a:lnTo>
                            <a:pt x="63" y="688"/>
                          </a:lnTo>
                          <a:lnTo>
                            <a:pt x="49" y="688"/>
                          </a:lnTo>
                          <a:lnTo>
                            <a:pt x="54" y="697"/>
                          </a:lnTo>
                          <a:lnTo>
                            <a:pt x="63" y="693"/>
                          </a:lnTo>
                          <a:lnTo>
                            <a:pt x="71" y="697"/>
                          </a:lnTo>
                          <a:lnTo>
                            <a:pt x="71" y="702"/>
                          </a:lnTo>
                          <a:lnTo>
                            <a:pt x="63" y="702"/>
                          </a:lnTo>
                          <a:lnTo>
                            <a:pt x="76" y="706"/>
                          </a:lnTo>
                          <a:lnTo>
                            <a:pt x="76" y="702"/>
                          </a:lnTo>
                          <a:lnTo>
                            <a:pt x="80" y="706"/>
                          </a:lnTo>
                          <a:lnTo>
                            <a:pt x="76" y="715"/>
                          </a:lnTo>
                          <a:lnTo>
                            <a:pt x="89" y="724"/>
                          </a:lnTo>
                          <a:lnTo>
                            <a:pt x="89" y="715"/>
                          </a:lnTo>
                          <a:lnTo>
                            <a:pt x="94" y="715"/>
                          </a:lnTo>
                          <a:lnTo>
                            <a:pt x="94" y="724"/>
                          </a:lnTo>
                          <a:lnTo>
                            <a:pt x="103" y="719"/>
                          </a:lnTo>
                          <a:lnTo>
                            <a:pt x="107" y="724"/>
                          </a:lnTo>
                          <a:lnTo>
                            <a:pt x="107" y="715"/>
                          </a:lnTo>
                          <a:lnTo>
                            <a:pt x="103" y="715"/>
                          </a:lnTo>
                          <a:lnTo>
                            <a:pt x="103" y="706"/>
                          </a:lnTo>
                          <a:lnTo>
                            <a:pt x="107" y="710"/>
                          </a:lnTo>
                          <a:lnTo>
                            <a:pt x="121" y="715"/>
                          </a:lnTo>
                          <a:lnTo>
                            <a:pt x="125" y="710"/>
                          </a:lnTo>
                          <a:lnTo>
                            <a:pt x="121" y="706"/>
                          </a:lnTo>
                          <a:lnTo>
                            <a:pt x="103" y="702"/>
                          </a:lnTo>
                          <a:lnTo>
                            <a:pt x="94" y="702"/>
                          </a:lnTo>
                          <a:lnTo>
                            <a:pt x="98" y="702"/>
                          </a:lnTo>
                          <a:lnTo>
                            <a:pt x="98" y="64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1" name="Freeform 8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707" y="2457"/>
                      <a:ext cx="169" cy="232"/>
                    </a:xfrm>
                    <a:custGeom>
                      <a:avLst/>
                      <a:gdLst>
                        <a:gd name="T0" fmla="*/ 8 w 179"/>
                        <a:gd name="T1" fmla="*/ 30 h 246"/>
                        <a:gd name="T2" fmla="*/ 8 w 179"/>
                        <a:gd name="T3" fmla="*/ 30 h 246"/>
                        <a:gd name="T4" fmla="*/ 13 w 179"/>
                        <a:gd name="T5" fmla="*/ 33 h 246"/>
                        <a:gd name="T6" fmla="*/ 20 w 179"/>
                        <a:gd name="T7" fmla="*/ 37 h 246"/>
                        <a:gd name="T8" fmla="*/ 22 w 179"/>
                        <a:gd name="T9" fmla="*/ 41 h 246"/>
                        <a:gd name="T10" fmla="*/ 26 w 179"/>
                        <a:gd name="T11" fmla="*/ 35 h 246"/>
                        <a:gd name="T12" fmla="*/ 24 w 179"/>
                        <a:gd name="T13" fmla="*/ 33 h 246"/>
                        <a:gd name="T14" fmla="*/ 25 w 179"/>
                        <a:gd name="T15" fmla="*/ 32 h 246"/>
                        <a:gd name="T16" fmla="*/ 24 w 179"/>
                        <a:gd name="T17" fmla="*/ 30 h 246"/>
                        <a:gd name="T18" fmla="*/ 28 w 179"/>
                        <a:gd name="T19" fmla="*/ 27 h 246"/>
                        <a:gd name="T20" fmla="*/ 30 w 179"/>
                        <a:gd name="T21" fmla="*/ 29 h 246"/>
                        <a:gd name="T22" fmla="*/ 32 w 179"/>
                        <a:gd name="T23" fmla="*/ 24 h 246"/>
                        <a:gd name="T24" fmla="*/ 30 w 179"/>
                        <a:gd name="T25" fmla="*/ 23 h 246"/>
                        <a:gd name="T26" fmla="*/ 30 w 179"/>
                        <a:gd name="T27" fmla="*/ 20 h 246"/>
                        <a:gd name="T28" fmla="*/ 25 w 179"/>
                        <a:gd name="T29" fmla="*/ 17 h 246"/>
                        <a:gd name="T30" fmla="*/ 20 w 179"/>
                        <a:gd name="T31" fmla="*/ 15 h 246"/>
                        <a:gd name="T32" fmla="*/ 19 w 179"/>
                        <a:gd name="T33" fmla="*/ 10 h 246"/>
                        <a:gd name="T34" fmla="*/ 16 w 179"/>
                        <a:gd name="T35" fmla="*/ 8 h 246"/>
                        <a:gd name="T36" fmla="*/ 17 w 179"/>
                        <a:gd name="T37" fmla="*/ 8 h 246"/>
                        <a:gd name="T38" fmla="*/ 20 w 179"/>
                        <a:gd name="T39" fmla="*/ 8 h 246"/>
                        <a:gd name="T40" fmla="*/ 22 w 179"/>
                        <a:gd name="T41" fmla="*/ 0 h 246"/>
                        <a:gd name="T42" fmla="*/ 16 w 179"/>
                        <a:gd name="T43" fmla="*/ 8 h 246"/>
                        <a:gd name="T44" fmla="*/ 13 w 179"/>
                        <a:gd name="T45" fmla="*/ 8 h 246"/>
                        <a:gd name="T46" fmla="*/ 8 w 179"/>
                        <a:gd name="T47" fmla="*/ 8 h 246"/>
                        <a:gd name="T48" fmla="*/ 8 w 179"/>
                        <a:gd name="T49" fmla="*/ 8 h 246"/>
                        <a:gd name="T50" fmla="*/ 8 w 179"/>
                        <a:gd name="T51" fmla="*/ 9 h 246"/>
                        <a:gd name="T52" fmla="*/ 8 w 179"/>
                        <a:gd name="T53" fmla="*/ 9 h 246"/>
                        <a:gd name="T54" fmla="*/ 8 w 179"/>
                        <a:gd name="T55" fmla="*/ 14 h 246"/>
                        <a:gd name="T56" fmla="*/ 8 w 179"/>
                        <a:gd name="T57" fmla="*/ 16 h 246"/>
                        <a:gd name="T58" fmla="*/ 8 w 179"/>
                        <a:gd name="T59" fmla="*/ 22 h 246"/>
                        <a:gd name="T60" fmla="*/ 8 w 179"/>
                        <a:gd name="T61" fmla="*/ 24 h 246"/>
                        <a:gd name="T62" fmla="*/ 8 w 179"/>
                        <a:gd name="T63" fmla="*/ 25 h 246"/>
                        <a:gd name="T64" fmla="*/ 0 w 179"/>
                        <a:gd name="T65" fmla="*/ 27 h 24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179"/>
                        <a:gd name="T100" fmla="*/ 0 h 246"/>
                        <a:gd name="T101" fmla="*/ 179 w 179"/>
                        <a:gd name="T102" fmla="*/ 246 h 246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179" h="246">
                          <a:moveTo>
                            <a:pt x="9" y="161"/>
                          </a:moveTo>
                          <a:lnTo>
                            <a:pt x="22" y="174"/>
                          </a:lnTo>
                          <a:lnTo>
                            <a:pt x="27" y="179"/>
                          </a:lnTo>
                          <a:lnTo>
                            <a:pt x="36" y="174"/>
                          </a:lnTo>
                          <a:lnTo>
                            <a:pt x="58" y="188"/>
                          </a:lnTo>
                          <a:lnTo>
                            <a:pt x="71" y="192"/>
                          </a:lnTo>
                          <a:lnTo>
                            <a:pt x="94" y="215"/>
                          </a:lnTo>
                          <a:lnTo>
                            <a:pt x="107" y="210"/>
                          </a:lnTo>
                          <a:lnTo>
                            <a:pt x="134" y="219"/>
                          </a:lnTo>
                          <a:lnTo>
                            <a:pt x="121" y="241"/>
                          </a:lnTo>
                          <a:lnTo>
                            <a:pt x="129" y="246"/>
                          </a:lnTo>
                          <a:lnTo>
                            <a:pt x="147" y="201"/>
                          </a:lnTo>
                          <a:lnTo>
                            <a:pt x="143" y="192"/>
                          </a:lnTo>
                          <a:lnTo>
                            <a:pt x="134" y="192"/>
                          </a:lnTo>
                          <a:lnTo>
                            <a:pt x="129" y="183"/>
                          </a:lnTo>
                          <a:lnTo>
                            <a:pt x="143" y="183"/>
                          </a:lnTo>
                          <a:lnTo>
                            <a:pt x="147" y="174"/>
                          </a:lnTo>
                          <a:lnTo>
                            <a:pt x="134" y="174"/>
                          </a:lnTo>
                          <a:lnTo>
                            <a:pt x="138" y="161"/>
                          </a:lnTo>
                          <a:lnTo>
                            <a:pt x="156" y="161"/>
                          </a:lnTo>
                          <a:lnTo>
                            <a:pt x="170" y="152"/>
                          </a:lnTo>
                          <a:lnTo>
                            <a:pt x="170" y="165"/>
                          </a:lnTo>
                          <a:lnTo>
                            <a:pt x="179" y="165"/>
                          </a:lnTo>
                          <a:lnTo>
                            <a:pt x="174" y="143"/>
                          </a:lnTo>
                          <a:lnTo>
                            <a:pt x="161" y="148"/>
                          </a:lnTo>
                          <a:lnTo>
                            <a:pt x="170" y="134"/>
                          </a:lnTo>
                          <a:lnTo>
                            <a:pt x="165" y="130"/>
                          </a:lnTo>
                          <a:lnTo>
                            <a:pt x="165" y="112"/>
                          </a:lnTo>
                          <a:lnTo>
                            <a:pt x="170" y="89"/>
                          </a:lnTo>
                          <a:lnTo>
                            <a:pt x="143" y="94"/>
                          </a:lnTo>
                          <a:lnTo>
                            <a:pt x="134" y="80"/>
                          </a:lnTo>
                          <a:lnTo>
                            <a:pt x="107" y="85"/>
                          </a:lnTo>
                          <a:lnTo>
                            <a:pt x="94" y="72"/>
                          </a:lnTo>
                          <a:lnTo>
                            <a:pt x="98" y="63"/>
                          </a:lnTo>
                          <a:lnTo>
                            <a:pt x="89" y="54"/>
                          </a:lnTo>
                          <a:lnTo>
                            <a:pt x="85" y="54"/>
                          </a:lnTo>
                          <a:lnTo>
                            <a:pt x="89" y="49"/>
                          </a:lnTo>
                          <a:lnTo>
                            <a:pt x="89" y="31"/>
                          </a:lnTo>
                          <a:lnTo>
                            <a:pt x="98" y="18"/>
                          </a:lnTo>
                          <a:lnTo>
                            <a:pt x="107" y="9"/>
                          </a:lnTo>
                          <a:lnTo>
                            <a:pt x="116" y="9"/>
                          </a:lnTo>
                          <a:lnTo>
                            <a:pt x="116" y="0"/>
                          </a:lnTo>
                          <a:lnTo>
                            <a:pt x="107" y="0"/>
                          </a:lnTo>
                          <a:lnTo>
                            <a:pt x="85" y="18"/>
                          </a:lnTo>
                          <a:lnTo>
                            <a:pt x="76" y="18"/>
                          </a:lnTo>
                          <a:lnTo>
                            <a:pt x="71" y="22"/>
                          </a:lnTo>
                          <a:lnTo>
                            <a:pt x="62" y="22"/>
                          </a:lnTo>
                          <a:lnTo>
                            <a:pt x="49" y="31"/>
                          </a:lnTo>
                          <a:lnTo>
                            <a:pt x="45" y="40"/>
                          </a:lnTo>
                          <a:lnTo>
                            <a:pt x="49" y="40"/>
                          </a:lnTo>
                          <a:lnTo>
                            <a:pt x="49" y="49"/>
                          </a:lnTo>
                          <a:lnTo>
                            <a:pt x="31" y="58"/>
                          </a:lnTo>
                          <a:lnTo>
                            <a:pt x="31" y="72"/>
                          </a:lnTo>
                          <a:lnTo>
                            <a:pt x="27" y="58"/>
                          </a:lnTo>
                          <a:lnTo>
                            <a:pt x="27" y="72"/>
                          </a:lnTo>
                          <a:lnTo>
                            <a:pt x="18" y="76"/>
                          </a:lnTo>
                          <a:lnTo>
                            <a:pt x="27" y="89"/>
                          </a:lnTo>
                          <a:lnTo>
                            <a:pt x="22" y="98"/>
                          </a:lnTo>
                          <a:lnTo>
                            <a:pt x="27" y="121"/>
                          </a:lnTo>
                          <a:lnTo>
                            <a:pt x="27" y="125"/>
                          </a:lnTo>
                          <a:lnTo>
                            <a:pt x="22" y="143"/>
                          </a:lnTo>
                          <a:lnTo>
                            <a:pt x="13" y="143"/>
                          </a:lnTo>
                          <a:lnTo>
                            <a:pt x="9" y="152"/>
                          </a:lnTo>
                          <a:lnTo>
                            <a:pt x="9" y="156"/>
                          </a:lnTo>
                          <a:lnTo>
                            <a:pt x="0" y="161"/>
                          </a:lnTo>
                          <a:lnTo>
                            <a:pt x="9" y="16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2" name="Freeform 8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618" y="2478"/>
                      <a:ext cx="46" cy="39"/>
                    </a:xfrm>
                    <a:custGeom>
                      <a:avLst/>
                      <a:gdLst>
                        <a:gd name="T0" fmla="*/ 0 w 49"/>
                        <a:gd name="T1" fmla="*/ 0 h 41"/>
                        <a:gd name="T2" fmla="*/ 0 w 49"/>
                        <a:gd name="T3" fmla="*/ 9 h 41"/>
                        <a:gd name="T4" fmla="*/ 5 w 49"/>
                        <a:gd name="T5" fmla="*/ 9 h 41"/>
                        <a:gd name="T6" fmla="*/ 0 w 49"/>
                        <a:gd name="T7" fmla="*/ 10 h 41"/>
                        <a:gd name="T8" fmla="*/ 0 w 49"/>
                        <a:gd name="T9" fmla="*/ 10 h 41"/>
                        <a:gd name="T10" fmla="*/ 8 w 49"/>
                        <a:gd name="T11" fmla="*/ 10 h 41"/>
                        <a:gd name="T12" fmla="*/ 8 w 49"/>
                        <a:gd name="T13" fmla="*/ 10 h 41"/>
                        <a:gd name="T14" fmla="*/ 8 w 49"/>
                        <a:gd name="T15" fmla="*/ 10 h 41"/>
                        <a:gd name="T16" fmla="*/ 8 w 49"/>
                        <a:gd name="T17" fmla="*/ 10 h 41"/>
                        <a:gd name="T18" fmla="*/ 8 w 49"/>
                        <a:gd name="T19" fmla="*/ 10 h 41"/>
                        <a:gd name="T20" fmla="*/ 8 w 49"/>
                        <a:gd name="T21" fmla="*/ 10 h 41"/>
                        <a:gd name="T22" fmla="*/ 8 w 49"/>
                        <a:gd name="T23" fmla="*/ 10 h 41"/>
                        <a:gd name="T24" fmla="*/ 8 w 49"/>
                        <a:gd name="T25" fmla="*/ 10 h 41"/>
                        <a:gd name="T26" fmla="*/ 8 w 49"/>
                        <a:gd name="T27" fmla="*/ 10 h 41"/>
                        <a:gd name="T28" fmla="*/ 8 w 49"/>
                        <a:gd name="T29" fmla="*/ 10 h 41"/>
                        <a:gd name="T30" fmla="*/ 8 w 49"/>
                        <a:gd name="T31" fmla="*/ 10 h 41"/>
                        <a:gd name="T32" fmla="*/ 8 w 49"/>
                        <a:gd name="T33" fmla="*/ 10 h 41"/>
                        <a:gd name="T34" fmla="*/ 8 w 49"/>
                        <a:gd name="T35" fmla="*/ 5 h 41"/>
                        <a:gd name="T36" fmla="*/ 8 w 49"/>
                        <a:gd name="T37" fmla="*/ 5 h 41"/>
                        <a:gd name="T38" fmla="*/ 8 w 49"/>
                        <a:gd name="T39" fmla="*/ 5 h 41"/>
                        <a:gd name="T40" fmla="*/ 8 w 49"/>
                        <a:gd name="T41" fmla="*/ 0 h 41"/>
                        <a:gd name="T42" fmla="*/ 0 w 49"/>
                        <a:gd name="T43" fmla="*/ 0 h 41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w 49"/>
                        <a:gd name="T67" fmla="*/ 0 h 41"/>
                        <a:gd name="T68" fmla="*/ 49 w 49"/>
                        <a:gd name="T69" fmla="*/ 41 h 41"/>
                      </a:gdLst>
                      <a:ahLst/>
                      <a:cxnLst>
                        <a:cxn ang="T44">
                          <a:pos x="T0" y="T1"/>
                        </a:cxn>
                        <a:cxn ang="T45">
                          <a:pos x="T2" y="T3"/>
                        </a:cxn>
                        <a:cxn ang="T46">
                          <a:pos x="T4" y="T5"/>
                        </a:cxn>
                        <a:cxn ang="T47">
                          <a:pos x="T6" y="T7"/>
                        </a:cxn>
                        <a:cxn ang="T48">
                          <a:pos x="T8" y="T9"/>
                        </a:cxn>
                        <a:cxn ang="T49">
                          <a:pos x="T10" y="T11"/>
                        </a:cxn>
                        <a:cxn ang="T50">
                          <a:pos x="T12" y="T13"/>
                        </a:cxn>
                        <a:cxn ang="T51">
                          <a:pos x="T14" y="T15"/>
                        </a:cxn>
                        <a:cxn ang="T52">
                          <a:pos x="T16" y="T17"/>
                        </a:cxn>
                        <a:cxn ang="T53">
                          <a:pos x="T18" y="T19"/>
                        </a:cxn>
                        <a:cxn ang="T54">
                          <a:pos x="T20" y="T21"/>
                        </a:cxn>
                        <a:cxn ang="T55">
                          <a:pos x="T22" y="T23"/>
                        </a:cxn>
                        <a:cxn ang="T56">
                          <a:pos x="T24" y="T25"/>
                        </a:cxn>
                        <a:cxn ang="T57">
                          <a:pos x="T26" y="T27"/>
                        </a:cxn>
                        <a:cxn ang="T58">
                          <a:pos x="T28" y="T29"/>
                        </a:cxn>
                        <a:cxn ang="T59">
                          <a:pos x="T30" y="T31"/>
                        </a:cxn>
                        <a:cxn ang="T60">
                          <a:pos x="T32" y="T33"/>
                        </a:cxn>
                        <a:cxn ang="T61">
                          <a:pos x="T34" y="T35"/>
                        </a:cxn>
                        <a:cxn ang="T62">
                          <a:pos x="T36" y="T37"/>
                        </a:cxn>
                        <a:cxn ang="T63">
                          <a:pos x="T38" y="T39"/>
                        </a:cxn>
                        <a:cxn ang="T64">
                          <a:pos x="T40" y="T41"/>
                        </a:cxn>
                        <a:cxn ang="T65">
                          <a:pos x="T42" y="T43"/>
                        </a:cxn>
                      </a:cxnLst>
                      <a:rect l="T66" t="T67" r="T68" b="T69"/>
                      <a:pathLst>
                        <a:path w="49" h="41">
                          <a:moveTo>
                            <a:pt x="0" y="0"/>
                          </a:moveTo>
                          <a:lnTo>
                            <a:pt x="0" y="9"/>
                          </a:lnTo>
                          <a:lnTo>
                            <a:pt x="5" y="9"/>
                          </a:lnTo>
                          <a:lnTo>
                            <a:pt x="0" y="14"/>
                          </a:lnTo>
                          <a:lnTo>
                            <a:pt x="0" y="23"/>
                          </a:lnTo>
                          <a:lnTo>
                            <a:pt x="14" y="27"/>
                          </a:lnTo>
                          <a:lnTo>
                            <a:pt x="18" y="23"/>
                          </a:lnTo>
                          <a:lnTo>
                            <a:pt x="18" y="18"/>
                          </a:lnTo>
                          <a:lnTo>
                            <a:pt x="22" y="27"/>
                          </a:lnTo>
                          <a:lnTo>
                            <a:pt x="31" y="36"/>
                          </a:lnTo>
                          <a:lnTo>
                            <a:pt x="31" y="41"/>
                          </a:lnTo>
                          <a:lnTo>
                            <a:pt x="40" y="41"/>
                          </a:lnTo>
                          <a:lnTo>
                            <a:pt x="40" y="36"/>
                          </a:lnTo>
                          <a:lnTo>
                            <a:pt x="40" y="41"/>
                          </a:lnTo>
                          <a:lnTo>
                            <a:pt x="40" y="27"/>
                          </a:lnTo>
                          <a:lnTo>
                            <a:pt x="49" y="23"/>
                          </a:lnTo>
                          <a:lnTo>
                            <a:pt x="40" y="18"/>
                          </a:lnTo>
                          <a:lnTo>
                            <a:pt x="36" y="5"/>
                          </a:lnTo>
                          <a:lnTo>
                            <a:pt x="31" y="5"/>
                          </a:lnTo>
                          <a:lnTo>
                            <a:pt x="18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3" name="Freeform 84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1631" y="2302"/>
                      <a:ext cx="151" cy="55"/>
                    </a:xfrm>
                    <a:custGeom>
                      <a:avLst/>
                      <a:gdLst>
                        <a:gd name="T0" fmla="*/ 8 w 160"/>
                        <a:gd name="T1" fmla="*/ 9 h 58"/>
                        <a:gd name="T2" fmla="*/ 0 w 160"/>
                        <a:gd name="T3" fmla="*/ 9 h 58"/>
                        <a:gd name="T4" fmla="*/ 4 w 160"/>
                        <a:gd name="T5" fmla="*/ 9 h 58"/>
                        <a:gd name="T6" fmla="*/ 8 w 160"/>
                        <a:gd name="T7" fmla="*/ 9 h 58"/>
                        <a:gd name="T8" fmla="*/ 8 w 160"/>
                        <a:gd name="T9" fmla="*/ 9 h 58"/>
                        <a:gd name="T10" fmla="*/ 8 w 160"/>
                        <a:gd name="T11" fmla="*/ 9 h 58"/>
                        <a:gd name="T12" fmla="*/ 8 w 160"/>
                        <a:gd name="T13" fmla="*/ 9 h 58"/>
                        <a:gd name="T14" fmla="*/ 8 w 160"/>
                        <a:gd name="T15" fmla="*/ 9 h 58"/>
                        <a:gd name="T16" fmla="*/ 8 w 160"/>
                        <a:gd name="T17" fmla="*/ 9 h 58"/>
                        <a:gd name="T18" fmla="*/ 8 w 160"/>
                        <a:gd name="T19" fmla="*/ 9 h 58"/>
                        <a:gd name="T20" fmla="*/ 15 w 160"/>
                        <a:gd name="T21" fmla="*/ 9 h 58"/>
                        <a:gd name="T22" fmla="*/ 17 w 160"/>
                        <a:gd name="T23" fmla="*/ 9 h 58"/>
                        <a:gd name="T24" fmla="*/ 18 w 160"/>
                        <a:gd name="T25" fmla="*/ 9 h 58"/>
                        <a:gd name="T26" fmla="*/ 19 w 160"/>
                        <a:gd name="T27" fmla="*/ 9 h 58"/>
                        <a:gd name="T28" fmla="*/ 20 w 160"/>
                        <a:gd name="T29" fmla="*/ 9 h 58"/>
                        <a:gd name="T30" fmla="*/ 21 w 160"/>
                        <a:gd name="T31" fmla="*/ 9 h 58"/>
                        <a:gd name="T32" fmla="*/ 18 w 160"/>
                        <a:gd name="T33" fmla="*/ 11 h 58"/>
                        <a:gd name="T34" fmla="*/ 25 w 160"/>
                        <a:gd name="T35" fmla="*/ 11 h 58"/>
                        <a:gd name="T36" fmla="*/ 28 w 160"/>
                        <a:gd name="T37" fmla="*/ 10 h 58"/>
                        <a:gd name="T38" fmla="*/ 27 w 160"/>
                        <a:gd name="T39" fmla="*/ 9 h 58"/>
                        <a:gd name="T40" fmla="*/ 24 w 160"/>
                        <a:gd name="T41" fmla="*/ 9 h 58"/>
                        <a:gd name="T42" fmla="*/ 24 w 160"/>
                        <a:gd name="T43" fmla="*/ 9 h 58"/>
                        <a:gd name="T44" fmla="*/ 23 w 160"/>
                        <a:gd name="T45" fmla="*/ 9 h 58"/>
                        <a:gd name="T46" fmla="*/ 20 w 160"/>
                        <a:gd name="T47" fmla="*/ 9 h 58"/>
                        <a:gd name="T48" fmla="*/ 19 w 160"/>
                        <a:gd name="T49" fmla="*/ 9 h 58"/>
                        <a:gd name="T50" fmla="*/ 18 w 160"/>
                        <a:gd name="T51" fmla="*/ 9 h 58"/>
                        <a:gd name="T52" fmla="*/ 18 w 160"/>
                        <a:gd name="T53" fmla="*/ 9 h 58"/>
                        <a:gd name="T54" fmla="*/ 16 w 160"/>
                        <a:gd name="T55" fmla="*/ 9 h 58"/>
                        <a:gd name="T56" fmla="*/ 15 w 160"/>
                        <a:gd name="T57" fmla="*/ 9 h 58"/>
                        <a:gd name="T58" fmla="*/ 12 w 160"/>
                        <a:gd name="T59" fmla="*/ 0 h 58"/>
                        <a:gd name="T60" fmla="*/ 8 w 160"/>
                        <a:gd name="T61" fmla="*/ 0 h 58"/>
                        <a:gd name="T62" fmla="*/ 8 w 160"/>
                        <a:gd name="T63" fmla="*/ 9 h 58"/>
                        <a:gd name="T64" fmla="*/ 8 w 160"/>
                        <a:gd name="T65" fmla="*/ 9 h 58"/>
                        <a:gd name="T66" fmla="*/ 8 w 160"/>
                        <a:gd name="T67" fmla="*/ 9 h 58"/>
                        <a:gd name="T68" fmla="*/ 8 w 160"/>
                        <a:gd name="T69" fmla="*/ 9 h 58"/>
                        <a:gd name="T70" fmla="*/ 8 w 160"/>
                        <a:gd name="T71" fmla="*/ 9 h 58"/>
                        <a:gd name="T72" fmla="*/ 8 w 160"/>
                        <a:gd name="T73" fmla="*/ 9 h 58"/>
                        <a:gd name="T74" fmla="*/ 8 w 160"/>
                        <a:gd name="T75" fmla="*/ 9 h 58"/>
                        <a:gd name="T76" fmla="*/ 8 w 160"/>
                        <a:gd name="T77" fmla="*/ 9 h 58"/>
                        <a:gd name="T78" fmla="*/ 8 w 160"/>
                        <a:gd name="T79" fmla="*/ 9 h 58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w 160"/>
                        <a:gd name="T121" fmla="*/ 0 h 58"/>
                        <a:gd name="T122" fmla="*/ 160 w 160"/>
                        <a:gd name="T123" fmla="*/ 58 h 58"/>
                      </a:gdLst>
                      <a:ahLst/>
                      <a:cxnLst>
                        <a:cxn ang="T80">
                          <a:pos x="T0" y="T1"/>
                        </a:cxn>
                        <a:cxn ang="T81">
                          <a:pos x="T2" y="T3"/>
                        </a:cxn>
                        <a:cxn ang="T82">
                          <a:pos x="T4" y="T5"/>
                        </a:cxn>
                        <a:cxn ang="T83">
                          <a:pos x="T6" y="T7"/>
                        </a:cxn>
                        <a:cxn ang="T84">
                          <a:pos x="T8" y="T9"/>
                        </a:cxn>
                        <a:cxn ang="T85">
                          <a:pos x="T10" y="T11"/>
                        </a:cxn>
                        <a:cxn ang="T86">
                          <a:pos x="T12" y="T13"/>
                        </a:cxn>
                        <a:cxn ang="T87">
                          <a:pos x="T14" y="T15"/>
                        </a:cxn>
                        <a:cxn ang="T88">
                          <a:pos x="T16" y="T17"/>
                        </a:cxn>
                        <a:cxn ang="T89">
                          <a:pos x="T18" y="T19"/>
                        </a:cxn>
                        <a:cxn ang="T90">
                          <a:pos x="T20" y="T21"/>
                        </a:cxn>
                        <a:cxn ang="T91">
                          <a:pos x="T22" y="T23"/>
                        </a:cxn>
                        <a:cxn ang="T92">
                          <a:pos x="T24" y="T25"/>
                        </a:cxn>
                        <a:cxn ang="T93">
                          <a:pos x="T26" y="T27"/>
                        </a:cxn>
                        <a:cxn ang="T94">
                          <a:pos x="T28" y="T29"/>
                        </a:cxn>
                        <a:cxn ang="T95">
                          <a:pos x="T30" y="T31"/>
                        </a:cxn>
                        <a:cxn ang="T96">
                          <a:pos x="T32" y="T33"/>
                        </a:cxn>
                        <a:cxn ang="T97">
                          <a:pos x="T34" y="T35"/>
                        </a:cxn>
                        <a:cxn ang="T98">
                          <a:pos x="T36" y="T37"/>
                        </a:cxn>
                        <a:cxn ang="T99">
                          <a:pos x="T38" y="T39"/>
                        </a:cxn>
                        <a:cxn ang="T100">
                          <a:pos x="T40" y="T41"/>
                        </a:cxn>
                        <a:cxn ang="T101">
                          <a:pos x="T42" y="T43"/>
                        </a:cxn>
                        <a:cxn ang="T102">
                          <a:pos x="T44" y="T45"/>
                        </a:cxn>
                        <a:cxn ang="T103">
                          <a:pos x="T46" y="T47"/>
                        </a:cxn>
                        <a:cxn ang="T104">
                          <a:pos x="T48" y="T49"/>
                        </a:cxn>
                        <a:cxn ang="T105">
                          <a:pos x="T50" y="T51"/>
                        </a:cxn>
                        <a:cxn ang="T106">
                          <a:pos x="T52" y="T53"/>
                        </a:cxn>
                        <a:cxn ang="T107">
                          <a:pos x="T54" y="T55"/>
                        </a:cxn>
                        <a:cxn ang="T108">
                          <a:pos x="T56" y="T57"/>
                        </a:cxn>
                        <a:cxn ang="T109">
                          <a:pos x="T58" y="T59"/>
                        </a:cxn>
                        <a:cxn ang="T110">
                          <a:pos x="T60" y="T61"/>
                        </a:cxn>
                        <a:cxn ang="T111">
                          <a:pos x="T62" y="T63"/>
                        </a:cxn>
                        <a:cxn ang="T112">
                          <a:pos x="T64" y="T65"/>
                        </a:cxn>
                        <a:cxn ang="T113">
                          <a:pos x="T66" y="T67"/>
                        </a:cxn>
                        <a:cxn ang="T114">
                          <a:pos x="T68" y="T69"/>
                        </a:cxn>
                        <a:cxn ang="T115">
                          <a:pos x="T70" y="T71"/>
                        </a:cxn>
                        <a:cxn ang="T116">
                          <a:pos x="T72" y="T73"/>
                        </a:cxn>
                        <a:cxn ang="T117">
                          <a:pos x="T74" y="T75"/>
                        </a:cxn>
                        <a:cxn ang="T118">
                          <a:pos x="T76" y="T77"/>
                        </a:cxn>
                        <a:cxn ang="T119">
                          <a:pos x="T78" y="T79"/>
                        </a:cxn>
                      </a:cxnLst>
                      <a:rect l="T120" t="T121" r="T122" b="T123"/>
                      <a:pathLst>
                        <a:path w="160" h="58">
                          <a:moveTo>
                            <a:pt x="8" y="18"/>
                          </a:moveTo>
                          <a:lnTo>
                            <a:pt x="0" y="22"/>
                          </a:lnTo>
                          <a:lnTo>
                            <a:pt x="4" y="27"/>
                          </a:lnTo>
                          <a:lnTo>
                            <a:pt x="17" y="22"/>
                          </a:lnTo>
                          <a:lnTo>
                            <a:pt x="17" y="18"/>
                          </a:lnTo>
                          <a:lnTo>
                            <a:pt x="31" y="18"/>
                          </a:lnTo>
                          <a:lnTo>
                            <a:pt x="35" y="13"/>
                          </a:lnTo>
                          <a:lnTo>
                            <a:pt x="44" y="13"/>
                          </a:lnTo>
                          <a:lnTo>
                            <a:pt x="40" y="18"/>
                          </a:lnTo>
                          <a:lnTo>
                            <a:pt x="53" y="18"/>
                          </a:lnTo>
                          <a:lnTo>
                            <a:pt x="80" y="27"/>
                          </a:lnTo>
                          <a:lnTo>
                            <a:pt x="89" y="27"/>
                          </a:lnTo>
                          <a:lnTo>
                            <a:pt x="93" y="40"/>
                          </a:lnTo>
                          <a:lnTo>
                            <a:pt x="102" y="44"/>
                          </a:lnTo>
                          <a:lnTo>
                            <a:pt x="107" y="40"/>
                          </a:lnTo>
                          <a:lnTo>
                            <a:pt x="111" y="49"/>
                          </a:lnTo>
                          <a:lnTo>
                            <a:pt x="98" y="58"/>
                          </a:lnTo>
                          <a:lnTo>
                            <a:pt x="147" y="58"/>
                          </a:lnTo>
                          <a:lnTo>
                            <a:pt x="160" y="53"/>
                          </a:lnTo>
                          <a:lnTo>
                            <a:pt x="156" y="44"/>
                          </a:lnTo>
                          <a:lnTo>
                            <a:pt x="134" y="44"/>
                          </a:lnTo>
                          <a:lnTo>
                            <a:pt x="134" y="31"/>
                          </a:lnTo>
                          <a:lnTo>
                            <a:pt x="125" y="35"/>
                          </a:lnTo>
                          <a:lnTo>
                            <a:pt x="107" y="18"/>
                          </a:lnTo>
                          <a:lnTo>
                            <a:pt x="102" y="9"/>
                          </a:lnTo>
                          <a:lnTo>
                            <a:pt x="98" y="9"/>
                          </a:lnTo>
                          <a:lnTo>
                            <a:pt x="98" y="13"/>
                          </a:lnTo>
                          <a:lnTo>
                            <a:pt x="84" y="9"/>
                          </a:lnTo>
                          <a:lnTo>
                            <a:pt x="80" y="13"/>
                          </a:lnTo>
                          <a:lnTo>
                            <a:pt x="67" y="0"/>
                          </a:lnTo>
                          <a:lnTo>
                            <a:pt x="40" y="0"/>
                          </a:lnTo>
                          <a:lnTo>
                            <a:pt x="8" y="9"/>
                          </a:lnTo>
                          <a:lnTo>
                            <a:pt x="8" y="18"/>
                          </a:lnTo>
                          <a:close/>
                          <a:moveTo>
                            <a:pt x="31" y="22"/>
                          </a:moveTo>
                          <a:lnTo>
                            <a:pt x="31" y="27"/>
                          </a:lnTo>
                          <a:lnTo>
                            <a:pt x="22" y="27"/>
                          </a:lnTo>
                          <a:lnTo>
                            <a:pt x="31" y="31"/>
                          </a:lnTo>
                          <a:lnTo>
                            <a:pt x="35" y="27"/>
                          </a:lnTo>
                          <a:lnTo>
                            <a:pt x="35" y="22"/>
                          </a:lnTo>
                          <a:lnTo>
                            <a:pt x="31" y="2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4" name="Freeform 8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804" y="2356"/>
                      <a:ext cx="50" cy="34"/>
                    </a:xfrm>
                    <a:custGeom>
                      <a:avLst/>
                      <a:gdLst>
                        <a:gd name="T0" fmla="*/ 0 w 53"/>
                        <a:gd name="T1" fmla="*/ 9 h 36"/>
                        <a:gd name="T2" fmla="*/ 8 w 53"/>
                        <a:gd name="T3" fmla="*/ 9 h 36"/>
                        <a:gd name="T4" fmla="*/ 8 w 53"/>
                        <a:gd name="T5" fmla="*/ 9 h 36"/>
                        <a:gd name="T6" fmla="*/ 8 w 53"/>
                        <a:gd name="T7" fmla="*/ 9 h 36"/>
                        <a:gd name="T8" fmla="*/ 8 w 53"/>
                        <a:gd name="T9" fmla="*/ 9 h 36"/>
                        <a:gd name="T10" fmla="*/ 8 w 53"/>
                        <a:gd name="T11" fmla="*/ 9 h 36"/>
                        <a:gd name="T12" fmla="*/ 8 w 53"/>
                        <a:gd name="T13" fmla="*/ 9 h 36"/>
                        <a:gd name="T14" fmla="*/ 8 w 53"/>
                        <a:gd name="T15" fmla="*/ 9 h 36"/>
                        <a:gd name="T16" fmla="*/ 8 w 53"/>
                        <a:gd name="T17" fmla="*/ 9 h 36"/>
                        <a:gd name="T18" fmla="*/ 8 w 53"/>
                        <a:gd name="T19" fmla="*/ 9 h 36"/>
                        <a:gd name="T20" fmla="*/ 8 w 53"/>
                        <a:gd name="T21" fmla="*/ 9 h 36"/>
                        <a:gd name="T22" fmla="*/ 8 w 53"/>
                        <a:gd name="T23" fmla="*/ 4 h 36"/>
                        <a:gd name="T24" fmla="*/ 8 w 53"/>
                        <a:gd name="T25" fmla="*/ 4 h 36"/>
                        <a:gd name="T26" fmla="*/ 8 w 53"/>
                        <a:gd name="T27" fmla="*/ 0 h 36"/>
                        <a:gd name="T28" fmla="*/ 8 w 53"/>
                        <a:gd name="T29" fmla="*/ 0 h 36"/>
                        <a:gd name="T30" fmla="*/ 8 w 53"/>
                        <a:gd name="T31" fmla="*/ 0 h 36"/>
                        <a:gd name="T32" fmla="*/ 4 w 53"/>
                        <a:gd name="T33" fmla="*/ 0 h 36"/>
                        <a:gd name="T34" fmla="*/ 4 w 53"/>
                        <a:gd name="T35" fmla="*/ 9 h 36"/>
                        <a:gd name="T36" fmla="*/ 0 w 53"/>
                        <a:gd name="T37" fmla="*/ 9 h 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53"/>
                        <a:gd name="T58" fmla="*/ 0 h 36"/>
                        <a:gd name="T59" fmla="*/ 53 w 53"/>
                        <a:gd name="T60" fmla="*/ 36 h 36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53" h="36">
                          <a:moveTo>
                            <a:pt x="0" y="22"/>
                          </a:moveTo>
                          <a:lnTo>
                            <a:pt x="13" y="36"/>
                          </a:lnTo>
                          <a:lnTo>
                            <a:pt x="18" y="22"/>
                          </a:lnTo>
                          <a:lnTo>
                            <a:pt x="22" y="18"/>
                          </a:lnTo>
                          <a:lnTo>
                            <a:pt x="22" y="22"/>
                          </a:lnTo>
                          <a:lnTo>
                            <a:pt x="35" y="18"/>
                          </a:lnTo>
                          <a:lnTo>
                            <a:pt x="44" y="18"/>
                          </a:lnTo>
                          <a:lnTo>
                            <a:pt x="49" y="22"/>
                          </a:lnTo>
                          <a:lnTo>
                            <a:pt x="53" y="18"/>
                          </a:lnTo>
                          <a:lnTo>
                            <a:pt x="53" y="13"/>
                          </a:lnTo>
                          <a:lnTo>
                            <a:pt x="44" y="9"/>
                          </a:lnTo>
                          <a:lnTo>
                            <a:pt x="40" y="4"/>
                          </a:lnTo>
                          <a:lnTo>
                            <a:pt x="35" y="4"/>
                          </a:lnTo>
                          <a:lnTo>
                            <a:pt x="31" y="0"/>
                          </a:lnTo>
                          <a:lnTo>
                            <a:pt x="26" y="0"/>
                          </a:lnTo>
                          <a:lnTo>
                            <a:pt x="9" y="0"/>
                          </a:lnTo>
                          <a:lnTo>
                            <a:pt x="4" y="0"/>
                          </a:lnTo>
                          <a:lnTo>
                            <a:pt x="4" y="9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5" name="Freeform 86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1543" y="2609"/>
                      <a:ext cx="219" cy="89"/>
                    </a:xfrm>
                    <a:custGeom>
                      <a:avLst/>
                      <a:gdLst>
                        <a:gd name="T0" fmla="*/ 4 w 232"/>
                        <a:gd name="T1" fmla="*/ 9 h 94"/>
                        <a:gd name="T2" fmla="*/ 0 w 232"/>
                        <a:gd name="T3" fmla="*/ 9 h 94"/>
                        <a:gd name="T4" fmla="*/ 4 w 232"/>
                        <a:gd name="T5" fmla="*/ 9 h 94"/>
                        <a:gd name="T6" fmla="*/ 0 w 232"/>
                        <a:gd name="T7" fmla="*/ 9 h 94"/>
                        <a:gd name="T8" fmla="*/ 4 w 232"/>
                        <a:gd name="T9" fmla="*/ 9 h 94"/>
                        <a:gd name="T10" fmla="*/ 8 w 232"/>
                        <a:gd name="T11" fmla="*/ 9 h 94"/>
                        <a:gd name="T12" fmla="*/ 4 w 232"/>
                        <a:gd name="T13" fmla="*/ 9 h 94"/>
                        <a:gd name="T14" fmla="*/ 8 w 232"/>
                        <a:gd name="T15" fmla="*/ 9 h 94"/>
                        <a:gd name="T16" fmla="*/ 8 w 232"/>
                        <a:gd name="T17" fmla="*/ 9 h 94"/>
                        <a:gd name="T18" fmla="*/ 8 w 232"/>
                        <a:gd name="T19" fmla="*/ 9 h 94"/>
                        <a:gd name="T20" fmla="*/ 8 w 232"/>
                        <a:gd name="T21" fmla="*/ 9 h 94"/>
                        <a:gd name="T22" fmla="*/ 8 w 232"/>
                        <a:gd name="T23" fmla="*/ 9 h 94"/>
                        <a:gd name="T24" fmla="*/ 28 w 232"/>
                        <a:gd name="T25" fmla="*/ 16 h 94"/>
                        <a:gd name="T26" fmla="*/ 28 w 232"/>
                        <a:gd name="T27" fmla="*/ 17 h 94"/>
                        <a:gd name="T28" fmla="*/ 28 w 232"/>
                        <a:gd name="T29" fmla="*/ 18 h 94"/>
                        <a:gd name="T30" fmla="*/ 28 w 232"/>
                        <a:gd name="T31" fmla="*/ 20 h 94"/>
                        <a:gd name="T32" fmla="*/ 33 w 232"/>
                        <a:gd name="T33" fmla="*/ 20 h 94"/>
                        <a:gd name="T34" fmla="*/ 34 w 232"/>
                        <a:gd name="T35" fmla="*/ 14 h 94"/>
                        <a:gd name="T36" fmla="*/ 38 w 232"/>
                        <a:gd name="T37" fmla="*/ 12 h 94"/>
                        <a:gd name="T38" fmla="*/ 42 w 232"/>
                        <a:gd name="T39" fmla="*/ 9 h 94"/>
                        <a:gd name="T40" fmla="*/ 42 w 232"/>
                        <a:gd name="T41" fmla="*/ 9 h 94"/>
                        <a:gd name="T42" fmla="*/ 38 w 232"/>
                        <a:gd name="T43" fmla="*/ 9 h 94"/>
                        <a:gd name="T44" fmla="*/ 36 w 232"/>
                        <a:gd name="T45" fmla="*/ 9 h 94"/>
                        <a:gd name="T46" fmla="*/ 36 w 232"/>
                        <a:gd name="T47" fmla="*/ 9 h 94"/>
                        <a:gd name="T48" fmla="*/ 33 w 232"/>
                        <a:gd name="T49" fmla="*/ 0 h 94"/>
                        <a:gd name="T50" fmla="*/ 28 w 232"/>
                        <a:gd name="T51" fmla="*/ 9 h 94"/>
                        <a:gd name="T52" fmla="*/ 30 w 232"/>
                        <a:gd name="T53" fmla="*/ 9 h 94"/>
                        <a:gd name="T54" fmla="*/ 28 w 232"/>
                        <a:gd name="T55" fmla="*/ 9 h 94"/>
                        <a:gd name="T56" fmla="*/ 26 w 232"/>
                        <a:gd name="T57" fmla="*/ 9 h 94"/>
                        <a:gd name="T58" fmla="*/ 26 w 232"/>
                        <a:gd name="T59" fmla="*/ 9 h 94"/>
                        <a:gd name="T60" fmla="*/ 26 w 232"/>
                        <a:gd name="T61" fmla="*/ 11 h 94"/>
                        <a:gd name="T62" fmla="*/ 28 w 232"/>
                        <a:gd name="T63" fmla="*/ 12 h 94"/>
                        <a:gd name="T64" fmla="*/ 30 w 232"/>
                        <a:gd name="T65" fmla="*/ 11 h 94"/>
                        <a:gd name="T66" fmla="*/ 30 w 232"/>
                        <a:gd name="T67" fmla="*/ 12 h 94"/>
                        <a:gd name="T68" fmla="*/ 28 w 232"/>
                        <a:gd name="T69" fmla="*/ 16 h 94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w 232"/>
                        <a:gd name="T106" fmla="*/ 0 h 94"/>
                        <a:gd name="T107" fmla="*/ 232 w 232"/>
                        <a:gd name="T108" fmla="*/ 94 h 94"/>
                      </a:gdLst>
                      <a:ahLst/>
                      <a:cxnLst>
                        <a:cxn ang="T70">
                          <a:pos x="T0" y="T1"/>
                        </a:cxn>
                        <a:cxn ang="T71">
                          <a:pos x="T2" y="T3"/>
                        </a:cxn>
                        <a:cxn ang="T72">
                          <a:pos x="T4" y="T5"/>
                        </a:cxn>
                        <a:cxn ang="T73">
                          <a:pos x="T6" y="T7"/>
                        </a:cxn>
                        <a:cxn ang="T74">
                          <a:pos x="T8" y="T9"/>
                        </a:cxn>
                        <a:cxn ang="T75">
                          <a:pos x="T10" y="T11"/>
                        </a:cxn>
                        <a:cxn ang="T76">
                          <a:pos x="T12" y="T13"/>
                        </a:cxn>
                        <a:cxn ang="T77">
                          <a:pos x="T14" y="T15"/>
                        </a:cxn>
                        <a:cxn ang="T78">
                          <a:pos x="T16" y="T17"/>
                        </a:cxn>
                        <a:cxn ang="T79">
                          <a:pos x="T18" y="T19"/>
                        </a:cxn>
                        <a:cxn ang="T80">
                          <a:pos x="T20" y="T21"/>
                        </a:cxn>
                        <a:cxn ang="T81">
                          <a:pos x="T22" y="T23"/>
                        </a:cxn>
                        <a:cxn ang="T82">
                          <a:pos x="T24" y="T25"/>
                        </a:cxn>
                        <a:cxn ang="T83">
                          <a:pos x="T26" y="T27"/>
                        </a:cxn>
                        <a:cxn ang="T84">
                          <a:pos x="T28" y="T29"/>
                        </a:cxn>
                        <a:cxn ang="T85">
                          <a:pos x="T30" y="T31"/>
                        </a:cxn>
                        <a:cxn ang="T86">
                          <a:pos x="T32" y="T33"/>
                        </a:cxn>
                        <a:cxn ang="T87">
                          <a:pos x="T34" y="T35"/>
                        </a:cxn>
                        <a:cxn ang="T88">
                          <a:pos x="T36" y="T37"/>
                        </a:cxn>
                        <a:cxn ang="T89">
                          <a:pos x="T38" y="T39"/>
                        </a:cxn>
                        <a:cxn ang="T90">
                          <a:pos x="T40" y="T41"/>
                        </a:cxn>
                        <a:cxn ang="T91">
                          <a:pos x="T42" y="T43"/>
                        </a:cxn>
                        <a:cxn ang="T92">
                          <a:pos x="T44" y="T45"/>
                        </a:cxn>
                        <a:cxn ang="T93">
                          <a:pos x="T46" y="T47"/>
                        </a:cxn>
                        <a:cxn ang="T94">
                          <a:pos x="T48" y="T49"/>
                        </a:cxn>
                        <a:cxn ang="T95">
                          <a:pos x="T50" y="T51"/>
                        </a:cxn>
                        <a:cxn ang="T96">
                          <a:pos x="T52" y="T53"/>
                        </a:cxn>
                        <a:cxn ang="T97">
                          <a:pos x="T54" y="T55"/>
                        </a:cxn>
                        <a:cxn ang="T98">
                          <a:pos x="T56" y="T57"/>
                        </a:cxn>
                        <a:cxn ang="T99">
                          <a:pos x="T58" y="T59"/>
                        </a:cxn>
                        <a:cxn ang="T100">
                          <a:pos x="T60" y="T61"/>
                        </a:cxn>
                        <a:cxn ang="T101">
                          <a:pos x="T62" y="T63"/>
                        </a:cxn>
                        <a:cxn ang="T102">
                          <a:pos x="T64" y="T65"/>
                        </a:cxn>
                        <a:cxn ang="T103">
                          <a:pos x="T66" y="T67"/>
                        </a:cxn>
                        <a:cxn ang="T104">
                          <a:pos x="T68" y="T69"/>
                        </a:cxn>
                      </a:cxnLst>
                      <a:rect l="T105" t="T106" r="T107" b="T108"/>
                      <a:pathLst>
                        <a:path w="232" h="94">
                          <a:moveTo>
                            <a:pt x="4" y="22"/>
                          </a:moveTo>
                          <a:lnTo>
                            <a:pt x="0" y="27"/>
                          </a:lnTo>
                          <a:lnTo>
                            <a:pt x="4" y="36"/>
                          </a:lnTo>
                          <a:lnTo>
                            <a:pt x="0" y="40"/>
                          </a:lnTo>
                          <a:lnTo>
                            <a:pt x="4" y="45"/>
                          </a:lnTo>
                          <a:lnTo>
                            <a:pt x="9" y="40"/>
                          </a:lnTo>
                          <a:lnTo>
                            <a:pt x="4" y="22"/>
                          </a:lnTo>
                          <a:close/>
                          <a:moveTo>
                            <a:pt x="13" y="31"/>
                          </a:moveTo>
                          <a:lnTo>
                            <a:pt x="13" y="31"/>
                          </a:lnTo>
                          <a:lnTo>
                            <a:pt x="18" y="40"/>
                          </a:lnTo>
                          <a:lnTo>
                            <a:pt x="18" y="36"/>
                          </a:lnTo>
                          <a:lnTo>
                            <a:pt x="13" y="31"/>
                          </a:lnTo>
                          <a:close/>
                          <a:moveTo>
                            <a:pt x="161" y="76"/>
                          </a:moveTo>
                          <a:lnTo>
                            <a:pt x="161" y="80"/>
                          </a:lnTo>
                          <a:lnTo>
                            <a:pt x="156" y="85"/>
                          </a:lnTo>
                          <a:lnTo>
                            <a:pt x="161" y="94"/>
                          </a:lnTo>
                          <a:lnTo>
                            <a:pt x="183" y="94"/>
                          </a:lnTo>
                          <a:lnTo>
                            <a:pt x="187" y="71"/>
                          </a:lnTo>
                          <a:lnTo>
                            <a:pt x="210" y="62"/>
                          </a:lnTo>
                          <a:lnTo>
                            <a:pt x="232" y="36"/>
                          </a:lnTo>
                          <a:lnTo>
                            <a:pt x="232" y="27"/>
                          </a:lnTo>
                          <a:lnTo>
                            <a:pt x="210" y="13"/>
                          </a:lnTo>
                          <a:lnTo>
                            <a:pt x="201" y="18"/>
                          </a:lnTo>
                          <a:lnTo>
                            <a:pt x="196" y="13"/>
                          </a:lnTo>
                          <a:lnTo>
                            <a:pt x="183" y="0"/>
                          </a:lnTo>
                          <a:lnTo>
                            <a:pt x="161" y="9"/>
                          </a:lnTo>
                          <a:lnTo>
                            <a:pt x="165" y="18"/>
                          </a:lnTo>
                          <a:lnTo>
                            <a:pt x="156" y="36"/>
                          </a:lnTo>
                          <a:lnTo>
                            <a:pt x="152" y="36"/>
                          </a:lnTo>
                          <a:lnTo>
                            <a:pt x="152" y="45"/>
                          </a:lnTo>
                          <a:lnTo>
                            <a:pt x="147" y="58"/>
                          </a:lnTo>
                          <a:lnTo>
                            <a:pt x="156" y="62"/>
                          </a:lnTo>
                          <a:lnTo>
                            <a:pt x="169" y="58"/>
                          </a:lnTo>
                          <a:lnTo>
                            <a:pt x="169" y="62"/>
                          </a:lnTo>
                          <a:lnTo>
                            <a:pt x="161" y="76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6" name="Freeform 8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555" y="2432"/>
                      <a:ext cx="34" cy="22"/>
                    </a:xfrm>
                    <a:custGeom>
                      <a:avLst/>
                      <a:gdLst>
                        <a:gd name="T0" fmla="*/ 0 w 36"/>
                        <a:gd name="T1" fmla="*/ 9 h 23"/>
                        <a:gd name="T2" fmla="*/ 9 w 36"/>
                        <a:gd name="T3" fmla="*/ 11 h 23"/>
                        <a:gd name="T4" fmla="*/ 9 w 36"/>
                        <a:gd name="T5" fmla="*/ 11 h 23"/>
                        <a:gd name="T6" fmla="*/ 9 w 36"/>
                        <a:gd name="T7" fmla="*/ 11 h 23"/>
                        <a:gd name="T8" fmla="*/ 9 w 36"/>
                        <a:gd name="T9" fmla="*/ 5 h 23"/>
                        <a:gd name="T10" fmla="*/ 9 w 36"/>
                        <a:gd name="T11" fmla="*/ 5 h 23"/>
                        <a:gd name="T12" fmla="*/ 9 w 36"/>
                        <a:gd name="T13" fmla="*/ 0 h 23"/>
                        <a:gd name="T14" fmla="*/ 9 w 36"/>
                        <a:gd name="T15" fmla="*/ 0 h 23"/>
                        <a:gd name="T16" fmla="*/ 9 w 36"/>
                        <a:gd name="T17" fmla="*/ 5 h 23"/>
                        <a:gd name="T18" fmla="*/ 0 w 36"/>
                        <a:gd name="T19" fmla="*/ 9 h 23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36"/>
                        <a:gd name="T31" fmla="*/ 0 h 23"/>
                        <a:gd name="T32" fmla="*/ 36 w 36"/>
                        <a:gd name="T33" fmla="*/ 23 h 23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36" h="23">
                          <a:moveTo>
                            <a:pt x="0" y="9"/>
                          </a:moveTo>
                          <a:lnTo>
                            <a:pt x="27" y="23"/>
                          </a:lnTo>
                          <a:lnTo>
                            <a:pt x="36" y="18"/>
                          </a:lnTo>
                          <a:lnTo>
                            <a:pt x="36" y="5"/>
                          </a:lnTo>
                          <a:lnTo>
                            <a:pt x="27" y="5"/>
                          </a:lnTo>
                          <a:lnTo>
                            <a:pt x="22" y="0"/>
                          </a:lnTo>
                          <a:lnTo>
                            <a:pt x="14" y="0"/>
                          </a:lnTo>
                          <a:lnTo>
                            <a:pt x="14" y="5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7" name="Freeform 88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1964" y="3457"/>
                      <a:ext cx="42" cy="25"/>
                    </a:xfrm>
                    <a:custGeom>
                      <a:avLst/>
                      <a:gdLst>
                        <a:gd name="T0" fmla="*/ 7 w 45"/>
                        <a:gd name="T1" fmla="*/ 5 h 27"/>
                        <a:gd name="T2" fmla="*/ 0 w 45"/>
                        <a:gd name="T3" fmla="*/ 0 h 27"/>
                        <a:gd name="T4" fmla="*/ 7 w 45"/>
                        <a:gd name="T5" fmla="*/ 6 h 27"/>
                        <a:gd name="T6" fmla="*/ 0 w 45"/>
                        <a:gd name="T7" fmla="*/ 6 h 27"/>
                        <a:gd name="T8" fmla="*/ 5 w 45"/>
                        <a:gd name="T9" fmla="*/ 6 h 27"/>
                        <a:gd name="T10" fmla="*/ 7 w 45"/>
                        <a:gd name="T11" fmla="*/ 6 h 27"/>
                        <a:gd name="T12" fmla="*/ 7 w 45"/>
                        <a:gd name="T13" fmla="*/ 5 h 27"/>
                        <a:gd name="T14" fmla="*/ 7 w 45"/>
                        <a:gd name="T15" fmla="*/ 0 h 27"/>
                        <a:gd name="T16" fmla="*/ 7 w 45"/>
                        <a:gd name="T17" fmla="*/ 6 h 27"/>
                        <a:gd name="T18" fmla="*/ 7 w 45"/>
                        <a:gd name="T19" fmla="*/ 6 h 27"/>
                        <a:gd name="T20" fmla="*/ 7 w 45"/>
                        <a:gd name="T21" fmla="*/ 6 h 27"/>
                        <a:gd name="T22" fmla="*/ 7 w 45"/>
                        <a:gd name="T23" fmla="*/ 6 h 27"/>
                        <a:gd name="T24" fmla="*/ 7 w 45"/>
                        <a:gd name="T25" fmla="*/ 6 h 27"/>
                        <a:gd name="T26" fmla="*/ 7 w 45"/>
                        <a:gd name="T27" fmla="*/ 6 h 27"/>
                        <a:gd name="T28" fmla="*/ 7 w 45"/>
                        <a:gd name="T29" fmla="*/ 6 h 27"/>
                        <a:gd name="T30" fmla="*/ 7 w 45"/>
                        <a:gd name="T31" fmla="*/ 5 h 27"/>
                        <a:gd name="T32" fmla="*/ 7 w 45"/>
                        <a:gd name="T33" fmla="*/ 0 h 27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5"/>
                        <a:gd name="T52" fmla="*/ 0 h 27"/>
                        <a:gd name="T53" fmla="*/ 45 w 45"/>
                        <a:gd name="T54" fmla="*/ 27 h 27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5" h="27">
                          <a:moveTo>
                            <a:pt x="18" y="5"/>
                          </a:moveTo>
                          <a:lnTo>
                            <a:pt x="0" y="0"/>
                          </a:lnTo>
                          <a:lnTo>
                            <a:pt x="9" y="9"/>
                          </a:lnTo>
                          <a:lnTo>
                            <a:pt x="0" y="22"/>
                          </a:lnTo>
                          <a:lnTo>
                            <a:pt x="5" y="27"/>
                          </a:lnTo>
                          <a:lnTo>
                            <a:pt x="14" y="18"/>
                          </a:lnTo>
                          <a:lnTo>
                            <a:pt x="18" y="5"/>
                          </a:lnTo>
                          <a:close/>
                          <a:moveTo>
                            <a:pt x="23" y="0"/>
                          </a:moveTo>
                          <a:lnTo>
                            <a:pt x="23" y="9"/>
                          </a:lnTo>
                          <a:lnTo>
                            <a:pt x="18" y="9"/>
                          </a:lnTo>
                          <a:lnTo>
                            <a:pt x="14" y="22"/>
                          </a:lnTo>
                          <a:lnTo>
                            <a:pt x="23" y="27"/>
                          </a:lnTo>
                          <a:lnTo>
                            <a:pt x="27" y="27"/>
                          </a:lnTo>
                          <a:lnTo>
                            <a:pt x="36" y="18"/>
                          </a:lnTo>
                          <a:lnTo>
                            <a:pt x="45" y="9"/>
                          </a:lnTo>
                          <a:lnTo>
                            <a:pt x="41" y="5"/>
                          </a:lnTo>
                          <a:lnTo>
                            <a:pt x="23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8" name="Freeform 8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040" y="2555"/>
                      <a:ext cx="42" cy="50"/>
                    </a:xfrm>
                    <a:custGeom>
                      <a:avLst/>
                      <a:gdLst>
                        <a:gd name="T0" fmla="*/ 9 w 44"/>
                        <a:gd name="T1" fmla="*/ 4 h 53"/>
                        <a:gd name="T2" fmla="*/ 4 w 44"/>
                        <a:gd name="T3" fmla="*/ 8 h 53"/>
                        <a:gd name="T4" fmla="*/ 11 w 44"/>
                        <a:gd name="T5" fmla="*/ 8 h 53"/>
                        <a:gd name="T6" fmla="*/ 0 w 44"/>
                        <a:gd name="T7" fmla="*/ 8 h 53"/>
                        <a:gd name="T8" fmla="*/ 9 w 44"/>
                        <a:gd name="T9" fmla="*/ 8 h 53"/>
                        <a:gd name="T10" fmla="*/ 11 w 44"/>
                        <a:gd name="T11" fmla="*/ 8 h 53"/>
                        <a:gd name="T12" fmla="*/ 11 w 44"/>
                        <a:gd name="T13" fmla="*/ 8 h 53"/>
                        <a:gd name="T14" fmla="*/ 11 w 44"/>
                        <a:gd name="T15" fmla="*/ 8 h 53"/>
                        <a:gd name="T16" fmla="*/ 11 w 44"/>
                        <a:gd name="T17" fmla="*/ 8 h 53"/>
                        <a:gd name="T18" fmla="*/ 11 w 44"/>
                        <a:gd name="T19" fmla="*/ 4 h 53"/>
                        <a:gd name="T20" fmla="*/ 11 w 44"/>
                        <a:gd name="T21" fmla="*/ 0 h 53"/>
                        <a:gd name="T22" fmla="*/ 9 w 44"/>
                        <a:gd name="T23" fmla="*/ 4 h 53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w 44"/>
                        <a:gd name="T37" fmla="*/ 0 h 53"/>
                        <a:gd name="T38" fmla="*/ 44 w 44"/>
                        <a:gd name="T39" fmla="*/ 53 h 53"/>
                      </a:gdLst>
                      <a:ahLst/>
                      <a:cxnLst>
                        <a:cxn ang="T24">
                          <a:pos x="T0" y="T1"/>
                        </a:cxn>
                        <a:cxn ang="T25">
                          <a:pos x="T2" y="T3"/>
                        </a:cxn>
                        <a:cxn ang="T26">
                          <a:pos x="T4" y="T5"/>
                        </a:cxn>
                        <a:cxn ang="T27">
                          <a:pos x="T6" y="T7"/>
                        </a:cxn>
                        <a:cxn ang="T28">
                          <a:pos x="T8" y="T9"/>
                        </a:cxn>
                        <a:cxn ang="T29">
                          <a:pos x="T10" y="T11"/>
                        </a:cxn>
                        <a:cxn ang="T30">
                          <a:pos x="T12" y="T13"/>
                        </a:cxn>
                        <a:cxn ang="T31">
                          <a:pos x="T14" y="T15"/>
                        </a:cxn>
                        <a:cxn ang="T32">
                          <a:pos x="T16" y="T17"/>
                        </a:cxn>
                        <a:cxn ang="T33">
                          <a:pos x="T18" y="T19"/>
                        </a:cxn>
                        <a:cxn ang="T34">
                          <a:pos x="T20" y="T21"/>
                        </a:cxn>
                        <a:cxn ang="T35">
                          <a:pos x="T22" y="T23"/>
                        </a:cxn>
                      </a:cxnLst>
                      <a:rect l="T36" t="T37" r="T38" b="T39"/>
                      <a:pathLst>
                        <a:path w="44" h="53">
                          <a:moveTo>
                            <a:pt x="9" y="4"/>
                          </a:moveTo>
                          <a:lnTo>
                            <a:pt x="4" y="13"/>
                          </a:lnTo>
                          <a:lnTo>
                            <a:pt x="13" y="31"/>
                          </a:lnTo>
                          <a:lnTo>
                            <a:pt x="0" y="45"/>
                          </a:lnTo>
                          <a:lnTo>
                            <a:pt x="9" y="53"/>
                          </a:lnTo>
                          <a:lnTo>
                            <a:pt x="22" y="53"/>
                          </a:lnTo>
                          <a:lnTo>
                            <a:pt x="36" y="45"/>
                          </a:lnTo>
                          <a:lnTo>
                            <a:pt x="44" y="27"/>
                          </a:lnTo>
                          <a:lnTo>
                            <a:pt x="40" y="18"/>
                          </a:lnTo>
                          <a:lnTo>
                            <a:pt x="27" y="4"/>
                          </a:lnTo>
                          <a:lnTo>
                            <a:pt x="13" y="0"/>
                          </a:lnTo>
                          <a:lnTo>
                            <a:pt x="9" y="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79" name="Freeform 90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729" y="2770"/>
                      <a:ext cx="236" cy="274"/>
                    </a:xfrm>
                    <a:custGeom>
                      <a:avLst/>
                      <a:gdLst>
                        <a:gd name="T0" fmla="*/ 0 w 250"/>
                        <a:gd name="T1" fmla="*/ 20 h 290"/>
                        <a:gd name="T2" fmla="*/ 0 w 250"/>
                        <a:gd name="T3" fmla="*/ 20 h 290"/>
                        <a:gd name="T4" fmla="*/ 4 w 250"/>
                        <a:gd name="T5" fmla="*/ 20 h 290"/>
                        <a:gd name="T6" fmla="*/ 0 w 250"/>
                        <a:gd name="T7" fmla="*/ 20 h 290"/>
                        <a:gd name="T8" fmla="*/ 8 w 250"/>
                        <a:gd name="T9" fmla="*/ 23 h 290"/>
                        <a:gd name="T10" fmla="*/ 8 w 250"/>
                        <a:gd name="T11" fmla="*/ 23 h 290"/>
                        <a:gd name="T12" fmla="*/ 8 w 250"/>
                        <a:gd name="T13" fmla="*/ 24 h 290"/>
                        <a:gd name="T14" fmla="*/ 8 w 250"/>
                        <a:gd name="T15" fmla="*/ 23 h 290"/>
                        <a:gd name="T16" fmla="*/ 8 w 250"/>
                        <a:gd name="T17" fmla="*/ 23 h 290"/>
                        <a:gd name="T18" fmla="*/ 8 w 250"/>
                        <a:gd name="T19" fmla="*/ 16 h 290"/>
                        <a:gd name="T20" fmla="*/ 8 w 250"/>
                        <a:gd name="T21" fmla="*/ 17 h 290"/>
                        <a:gd name="T22" fmla="*/ 9 w 250"/>
                        <a:gd name="T23" fmla="*/ 17 h 290"/>
                        <a:gd name="T24" fmla="*/ 8 w 250"/>
                        <a:gd name="T25" fmla="*/ 16 h 290"/>
                        <a:gd name="T26" fmla="*/ 8 w 250"/>
                        <a:gd name="T27" fmla="*/ 16 h 290"/>
                        <a:gd name="T28" fmla="*/ 15 w 250"/>
                        <a:gd name="T29" fmla="*/ 19 h 290"/>
                        <a:gd name="T30" fmla="*/ 16 w 250"/>
                        <a:gd name="T31" fmla="*/ 20 h 290"/>
                        <a:gd name="T32" fmla="*/ 17 w 250"/>
                        <a:gd name="T33" fmla="*/ 20 h 290"/>
                        <a:gd name="T34" fmla="*/ 16 w 250"/>
                        <a:gd name="T35" fmla="*/ 19 h 290"/>
                        <a:gd name="T36" fmla="*/ 15 w 250"/>
                        <a:gd name="T37" fmla="*/ 19 h 290"/>
                        <a:gd name="T38" fmla="*/ 19 w 250"/>
                        <a:gd name="T39" fmla="*/ 52 h 290"/>
                        <a:gd name="T40" fmla="*/ 19 w 250"/>
                        <a:gd name="T41" fmla="*/ 52 h 290"/>
                        <a:gd name="T42" fmla="*/ 20 w 250"/>
                        <a:gd name="T43" fmla="*/ 53 h 290"/>
                        <a:gd name="T44" fmla="*/ 20 w 250"/>
                        <a:gd name="T45" fmla="*/ 52 h 290"/>
                        <a:gd name="T46" fmla="*/ 19 w 250"/>
                        <a:gd name="T47" fmla="*/ 52 h 290"/>
                        <a:gd name="T48" fmla="*/ 21 w 250"/>
                        <a:gd name="T49" fmla="*/ 19 h 290"/>
                        <a:gd name="T50" fmla="*/ 21 w 250"/>
                        <a:gd name="T51" fmla="*/ 20 h 290"/>
                        <a:gd name="T52" fmla="*/ 22 w 250"/>
                        <a:gd name="T53" fmla="*/ 20 h 290"/>
                        <a:gd name="T54" fmla="*/ 22 w 250"/>
                        <a:gd name="T55" fmla="*/ 20 h 290"/>
                        <a:gd name="T56" fmla="*/ 21 w 250"/>
                        <a:gd name="T57" fmla="*/ 19 h 290"/>
                        <a:gd name="T58" fmla="*/ 22 w 250"/>
                        <a:gd name="T59" fmla="*/ 31 h 290"/>
                        <a:gd name="T60" fmla="*/ 22 w 250"/>
                        <a:gd name="T61" fmla="*/ 31 h 290"/>
                        <a:gd name="T62" fmla="*/ 22 w 250"/>
                        <a:gd name="T63" fmla="*/ 31 h 290"/>
                        <a:gd name="T64" fmla="*/ 22 w 250"/>
                        <a:gd name="T65" fmla="*/ 31 h 290"/>
                        <a:gd name="T66" fmla="*/ 22 w 250"/>
                        <a:gd name="T67" fmla="*/ 31 h 290"/>
                        <a:gd name="T68" fmla="*/ 22 w 250"/>
                        <a:gd name="T69" fmla="*/ 31 h 290"/>
                        <a:gd name="T70" fmla="*/ 26 w 250"/>
                        <a:gd name="T71" fmla="*/ 24 h 290"/>
                        <a:gd name="T72" fmla="*/ 28 w 250"/>
                        <a:gd name="T73" fmla="*/ 24 h 290"/>
                        <a:gd name="T74" fmla="*/ 28 w 250"/>
                        <a:gd name="T75" fmla="*/ 24 h 290"/>
                        <a:gd name="T76" fmla="*/ 26 w 250"/>
                        <a:gd name="T77" fmla="*/ 24 h 290"/>
                        <a:gd name="T78" fmla="*/ 26 w 250"/>
                        <a:gd name="T79" fmla="*/ 24 h 290"/>
                        <a:gd name="T80" fmla="*/ 32 w 250"/>
                        <a:gd name="T81" fmla="*/ 0 h 290"/>
                        <a:gd name="T82" fmla="*/ 32 w 250"/>
                        <a:gd name="T83" fmla="*/ 0 h 290"/>
                        <a:gd name="T84" fmla="*/ 32 w 250"/>
                        <a:gd name="T85" fmla="*/ 0 h 290"/>
                        <a:gd name="T86" fmla="*/ 32 w 250"/>
                        <a:gd name="T87" fmla="*/ 0 h 290"/>
                        <a:gd name="T88" fmla="*/ 32 w 250"/>
                        <a:gd name="T89" fmla="*/ 0 h 290"/>
                        <a:gd name="T90" fmla="*/ 38 w 250"/>
                        <a:gd name="T91" fmla="*/ 24 h 290"/>
                        <a:gd name="T92" fmla="*/ 38 w 250"/>
                        <a:gd name="T93" fmla="*/ 25 h 290"/>
                        <a:gd name="T94" fmla="*/ 38 w 250"/>
                        <a:gd name="T95" fmla="*/ 24 h 290"/>
                        <a:gd name="T96" fmla="*/ 38 w 250"/>
                        <a:gd name="T97" fmla="*/ 24 h 290"/>
                        <a:gd name="T98" fmla="*/ 42 w 250"/>
                        <a:gd name="T99" fmla="*/ 37 h 290"/>
                        <a:gd name="T100" fmla="*/ 42 w 250"/>
                        <a:gd name="T101" fmla="*/ 38 h 290"/>
                        <a:gd name="T102" fmla="*/ 42 w 250"/>
                        <a:gd name="T103" fmla="*/ 38 h 290"/>
                        <a:gd name="T104" fmla="*/ 42 w 250"/>
                        <a:gd name="T105" fmla="*/ 37 h 290"/>
                        <a:gd name="T106" fmla="*/ 42 w 250"/>
                        <a:gd name="T107" fmla="*/ 37 h 290"/>
                        <a:gd name="T108" fmla="*/ 43 w 250"/>
                        <a:gd name="T109" fmla="*/ 38 h 290"/>
                        <a:gd name="T110" fmla="*/ 43 w 250"/>
                        <a:gd name="T111" fmla="*/ 38 h 290"/>
                        <a:gd name="T112" fmla="*/ 44 w 250"/>
                        <a:gd name="T113" fmla="*/ 39 h 290"/>
                        <a:gd name="T114" fmla="*/ 44 w 250"/>
                        <a:gd name="T115" fmla="*/ 38 h 290"/>
                        <a:gd name="T116" fmla="*/ 43 w 250"/>
                        <a:gd name="T117" fmla="*/ 38 h 290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w 250"/>
                        <a:gd name="T178" fmla="*/ 0 h 290"/>
                        <a:gd name="T179" fmla="*/ 250 w 250"/>
                        <a:gd name="T180" fmla="*/ 290 h 290"/>
                      </a:gdLst>
                      <a:ahLst/>
                      <a:cxnLst>
                        <a:cxn ang="T118">
                          <a:pos x="T0" y="T1"/>
                        </a:cxn>
                        <a:cxn ang="T119">
                          <a:pos x="T2" y="T3"/>
                        </a:cxn>
                        <a:cxn ang="T120">
                          <a:pos x="T4" y="T5"/>
                        </a:cxn>
                        <a:cxn ang="T121">
                          <a:pos x="T6" y="T7"/>
                        </a:cxn>
                        <a:cxn ang="T122">
                          <a:pos x="T8" y="T9"/>
                        </a:cxn>
                        <a:cxn ang="T123">
                          <a:pos x="T10" y="T11"/>
                        </a:cxn>
                        <a:cxn ang="T124">
                          <a:pos x="T12" y="T13"/>
                        </a:cxn>
                        <a:cxn ang="T125">
                          <a:pos x="T14" y="T15"/>
                        </a:cxn>
                        <a:cxn ang="T126">
                          <a:pos x="T16" y="T17"/>
                        </a:cxn>
                        <a:cxn ang="T127">
                          <a:pos x="T18" y="T19"/>
                        </a:cxn>
                        <a:cxn ang="T128">
                          <a:pos x="T20" y="T21"/>
                        </a:cxn>
                        <a:cxn ang="T129">
                          <a:pos x="T22" y="T23"/>
                        </a:cxn>
                        <a:cxn ang="T130">
                          <a:pos x="T24" y="T25"/>
                        </a:cxn>
                        <a:cxn ang="T131">
                          <a:pos x="T26" y="T27"/>
                        </a:cxn>
                        <a:cxn ang="T132">
                          <a:pos x="T28" y="T29"/>
                        </a:cxn>
                        <a:cxn ang="T133">
                          <a:pos x="T30" y="T31"/>
                        </a:cxn>
                        <a:cxn ang="T134">
                          <a:pos x="T32" y="T33"/>
                        </a:cxn>
                        <a:cxn ang="T135">
                          <a:pos x="T34" y="T35"/>
                        </a:cxn>
                        <a:cxn ang="T136">
                          <a:pos x="T36" y="T37"/>
                        </a:cxn>
                        <a:cxn ang="T137">
                          <a:pos x="T38" y="T39"/>
                        </a:cxn>
                        <a:cxn ang="T138">
                          <a:pos x="T40" y="T41"/>
                        </a:cxn>
                        <a:cxn ang="T139">
                          <a:pos x="T42" y="T43"/>
                        </a:cxn>
                        <a:cxn ang="T140">
                          <a:pos x="T44" y="T45"/>
                        </a:cxn>
                        <a:cxn ang="T141">
                          <a:pos x="T46" y="T47"/>
                        </a:cxn>
                        <a:cxn ang="T142">
                          <a:pos x="T48" y="T49"/>
                        </a:cxn>
                        <a:cxn ang="T143">
                          <a:pos x="T50" y="T51"/>
                        </a:cxn>
                        <a:cxn ang="T144">
                          <a:pos x="T52" y="T53"/>
                        </a:cxn>
                        <a:cxn ang="T145">
                          <a:pos x="T54" y="T55"/>
                        </a:cxn>
                        <a:cxn ang="T146">
                          <a:pos x="T56" y="T57"/>
                        </a:cxn>
                        <a:cxn ang="T147">
                          <a:pos x="T58" y="T59"/>
                        </a:cxn>
                        <a:cxn ang="T148">
                          <a:pos x="T60" y="T61"/>
                        </a:cxn>
                        <a:cxn ang="T149">
                          <a:pos x="T62" y="T63"/>
                        </a:cxn>
                        <a:cxn ang="T150">
                          <a:pos x="T64" y="T65"/>
                        </a:cxn>
                        <a:cxn ang="T151">
                          <a:pos x="T66" y="T67"/>
                        </a:cxn>
                        <a:cxn ang="T152">
                          <a:pos x="T68" y="T69"/>
                        </a:cxn>
                        <a:cxn ang="T153">
                          <a:pos x="T70" y="T71"/>
                        </a:cxn>
                        <a:cxn ang="T154">
                          <a:pos x="T72" y="T73"/>
                        </a:cxn>
                        <a:cxn ang="T155">
                          <a:pos x="T74" y="T75"/>
                        </a:cxn>
                        <a:cxn ang="T156">
                          <a:pos x="T76" y="T77"/>
                        </a:cxn>
                        <a:cxn ang="T157">
                          <a:pos x="T78" y="T79"/>
                        </a:cxn>
                        <a:cxn ang="T158">
                          <a:pos x="T80" y="T81"/>
                        </a:cxn>
                        <a:cxn ang="T159">
                          <a:pos x="T82" y="T83"/>
                        </a:cxn>
                        <a:cxn ang="T160">
                          <a:pos x="T84" y="T85"/>
                        </a:cxn>
                        <a:cxn ang="T161">
                          <a:pos x="T86" y="T87"/>
                        </a:cxn>
                        <a:cxn ang="T162">
                          <a:pos x="T88" y="T89"/>
                        </a:cxn>
                        <a:cxn ang="T163">
                          <a:pos x="T90" y="T91"/>
                        </a:cxn>
                        <a:cxn ang="T164">
                          <a:pos x="T92" y="T93"/>
                        </a:cxn>
                        <a:cxn ang="T165">
                          <a:pos x="T94" y="T95"/>
                        </a:cxn>
                        <a:cxn ang="T166">
                          <a:pos x="T96" y="T97"/>
                        </a:cxn>
                        <a:cxn ang="T167">
                          <a:pos x="T98" y="T99"/>
                        </a:cxn>
                        <a:cxn ang="T168">
                          <a:pos x="T100" y="T101"/>
                        </a:cxn>
                        <a:cxn ang="T169">
                          <a:pos x="T102" y="T103"/>
                        </a:cxn>
                        <a:cxn ang="T170">
                          <a:pos x="T104" y="T105"/>
                        </a:cxn>
                        <a:cxn ang="T171">
                          <a:pos x="T106" y="T107"/>
                        </a:cxn>
                        <a:cxn ang="T172">
                          <a:pos x="T108" y="T109"/>
                        </a:cxn>
                        <a:cxn ang="T173">
                          <a:pos x="T110" y="T111"/>
                        </a:cxn>
                        <a:cxn ang="T174">
                          <a:pos x="T112" y="T113"/>
                        </a:cxn>
                        <a:cxn ang="T175">
                          <a:pos x="T114" y="T115"/>
                        </a:cxn>
                        <a:cxn ang="T176">
                          <a:pos x="T116" y="T117"/>
                        </a:cxn>
                      </a:cxnLst>
                      <a:rect l="T177" t="T178" r="T179" b="T180"/>
                      <a:pathLst>
                        <a:path w="250" h="290">
                          <a:moveTo>
                            <a:pt x="0" y="103"/>
                          </a:moveTo>
                          <a:lnTo>
                            <a:pt x="0" y="103"/>
                          </a:lnTo>
                          <a:lnTo>
                            <a:pt x="4" y="103"/>
                          </a:lnTo>
                          <a:lnTo>
                            <a:pt x="0" y="103"/>
                          </a:lnTo>
                          <a:close/>
                          <a:moveTo>
                            <a:pt x="26" y="120"/>
                          </a:moveTo>
                          <a:lnTo>
                            <a:pt x="26" y="120"/>
                          </a:lnTo>
                          <a:lnTo>
                            <a:pt x="31" y="125"/>
                          </a:lnTo>
                          <a:lnTo>
                            <a:pt x="35" y="120"/>
                          </a:lnTo>
                          <a:lnTo>
                            <a:pt x="26" y="120"/>
                          </a:lnTo>
                          <a:close/>
                          <a:moveTo>
                            <a:pt x="49" y="80"/>
                          </a:moveTo>
                          <a:lnTo>
                            <a:pt x="49" y="85"/>
                          </a:lnTo>
                          <a:lnTo>
                            <a:pt x="58" y="85"/>
                          </a:lnTo>
                          <a:lnTo>
                            <a:pt x="53" y="80"/>
                          </a:lnTo>
                          <a:lnTo>
                            <a:pt x="49" y="80"/>
                          </a:lnTo>
                          <a:close/>
                          <a:moveTo>
                            <a:pt x="80" y="98"/>
                          </a:moveTo>
                          <a:lnTo>
                            <a:pt x="84" y="103"/>
                          </a:lnTo>
                          <a:lnTo>
                            <a:pt x="89" y="103"/>
                          </a:lnTo>
                          <a:lnTo>
                            <a:pt x="84" y="98"/>
                          </a:lnTo>
                          <a:lnTo>
                            <a:pt x="80" y="98"/>
                          </a:lnTo>
                          <a:close/>
                          <a:moveTo>
                            <a:pt x="102" y="286"/>
                          </a:moveTo>
                          <a:lnTo>
                            <a:pt x="102" y="286"/>
                          </a:lnTo>
                          <a:lnTo>
                            <a:pt x="107" y="290"/>
                          </a:lnTo>
                          <a:lnTo>
                            <a:pt x="107" y="286"/>
                          </a:lnTo>
                          <a:lnTo>
                            <a:pt x="102" y="286"/>
                          </a:lnTo>
                          <a:close/>
                          <a:moveTo>
                            <a:pt x="111" y="98"/>
                          </a:moveTo>
                          <a:lnTo>
                            <a:pt x="111" y="103"/>
                          </a:lnTo>
                          <a:lnTo>
                            <a:pt x="116" y="103"/>
                          </a:lnTo>
                          <a:lnTo>
                            <a:pt x="111" y="98"/>
                          </a:lnTo>
                          <a:close/>
                          <a:moveTo>
                            <a:pt x="116" y="165"/>
                          </a:moveTo>
                          <a:lnTo>
                            <a:pt x="116" y="165"/>
                          </a:lnTo>
                          <a:lnTo>
                            <a:pt x="120" y="165"/>
                          </a:lnTo>
                          <a:lnTo>
                            <a:pt x="120" y="170"/>
                          </a:lnTo>
                          <a:lnTo>
                            <a:pt x="116" y="165"/>
                          </a:lnTo>
                          <a:close/>
                          <a:moveTo>
                            <a:pt x="151" y="125"/>
                          </a:moveTo>
                          <a:lnTo>
                            <a:pt x="156" y="129"/>
                          </a:lnTo>
                          <a:lnTo>
                            <a:pt x="151" y="125"/>
                          </a:lnTo>
                          <a:close/>
                          <a:moveTo>
                            <a:pt x="174" y="0"/>
                          </a:moveTo>
                          <a:lnTo>
                            <a:pt x="174" y="0"/>
                          </a:lnTo>
                          <a:lnTo>
                            <a:pt x="178" y="0"/>
                          </a:lnTo>
                          <a:lnTo>
                            <a:pt x="174" y="0"/>
                          </a:lnTo>
                          <a:close/>
                          <a:moveTo>
                            <a:pt x="214" y="125"/>
                          </a:moveTo>
                          <a:lnTo>
                            <a:pt x="214" y="134"/>
                          </a:lnTo>
                          <a:lnTo>
                            <a:pt x="214" y="129"/>
                          </a:lnTo>
                          <a:lnTo>
                            <a:pt x="214" y="125"/>
                          </a:lnTo>
                          <a:close/>
                          <a:moveTo>
                            <a:pt x="241" y="201"/>
                          </a:moveTo>
                          <a:lnTo>
                            <a:pt x="236" y="205"/>
                          </a:lnTo>
                          <a:lnTo>
                            <a:pt x="241" y="205"/>
                          </a:lnTo>
                          <a:lnTo>
                            <a:pt x="241" y="201"/>
                          </a:lnTo>
                          <a:close/>
                          <a:moveTo>
                            <a:pt x="245" y="205"/>
                          </a:moveTo>
                          <a:lnTo>
                            <a:pt x="245" y="205"/>
                          </a:lnTo>
                          <a:lnTo>
                            <a:pt x="250" y="210"/>
                          </a:lnTo>
                          <a:lnTo>
                            <a:pt x="250" y="205"/>
                          </a:lnTo>
                          <a:lnTo>
                            <a:pt x="245" y="20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0" name="Freeform 9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43" y="2462"/>
                      <a:ext cx="8" cy="4"/>
                    </a:xfrm>
                    <a:custGeom>
                      <a:avLst/>
                      <a:gdLst>
                        <a:gd name="T0" fmla="*/ 4 w 9"/>
                        <a:gd name="T1" fmla="*/ 0 h 4"/>
                        <a:gd name="T2" fmla="*/ 0 w 9"/>
                        <a:gd name="T3" fmla="*/ 4 h 4"/>
                        <a:gd name="T4" fmla="*/ 4 w 9"/>
                        <a:gd name="T5" fmla="*/ 4 h 4"/>
                        <a:gd name="T6" fmla="*/ 4 w 9"/>
                        <a:gd name="T7" fmla="*/ 4 h 4"/>
                        <a:gd name="T8" fmla="*/ 4 w 9"/>
                        <a:gd name="T9" fmla="*/ 0 h 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9"/>
                        <a:gd name="T16" fmla="*/ 0 h 4"/>
                        <a:gd name="T17" fmla="*/ 9 w 9"/>
                        <a:gd name="T18" fmla="*/ 4 h 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9" h="4">
                          <a:moveTo>
                            <a:pt x="5" y="0"/>
                          </a:moveTo>
                          <a:lnTo>
                            <a:pt x="0" y="4"/>
                          </a:lnTo>
                          <a:lnTo>
                            <a:pt x="5" y="4"/>
                          </a:lnTo>
                          <a:lnTo>
                            <a:pt x="9" y="4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1" name="Freeform 9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48" y="2403"/>
                      <a:ext cx="8" cy="8"/>
                    </a:xfrm>
                    <a:custGeom>
                      <a:avLst/>
                      <a:gdLst>
                        <a:gd name="T0" fmla="*/ 4 w 8"/>
                        <a:gd name="T1" fmla="*/ 0 h 9"/>
                        <a:gd name="T2" fmla="*/ 4 w 8"/>
                        <a:gd name="T3" fmla="*/ 4 h 9"/>
                        <a:gd name="T4" fmla="*/ 0 w 8"/>
                        <a:gd name="T5" fmla="*/ 4 h 9"/>
                        <a:gd name="T6" fmla="*/ 4 w 8"/>
                        <a:gd name="T7" fmla="*/ 4 h 9"/>
                        <a:gd name="T8" fmla="*/ 4 w 8"/>
                        <a:gd name="T9" fmla="*/ 4 h 9"/>
                        <a:gd name="T10" fmla="*/ 8 w 8"/>
                        <a:gd name="T11" fmla="*/ 4 h 9"/>
                        <a:gd name="T12" fmla="*/ 4 w 8"/>
                        <a:gd name="T13" fmla="*/ 0 h 9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8"/>
                        <a:gd name="T22" fmla="*/ 0 h 9"/>
                        <a:gd name="T23" fmla="*/ 8 w 8"/>
                        <a:gd name="T24" fmla="*/ 9 h 9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8" h="9">
                          <a:moveTo>
                            <a:pt x="4" y="0"/>
                          </a:moveTo>
                          <a:lnTo>
                            <a:pt x="4" y="4"/>
                          </a:lnTo>
                          <a:lnTo>
                            <a:pt x="0" y="4"/>
                          </a:lnTo>
                          <a:lnTo>
                            <a:pt x="4" y="9"/>
                          </a:lnTo>
                          <a:lnTo>
                            <a:pt x="4" y="4"/>
                          </a:lnTo>
                          <a:lnTo>
                            <a:pt x="8" y="4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2" name="Freeform 9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529" y="2382"/>
                      <a:ext cx="55" cy="59"/>
                    </a:xfrm>
                    <a:custGeom>
                      <a:avLst/>
                      <a:gdLst>
                        <a:gd name="T0" fmla="*/ 0 w 58"/>
                        <a:gd name="T1" fmla="*/ 11 h 62"/>
                        <a:gd name="T2" fmla="*/ 9 w 58"/>
                        <a:gd name="T3" fmla="*/ 14 h 62"/>
                        <a:gd name="T4" fmla="*/ 9 w 58"/>
                        <a:gd name="T5" fmla="*/ 13 h 62"/>
                        <a:gd name="T6" fmla="*/ 9 w 58"/>
                        <a:gd name="T7" fmla="*/ 14 h 62"/>
                        <a:gd name="T8" fmla="*/ 9 w 58"/>
                        <a:gd name="T9" fmla="*/ 13 h 62"/>
                        <a:gd name="T10" fmla="*/ 9 w 58"/>
                        <a:gd name="T11" fmla="*/ 11 h 62"/>
                        <a:gd name="T12" fmla="*/ 9 w 58"/>
                        <a:gd name="T13" fmla="*/ 10 h 62"/>
                        <a:gd name="T14" fmla="*/ 9 w 58"/>
                        <a:gd name="T15" fmla="*/ 10 h 62"/>
                        <a:gd name="T16" fmla="*/ 11 w 58"/>
                        <a:gd name="T17" fmla="*/ 10 h 62"/>
                        <a:gd name="T18" fmla="*/ 11 w 58"/>
                        <a:gd name="T19" fmla="*/ 10 h 62"/>
                        <a:gd name="T20" fmla="*/ 9 w 58"/>
                        <a:gd name="T21" fmla="*/ 10 h 62"/>
                        <a:gd name="T22" fmla="*/ 9 w 58"/>
                        <a:gd name="T23" fmla="*/ 10 h 62"/>
                        <a:gd name="T24" fmla="*/ 9 w 58"/>
                        <a:gd name="T25" fmla="*/ 10 h 62"/>
                        <a:gd name="T26" fmla="*/ 9 w 58"/>
                        <a:gd name="T27" fmla="*/ 10 h 62"/>
                        <a:gd name="T28" fmla="*/ 9 w 58"/>
                        <a:gd name="T29" fmla="*/ 10 h 62"/>
                        <a:gd name="T30" fmla="*/ 9 w 58"/>
                        <a:gd name="T31" fmla="*/ 0 h 62"/>
                        <a:gd name="T32" fmla="*/ 9 w 58"/>
                        <a:gd name="T33" fmla="*/ 4 h 62"/>
                        <a:gd name="T34" fmla="*/ 9 w 58"/>
                        <a:gd name="T35" fmla="*/ 0 h 62"/>
                        <a:gd name="T36" fmla="*/ 9 w 58"/>
                        <a:gd name="T37" fmla="*/ 0 h 62"/>
                        <a:gd name="T38" fmla="*/ 9 w 58"/>
                        <a:gd name="T39" fmla="*/ 9 h 62"/>
                        <a:gd name="T40" fmla="*/ 9 w 58"/>
                        <a:gd name="T41" fmla="*/ 10 h 62"/>
                        <a:gd name="T42" fmla="*/ 9 w 58"/>
                        <a:gd name="T43" fmla="*/ 10 h 62"/>
                        <a:gd name="T44" fmla="*/ 5 w 58"/>
                        <a:gd name="T45" fmla="*/ 10 h 62"/>
                        <a:gd name="T46" fmla="*/ 0 w 58"/>
                        <a:gd name="T47" fmla="*/ 11 h 62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w 58"/>
                        <a:gd name="T73" fmla="*/ 0 h 62"/>
                        <a:gd name="T74" fmla="*/ 58 w 58"/>
                        <a:gd name="T75" fmla="*/ 62 h 62"/>
                      </a:gdLst>
                      <a:ahLst/>
                      <a:cxnLst>
                        <a:cxn ang="T48">
                          <a:pos x="T0" y="T1"/>
                        </a:cxn>
                        <a:cxn ang="T49">
                          <a:pos x="T2" y="T3"/>
                        </a:cxn>
                        <a:cxn ang="T50">
                          <a:pos x="T4" y="T5"/>
                        </a:cxn>
                        <a:cxn ang="T51">
                          <a:pos x="T6" y="T7"/>
                        </a:cxn>
                        <a:cxn ang="T52">
                          <a:pos x="T8" y="T9"/>
                        </a:cxn>
                        <a:cxn ang="T53">
                          <a:pos x="T10" y="T11"/>
                        </a:cxn>
                        <a:cxn ang="T54">
                          <a:pos x="T12" y="T13"/>
                        </a:cxn>
                        <a:cxn ang="T55">
                          <a:pos x="T14" y="T15"/>
                        </a:cxn>
                        <a:cxn ang="T56">
                          <a:pos x="T16" y="T17"/>
                        </a:cxn>
                        <a:cxn ang="T57">
                          <a:pos x="T18" y="T19"/>
                        </a:cxn>
                        <a:cxn ang="T58">
                          <a:pos x="T20" y="T21"/>
                        </a:cxn>
                        <a:cxn ang="T59">
                          <a:pos x="T22" y="T23"/>
                        </a:cxn>
                        <a:cxn ang="T60">
                          <a:pos x="T24" y="T25"/>
                        </a:cxn>
                        <a:cxn ang="T61">
                          <a:pos x="T26" y="T27"/>
                        </a:cxn>
                        <a:cxn ang="T62">
                          <a:pos x="T28" y="T29"/>
                        </a:cxn>
                        <a:cxn ang="T63">
                          <a:pos x="T30" y="T31"/>
                        </a:cxn>
                        <a:cxn ang="T64">
                          <a:pos x="T32" y="T33"/>
                        </a:cxn>
                        <a:cxn ang="T65">
                          <a:pos x="T34" y="T35"/>
                        </a:cxn>
                        <a:cxn ang="T66">
                          <a:pos x="T36" y="T37"/>
                        </a:cxn>
                        <a:cxn ang="T67">
                          <a:pos x="T38" y="T39"/>
                        </a:cxn>
                        <a:cxn ang="T68">
                          <a:pos x="T40" y="T41"/>
                        </a:cxn>
                        <a:cxn ang="T69">
                          <a:pos x="T42" y="T43"/>
                        </a:cxn>
                        <a:cxn ang="T70">
                          <a:pos x="T44" y="T45"/>
                        </a:cxn>
                        <a:cxn ang="T71">
                          <a:pos x="T46" y="T47"/>
                        </a:cxn>
                      </a:cxnLst>
                      <a:rect l="T72" t="T73" r="T74" b="T75"/>
                      <a:pathLst>
                        <a:path w="58" h="62">
                          <a:moveTo>
                            <a:pt x="0" y="53"/>
                          </a:moveTo>
                          <a:lnTo>
                            <a:pt x="9" y="62"/>
                          </a:lnTo>
                          <a:lnTo>
                            <a:pt x="18" y="58"/>
                          </a:lnTo>
                          <a:lnTo>
                            <a:pt x="27" y="62"/>
                          </a:lnTo>
                          <a:lnTo>
                            <a:pt x="41" y="58"/>
                          </a:lnTo>
                          <a:lnTo>
                            <a:pt x="41" y="53"/>
                          </a:lnTo>
                          <a:lnTo>
                            <a:pt x="41" y="49"/>
                          </a:lnTo>
                          <a:lnTo>
                            <a:pt x="49" y="44"/>
                          </a:lnTo>
                          <a:lnTo>
                            <a:pt x="58" y="35"/>
                          </a:lnTo>
                          <a:lnTo>
                            <a:pt x="58" y="31"/>
                          </a:lnTo>
                          <a:lnTo>
                            <a:pt x="49" y="35"/>
                          </a:lnTo>
                          <a:lnTo>
                            <a:pt x="45" y="35"/>
                          </a:lnTo>
                          <a:lnTo>
                            <a:pt x="49" y="31"/>
                          </a:lnTo>
                          <a:lnTo>
                            <a:pt x="45" y="31"/>
                          </a:lnTo>
                          <a:lnTo>
                            <a:pt x="41" y="17"/>
                          </a:lnTo>
                          <a:lnTo>
                            <a:pt x="45" y="0"/>
                          </a:lnTo>
                          <a:lnTo>
                            <a:pt x="41" y="4"/>
                          </a:lnTo>
                          <a:lnTo>
                            <a:pt x="36" y="0"/>
                          </a:lnTo>
                          <a:lnTo>
                            <a:pt x="18" y="0"/>
                          </a:lnTo>
                          <a:lnTo>
                            <a:pt x="14" y="9"/>
                          </a:lnTo>
                          <a:lnTo>
                            <a:pt x="27" y="26"/>
                          </a:lnTo>
                          <a:lnTo>
                            <a:pt x="27" y="31"/>
                          </a:lnTo>
                          <a:lnTo>
                            <a:pt x="5" y="31"/>
                          </a:lnTo>
                          <a:lnTo>
                            <a:pt x="0" y="5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3" name="Freeform 94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51" y="2512"/>
                      <a:ext cx="67" cy="106"/>
                    </a:xfrm>
                    <a:custGeom>
                      <a:avLst/>
                      <a:gdLst>
                        <a:gd name="T0" fmla="*/ 8 w 71"/>
                        <a:gd name="T1" fmla="*/ 0 h 112"/>
                        <a:gd name="T2" fmla="*/ 8 w 71"/>
                        <a:gd name="T3" fmla="*/ 9 h 112"/>
                        <a:gd name="T4" fmla="*/ 8 w 71"/>
                        <a:gd name="T5" fmla="*/ 9 h 112"/>
                        <a:gd name="T6" fmla="*/ 8 w 71"/>
                        <a:gd name="T7" fmla="*/ 9 h 112"/>
                        <a:gd name="T8" fmla="*/ 4 w 71"/>
                        <a:gd name="T9" fmla="*/ 9 h 112"/>
                        <a:gd name="T10" fmla="*/ 0 w 71"/>
                        <a:gd name="T11" fmla="*/ 9 h 112"/>
                        <a:gd name="T12" fmla="*/ 8 w 71"/>
                        <a:gd name="T13" fmla="*/ 9 h 112"/>
                        <a:gd name="T14" fmla="*/ 8 w 71"/>
                        <a:gd name="T15" fmla="*/ 9 h 112"/>
                        <a:gd name="T16" fmla="*/ 8 w 71"/>
                        <a:gd name="T17" fmla="*/ 12 h 112"/>
                        <a:gd name="T18" fmla="*/ 8 w 71"/>
                        <a:gd name="T19" fmla="*/ 12 h 112"/>
                        <a:gd name="T20" fmla="*/ 8 w 71"/>
                        <a:gd name="T21" fmla="*/ 15 h 112"/>
                        <a:gd name="T22" fmla="*/ 8 w 71"/>
                        <a:gd name="T23" fmla="*/ 20 h 112"/>
                        <a:gd name="T24" fmla="*/ 8 w 71"/>
                        <a:gd name="T25" fmla="*/ 22 h 112"/>
                        <a:gd name="T26" fmla="*/ 8 w 71"/>
                        <a:gd name="T27" fmla="*/ 23 h 112"/>
                        <a:gd name="T28" fmla="*/ 8 w 71"/>
                        <a:gd name="T29" fmla="*/ 21 h 112"/>
                        <a:gd name="T30" fmla="*/ 13 w 71"/>
                        <a:gd name="T31" fmla="*/ 20 h 112"/>
                        <a:gd name="T32" fmla="*/ 12 w 71"/>
                        <a:gd name="T33" fmla="*/ 19 h 112"/>
                        <a:gd name="T34" fmla="*/ 11 w 71"/>
                        <a:gd name="T35" fmla="*/ 16 h 112"/>
                        <a:gd name="T36" fmla="*/ 8 w 71"/>
                        <a:gd name="T37" fmla="*/ 16 h 112"/>
                        <a:gd name="T38" fmla="*/ 8 w 71"/>
                        <a:gd name="T39" fmla="*/ 13 h 112"/>
                        <a:gd name="T40" fmla="*/ 8 w 71"/>
                        <a:gd name="T41" fmla="*/ 11 h 112"/>
                        <a:gd name="T42" fmla="*/ 9 w 71"/>
                        <a:gd name="T43" fmla="*/ 9 h 112"/>
                        <a:gd name="T44" fmla="*/ 11 w 71"/>
                        <a:gd name="T45" fmla="*/ 9 h 112"/>
                        <a:gd name="T46" fmla="*/ 9 w 71"/>
                        <a:gd name="T47" fmla="*/ 9 h 112"/>
                        <a:gd name="T48" fmla="*/ 8 w 71"/>
                        <a:gd name="T49" fmla="*/ 9 h 112"/>
                        <a:gd name="T50" fmla="*/ 8 w 71"/>
                        <a:gd name="T51" fmla="*/ 9 h 112"/>
                        <a:gd name="T52" fmla="*/ 8 w 71"/>
                        <a:gd name="T53" fmla="*/ 5 h 112"/>
                        <a:gd name="T54" fmla="*/ 8 w 71"/>
                        <a:gd name="T55" fmla="*/ 0 h 112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w 71"/>
                        <a:gd name="T85" fmla="*/ 0 h 112"/>
                        <a:gd name="T86" fmla="*/ 71 w 71"/>
                        <a:gd name="T87" fmla="*/ 112 h 112"/>
                      </a:gdLst>
                      <a:ahLst/>
                      <a:cxnLst>
                        <a:cxn ang="T56">
                          <a:pos x="T0" y="T1"/>
                        </a:cxn>
                        <a:cxn ang="T57">
                          <a:pos x="T2" y="T3"/>
                        </a:cxn>
                        <a:cxn ang="T58">
                          <a:pos x="T4" y="T5"/>
                        </a:cxn>
                        <a:cxn ang="T59">
                          <a:pos x="T6" y="T7"/>
                        </a:cxn>
                        <a:cxn ang="T60">
                          <a:pos x="T8" y="T9"/>
                        </a:cxn>
                        <a:cxn ang="T61">
                          <a:pos x="T10" y="T11"/>
                        </a:cxn>
                        <a:cxn ang="T62">
                          <a:pos x="T12" y="T13"/>
                        </a:cxn>
                        <a:cxn ang="T63">
                          <a:pos x="T14" y="T15"/>
                        </a:cxn>
                        <a:cxn ang="T64">
                          <a:pos x="T16" y="T17"/>
                        </a:cxn>
                        <a:cxn ang="T65">
                          <a:pos x="T18" y="T19"/>
                        </a:cxn>
                        <a:cxn ang="T66">
                          <a:pos x="T20" y="T21"/>
                        </a:cxn>
                        <a:cxn ang="T67">
                          <a:pos x="T22" y="T23"/>
                        </a:cxn>
                        <a:cxn ang="T68">
                          <a:pos x="T24" y="T25"/>
                        </a:cxn>
                        <a:cxn ang="T69">
                          <a:pos x="T26" y="T27"/>
                        </a:cxn>
                        <a:cxn ang="T70">
                          <a:pos x="T28" y="T29"/>
                        </a:cxn>
                        <a:cxn ang="T71">
                          <a:pos x="T30" y="T31"/>
                        </a:cxn>
                        <a:cxn ang="T72">
                          <a:pos x="T32" y="T33"/>
                        </a:cxn>
                        <a:cxn ang="T73">
                          <a:pos x="T34" y="T35"/>
                        </a:cxn>
                        <a:cxn ang="T74">
                          <a:pos x="T36" y="T37"/>
                        </a:cxn>
                        <a:cxn ang="T75">
                          <a:pos x="T38" y="T39"/>
                        </a:cxn>
                        <a:cxn ang="T76">
                          <a:pos x="T40" y="T41"/>
                        </a:cxn>
                        <a:cxn ang="T77">
                          <a:pos x="T42" y="T43"/>
                        </a:cxn>
                        <a:cxn ang="T78">
                          <a:pos x="T44" y="T45"/>
                        </a:cxn>
                        <a:cxn ang="T79">
                          <a:pos x="T46" y="T47"/>
                        </a:cxn>
                        <a:cxn ang="T80">
                          <a:pos x="T48" y="T49"/>
                        </a:cxn>
                        <a:cxn ang="T81">
                          <a:pos x="T50" y="T51"/>
                        </a:cxn>
                        <a:cxn ang="T82">
                          <a:pos x="T52" y="T53"/>
                        </a:cxn>
                        <a:cxn ang="T83">
                          <a:pos x="T54" y="T55"/>
                        </a:cxn>
                      </a:cxnLst>
                      <a:rect l="T84" t="T85" r="T86" b="T87"/>
                      <a:pathLst>
                        <a:path w="71" h="112">
                          <a:moveTo>
                            <a:pt x="18" y="0"/>
                          </a:moveTo>
                          <a:lnTo>
                            <a:pt x="22" y="14"/>
                          </a:lnTo>
                          <a:lnTo>
                            <a:pt x="9" y="18"/>
                          </a:lnTo>
                          <a:lnTo>
                            <a:pt x="13" y="27"/>
                          </a:lnTo>
                          <a:lnTo>
                            <a:pt x="4" y="31"/>
                          </a:lnTo>
                          <a:lnTo>
                            <a:pt x="0" y="40"/>
                          </a:lnTo>
                          <a:lnTo>
                            <a:pt x="9" y="49"/>
                          </a:lnTo>
                          <a:lnTo>
                            <a:pt x="18" y="49"/>
                          </a:lnTo>
                          <a:lnTo>
                            <a:pt x="18" y="63"/>
                          </a:lnTo>
                          <a:lnTo>
                            <a:pt x="27" y="63"/>
                          </a:lnTo>
                          <a:lnTo>
                            <a:pt x="18" y="72"/>
                          </a:lnTo>
                          <a:lnTo>
                            <a:pt x="18" y="94"/>
                          </a:lnTo>
                          <a:lnTo>
                            <a:pt x="27" y="107"/>
                          </a:lnTo>
                          <a:lnTo>
                            <a:pt x="36" y="112"/>
                          </a:lnTo>
                          <a:lnTo>
                            <a:pt x="45" y="103"/>
                          </a:lnTo>
                          <a:lnTo>
                            <a:pt x="71" y="98"/>
                          </a:lnTo>
                          <a:lnTo>
                            <a:pt x="67" y="90"/>
                          </a:lnTo>
                          <a:lnTo>
                            <a:pt x="63" y="76"/>
                          </a:lnTo>
                          <a:lnTo>
                            <a:pt x="54" y="76"/>
                          </a:lnTo>
                          <a:lnTo>
                            <a:pt x="45" y="67"/>
                          </a:lnTo>
                          <a:lnTo>
                            <a:pt x="49" y="58"/>
                          </a:lnTo>
                          <a:lnTo>
                            <a:pt x="58" y="54"/>
                          </a:lnTo>
                          <a:lnTo>
                            <a:pt x="63" y="40"/>
                          </a:lnTo>
                          <a:lnTo>
                            <a:pt x="58" y="36"/>
                          </a:lnTo>
                          <a:lnTo>
                            <a:pt x="40" y="22"/>
                          </a:lnTo>
                          <a:lnTo>
                            <a:pt x="36" y="14"/>
                          </a:lnTo>
                          <a:lnTo>
                            <a:pt x="27" y="5"/>
                          </a:lnTo>
                          <a:lnTo>
                            <a:pt x="18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4" name="Freeform 9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774" y="2352"/>
                      <a:ext cx="34" cy="30"/>
                    </a:xfrm>
                    <a:custGeom>
                      <a:avLst/>
                      <a:gdLst>
                        <a:gd name="T0" fmla="*/ 9 w 36"/>
                        <a:gd name="T1" fmla="*/ 5 h 32"/>
                        <a:gd name="T2" fmla="*/ 9 w 36"/>
                        <a:gd name="T3" fmla="*/ 8 h 32"/>
                        <a:gd name="T4" fmla="*/ 9 w 36"/>
                        <a:gd name="T5" fmla="*/ 8 h 32"/>
                        <a:gd name="T6" fmla="*/ 9 w 36"/>
                        <a:gd name="T7" fmla="*/ 8 h 32"/>
                        <a:gd name="T8" fmla="*/ 9 w 36"/>
                        <a:gd name="T9" fmla="*/ 8 h 32"/>
                        <a:gd name="T10" fmla="*/ 5 w 36"/>
                        <a:gd name="T11" fmla="*/ 8 h 32"/>
                        <a:gd name="T12" fmla="*/ 0 w 36"/>
                        <a:gd name="T13" fmla="*/ 8 h 32"/>
                        <a:gd name="T14" fmla="*/ 0 w 36"/>
                        <a:gd name="T15" fmla="*/ 8 h 32"/>
                        <a:gd name="T16" fmla="*/ 9 w 36"/>
                        <a:gd name="T17" fmla="*/ 8 h 32"/>
                        <a:gd name="T18" fmla="*/ 9 w 36"/>
                        <a:gd name="T19" fmla="*/ 8 h 32"/>
                        <a:gd name="T20" fmla="*/ 9 w 36"/>
                        <a:gd name="T21" fmla="*/ 8 h 32"/>
                        <a:gd name="T22" fmla="*/ 9 w 36"/>
                        <a:gd name="T23" fmla="*/ 8 h 32"/>
                        <a:gd name="T24" fmla="*/ 9 w 36"/>
                        <a:gd name="T25" fmla="*/ 8 h 32"/>
                        <a:gd name="T26" fmla="*/ 9 w 36"/>
                        <a:gd name="T27" fmla="*/ 5 h 32"/>
                        <a:gd name="T28" fmla="*/ 9 w 36"/>
                        <a:gd name="T29" fmla="*/ 0 h 32"/>
                        <a:gd name="T30" fmla="*/ 9 w 36"/>
                        <a:gd name="T31" fmla="*/ 5 h 32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w 36"/>
                        <a:gd name="T49" fmla="*/ 0 h 32"/>
                        <a:gd name="T50" fmla="*/ 36 w 36"/>
                        <a:gd name="T51" fmla="*/ 32 h 32"/>
                      </a:gdLst>
                      <a:ahLst/>
                      <a:cxnLst>
                        <a:cxn ang="T32">
                          <a:pos x="T0" y="T1"/>
                        </a:cxn>
                        <a:cxn ang="T33">
                          <a:pos x="T2" y="T3"/>
                        </a:cxn>
                        <a:cxn ang="T34">
                          <a:pos x="T4" y="T5"/>
                        </a:cxn>
                        <a:cxn ang="T35">
                          <a:pos x="T6" y="T7"/>
                        </a:cxn>
                        <a:cxn ang="T36">
                          <a:pos x="T8" y="T9"/>
                        </a:cxn>
                        <a:cxn ang="T37">
                          <a:pos x="T10" y="T11"/>
                        </a:cxn>
                        <a:cxn ang="T38">
                          <a:pos x="T12" y="T13"/>
                        </a:cxn>
                        <a:cxn ang="T39">
                          <a:pos x="T14" y="T15"/>
                        </a:cxn>
                        <a:cxn ang="T40">
                          <a:pos x="T16" y="T17"/>
                        </a:cxn>
                        <a:cxn ang="T41">
                          <a:pos x="T18" y="T19"/>
                        </a:cxn>
                        <a:cxn ang="T42">
                          <a:pos x="T20" y="T21"/>
                        </a:cxn>
                        <a:cxn ang="T43">
                          <a:pos x="T22" y="T23"/>
                        </a:cxn>
                        <a:cxn ang="T44">
                          <a:pos x="T24" y="T25"/>
                        </a:cxn>
                        <a:cxn ang="T45">
                          <a:pos x="T26" y="T27"/>
                        </a:cxn>
                        <a:cxn ang="T46">
                          <a:pos x="T28" y="T29"/>
                        </a:cxn>
                        <a:cxn ang="T47">
                          <a:pos x="T30" y="T31"/>
                        </a:cxn>
                      </a:cxnLst>
                      <a:rect l="T48" t="T49" r="T50" b="T51"/>
                      <a:pathLst>
                        <a:path w="36" h="32">
                          <a:moveTo>
                            <a:pt x="36" y="5"/>
                          </a:moveTo>
                          <a:lnTo>
                            <a:pt x="36" y="14"/>
                          </a:lnTo>
                          <a:lnTo>
                            <a:pt x="32" y="27"/>
                          </a:lnTo>
                          <a:lnTo>
                            <a:pt x="14" y="27"/>
                          </a:lnTo>
                          <a:lnTo>
                            <a:pt x="9" y="32"/>
                          </a:lnTo>
                          <a:lnTo>
                            <a:pt x="5" y="27"/>
                          </a:lnTo>
                          <a:lnTo>
                            <a:pt x="0" y="27"/>
                          </a:lnTo>
                          <a:lnTo>
                            <a:pt x="0" y="18"/>
                          </a:lnTo>
                          <a:lnTo>
                            <a:pt x="14" y="23"/>
                          </a:lnTo>
                          <a:lnTo>
                            <a:pt x="23" y="23"/>
                          </a:lnTo>
                          <a:lnTo>
                            <a:pt x="23" y="18"/>
                          </a:lnTo>
                          <a:lnTo>
                            <a:pt x="23" y="9"/>
                          </a:lnTo>
                          <a:lnTo>
                            <a:pt x="14" y="9"/>
                          </a:lnTo>
                          <a:lnTo>
                            <a:pt x="14" y="5"/>
                          </a:lnTo>
                          <a:lnTo>
                            <a:pt x="23" y="0"/>
                          </a:lnTo>
                          <a:lnTo>
                            <a:pt x="36" y="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5" name="Freeform 9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568" y="2406"/>
                      <a:ext cx="84" cy="47"/>
                    </a:xfrm>
                    <a:custGeom>
                      <a:avLst/>
                      <a:gdLst>
                        <a:gd name="T0" fmla="*/ 0 w 89"/>
                        <a:gd name="T1" fmla="*/ 8 h 50"/>
                        <a:gd name="T2" fmla="*/ 0 w 89"/>
                        <a:gd name="T3" fmla="*/ 8 h 50"/>
                        <a:gd name="T4" fmla="*/ 8 w 89"/>
                        <a:gd name="T5" fmla="*/ 8 h 50"/>
                        <a:gd name="T6" fmla="*/ 8 w 89"/>
                        <a:gd name="T7" fmla="*/ 8 h 50"/>
                        <a:gd name="T8" fmla="*/ 8 w 89"/>
                        <a:gd name="T9" fmla="*/ 8 h 50"/>
                        <a:gd name="T10" fmla="*/ 8 w 89"/>
                        <a:gd name="T11" fmla="*/ 5 h 50"/>
                        <a:gd name="T12" fmla="*/ 8 w 89"/>
                        <a:gd name="T13" fmla="*/ 0 h 50"/>
                        <a:gd name="T14" fmla="*/ 12 w 89"/>
                        <a:gd name="T15" fmla="*/ 5 h 50"/>
                        <a:gd name="T16" fmla="*/ 14 w 89"/>
                        <a:gd name="T17" fmla="*/ 8 h 50"/>
                        <a:gd name="T18" fmla="*/ 15 w 89"/>
                        <a:gd name="T19" fmla="*/ 8 h 50"/>
                        <a:gd name="T20" fmla="*/ 16 w 89"/>
                        <a:gd name="T21" fmla="*/ 8 h 50"/>
                        <a:gd name="T22" fmla="*/ 17 w 89"/>
                        <a:gd name="T23" fmla="*/ 8 h 50"/>
                        <a:gd name="T24" fmla="*/ 14 w 89"/>
                        <a:gd name="T25" fmla="*/ 8 h 50"/>
                        <a:gd name="T26" fmla="*/ 13 w 89"/>
                        <a:gd name="T27" fmla="*/ 8 h 50"/>
                        <a:gd name="T28" fmla="*/ 9 w 89"/>
                        <a:gd name="T29" fmla="*/ 8 h 50"/>
                        <a:gd name="T30" fmla="*/ 8 w 89"/>
                        <a:gd name="T31" fmla="*/ 8 h 50"/>
                        <a:gd name="T32" fmla="*/ 8 w 89"/>
                        <a:gd name="T33" fmla="*/ 8 h 50"/>
                        <a:gd name="T34" fmla="*/ 8 w 89"/>
                        <a:gd name="T35" fmla="*/ 8 h 50"/>
                        <a:gd name="T36" fmla="*/ 8 w 89"/>
                        <a:gd name="T37" fmla="*/ 8 h 50"/>
                        <a:gd name="T38" fmla="*/ 8 w 89"/>
                        <a:gd name="T39" fmla="*/ 8 h 50"/>
                        <a:gd name="T40" fmla="*/ 8 w 89"/>
                        <a:gd name="T41" fmla="*/ 8 h 50"/>
                        <a:gd name="T42" fmla="*/ 8 w 89"/>
                        <a:gd name="T43" fmla="*/ 8 h 50"/>
                        <a:gd name="T44" fmla="*/ 8 w 89"/>
                        <a:gd name="T45" fmla="*/ 8 h 50"/>
                        <a:gd name="T46" fmla="*/ 8 w 89"/>
                        <a:gd name="T47" fmla="*/ 8 h 50"/>
                        <a:gd name="T48" fmla="*/ 0 w 89"/>
                        <a:gd name="T49" fmla="*/ 8 h 50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89"/>
                        <a:gd name="T76" fmla="*/ 0 h 50"/>
                        <a:gd name="T77" fmla="*/ 89 w 89"/>
                        <a:gd name="T78" fmla="*/ 50 h 50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89" h="50">
                          <a:moveTo>
                            <a:pt x="0" y="27"/>
                          </a:moveTo>
                          <a:lnTo>
                            <a:pt x="0" y="23"/>
                          </a:lnTo>
                          <a:lnTo>
                            <a:pt x="8" y="18"/>
                          </a:lnTo>
                          <a:lnTo>
                            <a:pt x="17" y="9"/>
                          </a:lnTo>
                          <a:lnTo>
                            <a:pt x="26" y="9"/>
                          </a:lnTo>
                          <a:lnTo>
                            <a:pt x="49" y="5"/>
                          </a:lnTo>
                          <a:lnTo>
                            <a:pt x="49" y="0"/>
                          </a:lnTo>
                          <a:lnTo>
                            <a:pt x="67" y="5"/>
                          </a:lnTo>
                          <a:lnTo>
                            <a:pt x="75" y="9"/>
                          </a:lnTo>
                          <a:lnTo>
                            <a:pt x="80" y="14"/>
                          </a:lnTo>
                          <a:lnTo>
                            <a:pt x="84" y="14"/>
                          </a:lnTo>
                          <a:lnTo>
                            <a:pt x="89" y="18"/>
                          </a:lnTo>
                          <a:lnTo>
                            <a:pt x="75" y="27"/>
                          </a:lnTo>
                          <a:lnTo>
                            <a:pt x="71" y="27"/>
                          </a:lnTo>
                          <a:lnTo>
                            <a:pt x="58" y="36"/>
                          </a:lnTo>
                          <a:lnTo>
                            <a:pt x="49" y="36"/>
                          </a:lnTo>
                          <a:lnTo>
                            <a:pt x="40" y="41"/>
                          </a:lnTo>
                          <a:lnTo>
                            <a:pt x="40" y="45"/>
                          </a:lnTo>
                          <a:lnTo>
                            <a:pt x="31" y="50"/>
                          </a:lnTo>
                          <a:lnTo>
                            <a:pt x="31" y="41"/>
                          </a:lnTo>
                          <a:lnTo>
                            <a:pt x="22" y="45"/>
                          </a:lnTo>
                          <a:lnTo>
                            <a:pt x="22" y="32"/>
                          </a:lnTo>
                          <a:lnTo>
                            <a:pt x="13" y="32"/>
                          </a:lnTo>
                          <a:lnTo>
                            <a:pt x="8" y="27"/>
                          </a:lnTo>
                          <a:lnTo>
                            <a:pt x="0" y="27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6" name="Freeform 9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719" y="2369"/>
                      <a:ext cx="30" cy="17"/>
                    </a:xfrm>
                    <a:custGeom>
                      <a:avLst/>
                      <a:gdLst>
                        <a:gd name="T0" fmla="*/ 0 w 32"/>
                        <a:gd name="T1" fmla="*/ 5 h 18"/>
                        <a:gd name="T2" fmla="*/ 8 w 32"/>
                        <a:gd name="T3" fmla="*/ 9 h 18"/>
                        <a:gd name="T4" fmla="*/ 8 w 32"/>
                        <a:gd name="T5" fmla="*/ 9 h 18"/>
                        <a:gd name="T6" fmla="*/ 8 w 32"/>
                        <a:gd name="T7" fmla="*/ 9 h 18"/>
                        <a:gd name="T8" fmla="*/ 8 w 32"/>
                        <a:gd name="T9" fmla="*/ 9 h 18"/>
                        <a:gd name="T10" fmla="*/ 8 w 32"/>
                        <a:gd name="T11" fmla="*/ 9 h 18"/>
                        <a:gd name="T12" fmla="*/ 8 w 32"/>
                        <a:gd name="T13" fmla="*/ 0 h 18"/>
                        <a:gd name="T14" fmla="*/ 5 w 32"/>
                        <a:gd name="T15" fmla="*/ 0 h 18"/>
                        <a:gd name="T16" fmla="*/ 0 w 32"/>
                        <a:gd name="T17" fmla="*/ 5 h 18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32"/>
                        <a:gd name="T28" fmla="*/ 0 h 18"/>
                        <a:gd name="T29" fmla="*/ 32 w 32"/>
                        <a:gd name="T30" fmla="*/ 18 h 18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32" h="18">
                          <a:moveTo>
                            <a:pt x="0" y="5"/>
                          </a:moveTo>
                          <a:lnTo>
                            <a:pt x="9" y="14"/>
                          </a:lnTo>
                          <a:lnTo>
                            <a:pt x="18" y="18"/>
                          </a:lnTo>
                          <a:lnTo>
                            <a:pt x="32" y="14"/>
                          </a:lnTo>
                          <a:lnTo>
                            <a:pt x="32" y="9"/>
                          </a:lnTo>
                          <a:lnTo>
                            <a:pt x="23" y="0"/>
                          </a:lnTo>
                          <a:lnTo>
                            <a:pt x="5" y="0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7" name="Freeform 98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55" y="2423"/>
                      <a:ext cx="5" cy="8"/>
                    </a:xfrm>
                    <a:custGeom>
                      <a:avLst/>
                      <a:gdLst>
                        <a:gd name="T0" fmla="*/ 5 w 5"/>
                        <a:gd name="T1" fmla="*/ 4 h 9"/>
                        <a:gd name="T2" fmla="*/ 5 w 5"/>
                        <a:gd name="T3" fmla="*/ 4 h 9"/>
                        <a:gd name="T4" fmla="*/ 0 w 5"/>
                        <a:gd name="T5" fmla="*/ 0 h 9"/>
                        <a:gd name="T6" fmla="*/ 0 w 5"/>
                        <a:gd name="T7" fmla="*/ 0 h 9"/>
                        <a:gd name="T8" fmla="*/ 0 w 5"/>
                        <a:gd name="T9" fmla="*/ 4 h 9"/>
                        <a:gd name="T10" fmla="*/ 5 w 5"/>
                        <a:gd name="T11" fmla="*/ 4 h 9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"/>
                        <a:gd name="T19" fmla="*/ 0 h 9"/>
                        <a:gd name="T20" fmla="*/ 5 w 5"/>
                        <a:gd name="T21" fmla="*/ 9 h 9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" h="9">
                          <a:moveTo>
                            <a:pt x="5" y="9"/>
                          </a:moveTo>
                          <a:lnTo>
                            <a:pt x="5" y="5"/>
                          </a:lnTo>
                          <a:lnTo>
                            <a:pt x="0" y="0"/>
                          </a:lnTo>
                          <a:lnTo>
                            <a:pt x="0" y="9"/>
                          </a:lnTo>
                          <a:lnTo>
                            <a:pt x="5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8" name="Freeform 9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192" y="2158"/>
                      <a:ext cx="417" cy="274"/>
                    </a:xfrm>
                    <a:custGeom>
                      <a:avLst/>
                      <a:gdLst>
                        <a:gd name="T0" fmla="*/ 4 w 442"/>
                        <a:gd name="T1" fmla="*/ 9 h 290"/>
                        <a:gd name="T2" fmla="*/ 8 w 442"/>
                        <a:gd name="T3" fmla="*/ 9 h 290"/>
                        <a:gd name="T4" fmla="*/ 8 w 442"/>
                        <a:gd name="T5" fmla="*/ 16 h 290"/>
                        <a:gd name="T6" fmla="*/ 8 w 442"/>
                        <a:gd name="T7" fmla="*/ 19 h 290"/>
                        <a:gd name="T8" fmla="*/ 13 w 442"/>
                        <a:gd name="T9" fmla="*/ 21 h 290"/>
                        <a:gd name="T10" fmla="*/ 15 w 442"/>
                        <a:gd name="T11" fmla="*/ 25 h 290"/>
                        <a:gd name="T12" fmla="*/ 15 w 442"/>
                        <a:gd name="T13" fmla="*/ 24 h 290"/>
                        <a:gd name="T14" fmla="*/ 21 w 442"/>
                        <a:gd name="T15" fmla="*/ 27 h 290"/>
                        <a:gd name="T16" fmla="*/ 20 w 442"/>
                        <a:gd name="T17" fmla="*/ 25 h 290"/>
                        <a:gd name="T18" fmla="*/ 18 w 442"/>
                        <a:gd name="T19" fmla="*/ 25 h 290"/>
                        <a:gd name="T20" fmla="*/ 18 w 442"/>
                        <a:gd name="T21" fmla="*/ 22 h 290"/>
                        <a:gd name="T22" fmla="*/ 15 w 442"/>
                        <a:gd name="T23" fmla="*/ 19 h 290"/>
                        <a:gd name="T24" fmla="*/ 11 w 442"/>
                        <a:gd name="T25" fmla="*/ 10 h 290"/>
                        <a:gd name="T26" fmla="*/ 8 w 442"/>
                        <a:gd name="T27" fmla="*/ 9 h 290"/>
                        <a:gd name="T28" fmla="*/ 9 w 442"/>
                        <a:gd name="T29" fmla="*/ 9 h 290"/>
                        <a:gd name="T30" fmla="*/ 12 w 442"/>
                        <a:gd name="T31" fmla="*/ 10 h 290"/>
                        <a:gd name="T32" fmla="*/ 14 w 442"/>
                        <a:gd name="T33" fmla="*/ 11 h 290"/>
                        <a:gd name="T34" fmla="*/ 17 w 442"/>
                        <a:gd name="T35" fmla="*/ 16 h 290"/>
                        <a:gd name="T36" fmla="*/ 19 w 442"/>
                        <a:gd name="T37" fmla="*/ 18 h 290"/>
                        <a:gd name="T38" fmla="*/ 22 w 442"/>
                        <a:gd name="T39" fmla="*/ 20 h 290"/>
                        <a:gd name="T40" fmla="*/ 23 w 442"/>
                        <a:gd name="T41" fmla="*/ 23 h 290"/>
                        <a:gd name="T42" fmla="*/ 30 w 442"/>
                        <a:gd name="T43" fmla="*/ 31 h 290"/>
                        <a:gd name="T44" fmla="*/ 31 w 442"/>
                        <a:gd name="T45" fmla="*/ 37 h 290"/>
                        <a:gd name="T46" fmla="*/ 36 w 442"/>
                        <a:gd name="T47" fmla="*/ 43 h 290"/>
                        <a:gd name="T48" fmla="*/ 45 w 442"/>
                        <a:gd name="T49" fmla="*/ 47 h 290"/>
                        <a:gd name="T50" fmla="*/ 55 w 442"/>
                        <a:gd name="T51" fmla="*/ 49 h 290"/>
                        <a:gd name="T52" fmla="*/ 62 w 442"/>
                        <a:gd name="T53" fmla="*/ 53 h 290"/>
                        <a:gd name="T54" fmla="*/ 67 w 442"/>
                        <a:gd name="T55" fmla="*/ 48 h 290"/>
                        <a:gd name="T56" fmla="*/ 68 w 442"/>
                        <a:gd name="T57" fmla="*/ 43 h 290"/>
                        <a:gd name="T58" fmla="*/ 72 w 442"/>
                        <a:gd name="T59" fmla="*/ 41 h 290"/>
                        <a:gd name="T60" fmla="*/ 75 w 442"/>
                        <a:gd name="T61" fmla="*/ 39 h 290"/>
                        <a:gd name="T62" fmla="*/ 75 w 442"/>
                        <a:gd name="T63" fmla="*/ 38 h 290"/>
                        <a:gd name="T64" fmla="*/ 76 w 442"/>
                        <a:gd name="T65" fmla="*/ 34 h 290"/>
                        <a:gd name="T66" fmla="*/ 69 w 442"/>
                        <a:gd name="T67" fmla="*/ 34 h 290"/>
                        <a:gd name="T68" fmla="*/ 67 w 442"/>
                        <a:gd name="T69" fmla="*/ 39 h 290"/>
                        <a:gd name="T70" fmla="*/ 64 w 442"/>
                        <a:gd name="T71" fmla="*/ 41 h 290"/>
                        <a:gd name="T72" fmla="*/ 57 w 442"/>
                        <a:gd name="T73" fmla="*/ 43 h 290"/>
                        <a:gd name="T74" fmla="*/ 52 w 442"/>
                        <a:gd name="T75" fmla="*/ 38 h 290"/>
                        <a:gd name="T76" fmla="*/ 50 w 442"/>
                        <a:gd name="T77" fmla="*/ 33 h 290"/>
                        <a:gd name="T78" fmla="*/ 50 w 442"/>
                        <a:gd name="T79" fmla="*/ 26 h 290"/>
                        <a:gd name="T80" fmla="*/ 49 w 442"/>
                        <a:gd name="T81" fmla="*/ 25 h 290"/>
                        <a:gd name="T82" fmla="*/ 51 w 442"/>
                        <a:gd name="T83" fmla="*/ 22 h 290"/>
                        <a:gd name="T84" fmla="*/ 44 w 442"/>
                        <a:gd name="T85" fmla="*/ 17 h 290"/>
                        <a:gd name="T86" fmla="*/ 36 w 442"/>
                        <a:gd name="T87" fmla="*/ 13 h 290"/>
                        <a:gd name="T88" fmla="*/ 27 w 442"/>
                        <a:gd name="T89" fmla="*/ 9 h 290"/>
                        <a:gd name="T90" fmla="*/ 17 w 442"/>
                        <a:gd name="T91" fmla="*/ 9 h 290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w 442"/>
                        <a:gd name="T139" fmla="*/ 0 h 290"/>
                        <a:gd name="T140" fmla="*/ 442 w 442"/>
                        <a:gd name="T141" fmla="*/ 290 h 290"/>
                      </a:gdLst>
                      <a:ahLst/>
                      <a:cxnLst>
                        <a:cxn ang="T92">
                          <a:pos x="T0" y="T1"/>
                        </a:cxn>
                        <a:cxn ang="T93">
                          <a:pos x="T2" y="T3"/>
                        </a:cxn>
                        <a:cxn ang="T94">
                          <a:pos x="T4" y="T5"/>
                        </a:cxn>
                        <a:cxn ang="T95">
                          <a:pos x="T6" y="T7"/>
                        </a:cxn>
                        <a:cxn ang="T96">
                          <a:pos x="T8" y="T9"/>
                        </a:cxn>
                        <a:cxn ang="T97">
                          <a:pos x="T10" y="T11"/>
                        </a:cxn>
                        <a:cxn ang="T98">
                          <a:pos x="T12" y="T13"/>
                        </a:cxn>
                        <a:cxn ang="T99">
                          <a:pos x="T14" y="T15"/>
                        </a:cxn>
                        <a:cxn ang="T100">
                          <a:pos x="T16" y="T17"/>
                        </a:cxn>
                        <a:cxn ang="T101">
                          <a:pos x="T18" y="T19"/>
                        </a:cxn>
                        <a:cxn ang="T102">
                          <a:pos x="T20" y="T21"/>
                        </a:cxn>
                        <a:cxn ang="T103">
                          <a:pos x="T22" y="T23"/>
                        </a:cxn>
                        <a:cxn ang="T104">
                          <a:pos x="T24" y="T25"/>
                        </a:cxn>
                        <a:cxn ang="T105">
                          <a:pos x="T26" y="T27"/>
                        </a:cxn>
                        <a:cxn ang="T106">
                          <a:pos x="T28" y="T29"/>
                        </a:cxn>
                        <a:cxn ang="T107">
                          <a:pos x="T30" y="T31"/>
                        </a:cxn>
                        <a:cxn ang="T108">
                          <a:pos x="T32" y="T33"/>
                        </a:cxn>
                        <a:cxn ang="T109">
                          <a:pos x="T34" y="T35"/>
                        </a:cxn>
                        <a:cxn ang="T110">
                          <a:pos x="T36" y="T37"/>
                        </a:cxn>
                        <a:cxn ang="T111">
                          <a:pos x="T38" y="T39"/>
                        </a:cxn>
                        <a:cxn ang="T112">
                          <a:pos x="T40" y="T41"/>
                        </a:cxn>
                        <a:cxn ang="T113">
                          <a:pos x="T42" y="T43"/>
                        </a:cxn>
                        <a:cxn ang="T114">
                          <a:pos x="T44" y="T45"/>
                        </a:cxn>
                        <a:cxn ang="T115">
                          <a:pos x="T46" y="T47"/>
                        </a:cxn>
                        <a:cxn ang="T116">
                          <a:pos x="T48" y="T49"/>
                        </a:cxn>
                        <a:cxn ang="T117">
                          <a:pos x="T50" y="T51"/>
                        </a:cxn>
                        <a:cxn ang="T118">
                          <a:pos x="T52" y="T53"/>
                        </a:cxn>
                        <a:cxn ang="T119">
                          <a:pos x="T54" y="T55"/>
                        </a:cxn>
                        <a:cxn ang="T120">
                          <a:pos x="T56" y="T57"/>
                        </a:cxn>
                        <a:cxn ang="T121">
                          <a:pos x="T58" y="T59"/>
                        </a:cxn>
                        <a:cxn ang="T122">
                          <a:pos x="T60" y="T61"/>
                        </a:cxn>
                        <a:cxn ang="T123">
                          <a:pos x="T62" y="T63"/>
                        </a:cxn>
                        <a:cxn ang="T124">
                          <a:pos x="T64" y="T65"/>
                        </a:cxn>
                        <a:cxn ang="T125">
                          <a:pos x="T66" y="T67"/>
                        </a:cxn>
                        <a:cxn ang="T126">
                          <a:pos x="T68" y="T69"/>
                        </a:cxn>
                        <a:cxn ang="T127">
                          <a:pos x="T70" y="T71"/>
                        </a:cxn>
                        <a:cxn ang="T128">
                          <a:pos x="T72" y="T73"/>
                        </a:cxn>
                        <a:cxn ang="T129">
                          <a:pos x="T74" y="T75"/>
                        </a:cxn>
                        <a:cxn ang="T130">
                          <a:pos x="T76" y="T77"/>
                        </a:cxn>
                        <a:cxn ang="T131">
                          <a:pos x="T78" y="T79"/>
                        </a:cxn>
                        <a:cxn ang="T132">
                          <a:pos x="T80" y="T81"/>
                        </a:cxn>
                        <a:cxn ang="T133">
                          <a:pos x="T82" y="T83"/>
                        </a:cxn>
                        <a:cxn ang="T134">
                          <a:pos x="T84" y="T85"/>
                        </a:cxn>
                        <a:cxn ang="T135">
                          <a:pos x="T86" y="T87"/>
                        </a:cxn>
                        <a:cxn ang="T136">
                          <a:pos x="T88" y="T89"/>
                        </a:cxn>
                        <a:cxn ang="T137">
                          <a:pos x="T90" y="T91"/>
                        </a:cxn>
                      </a:cxnLst>
                      <a:rect l="T138" t="T139" r="T140" b="T141"/>
                      <a:pathLst>
                        <a:path w="442" h="290">
                          <a:moveTo>
                            <a:pt x="0" y="4"/>
                          </a:moveTo>
                          <a:lnTo>
                            <a:pt x="0" y="9"/>
                          </a:lnTo>
                          <a:lnTo>
                            <a:pt x="4" y="9"/>
                          </a:lnTo>
                          <a:lnTo>
                            <a:pt x="18" y="36"/>
                          </a:lnTo>
                          <a:lnTo>
                            <a:pt x="22" y="49"/>
                          </a:lnTo>
                          <a:lnTo>
                            <a:pt x="36" y="53"/>
                          </a:lnTo>
                          <a:lnTo>
                            <a:pt x="45" y="67"/>
                          </a:lnTo>
                          <a:lnTo>
                            <a:pt x="45" y="76"/>
                          </a:lnTo>
                          <a:lnTo>
                            <a:pt x="49" y="80"/>
                          </a:lnTo>
                          <a:lnTo>
                            <a:pt x="40" y="76"/>
                          </a:lnTo>
                          <a:lnTo>
                            <a:pt x="31" y="80"/>
                          </a:lnTo>
                          <a:lnTo>
                            <a:pt x="40" y="94"/>
                          </a:lnTo>
                          <a:lnTo>
                            <a:pt x="54" y="98"/>
                          </a:lnTo>
                          <a:lnTo>
                            <a:pt x="58" y="94"/>
                          </a:lnTo>
                          <a:lnTo>
                            <a:pt x="71" y="107"/>
                          </a:lnTo>
                          <a:lnTo>
                            <a:pt x="71" y="134"/>
                          </a:lnTo>
                          <a:lnTo>
                            <a:pt x="80" y="138"/>
                          </a:lnTo>
                          <a:lnTo>
                            <a:pt x="80" y="134"/>
                          </a:lnTo>
                          <a:lnTo>
                            <a:pt x="76" y="134"/>
                          </a:lnTo>
                          <a:lnTo>
                            <a:pt x="76" y="129"/>
                          </a:lnTo>
                          <a:lnTo>
                            <a:pt x="80" y="129"/>
                          </a:lnTo>
                          <a:lnTo>
                            <a:pt x="85" y="138"/>
                          </a:lnTo>
                          <a:lnTo>
                            <a:pt x="107" y="161"/>
                          </a:lnTo>
                          <a:lnTo>
                            <a:pt x="116" y="147"/>
                          </a:lnTo>
                          <a:lnTo>
                            <a:pt x="112" y="138"/>
                          </a:lnTo>
                          <a:lnTo>
                            <a:pt x="112" y="134"/>
                          </a:lnTo>
                          <a:lnTo>
                            <a:pt x="107" y="134"/>
                          </a:lnTo>
                          <a:lnTo>
                            <a:pt x="107" y="138"/>
                          </a:lnTo>
                          <a:lnTo>
                            <a:pt x="103" y="134"/>
                          </a:lnTo>
                          <a:lnTo>
                            <a:pt x="98" y="138"/>
                          </a:lnTo>
                          <a:lnTo>
                            <a:pt x="94" y="120"/>
                          </a:lnTo>
                          <a:lnTo>
                            <a:pt x="89" y="111"/>
                          </a:lnTo>
                          <a:lnTo>
                            <a:pt x="94" y="111"/>
                          </a:lnTo>
                          <a:lnTo>
                            <a:pt x="94" y="107"/>
                          </a:lnTo>
                          <a:lnTo>
                            <a:pt x="89" y="107"/>
                          </a:lnTo>
                          <a:lnTo>
                            <a:pt x="80" y="94"/>
                          </a:lnTo>
                          <a:lnTo>
                            <a:pt x="80" y="98"/>
                          </a:lnTo>
                          <a:lnTo>
                            <a:pt x="58" y="62"/>
                          </a:lnTo>
                          <a:lnTo>
                            <a:pt x="63" y="58"/>
                          </a:lnTo>
                          <a:lnTo>
                            <a:pt x="54" y="53"/>
                          </a:lnTo>
                          <a:lnTo>
                            <a:pt x="54" y="58"/>
                          </a:lnTo>
                          <a:lnTo>
                            <a:pt x="49" y="49"/>
                          </a:lnTo>
                          <a:lnTo>
                            <a:pt x="40" y="44"/>
                          </a:lnTo>
                          <a:lnTo>
                            <a:pt x="36" y="18"/>
                          </a:lnTo>
                          <a:lnTo>
                            <a:pt x="58" y="22"/>
                          </a:lnTo>
                          <a:lnTo>
                            <a:pt x="58" y="31"/>
                          </a:lnTo>
                          <a:lnTo>
                            <a:pt x="71" y="58"/>
                          </a:lnTo>
                          <a:lnTo>
                            <a:pt x="67" y="58"/>
                          </a:lnTo>
                          <a:lnTo>
                            <a:pt x="67" y="67"/>
                          </a:lnTo>
                          <a:lnTo>
                            <a:pt x="71" y="67"/>
                          </a:lnTo>
                          <a:lnTo>
                            <a:pt x="76" y="62"/>
                          </a:lnTo>
                          <a:lnTo>
                            <a:pt x="71" y="58"/>
                          </a:lnTo>
                          <a:lnTo>
                            <a:pt x="80" y="67"/>
                          </a:lnTo>
                          <a:lnTo>
                            <a:pt x="89" y="80"/>
                          </a:lnTo>
                          <a:lnTo>
                            <a:pt x="94" y="80"/>
                          </a:lnTo>
                          <a:lnTo>
                            <a:pt x="98" y="89"/>
                          </a:lnTo>
                          <a:lnTo>
                            <a:pt x="103" y="89"/>
                          </a:lnTo>
                          <a:lnTo>
                            <a:pt x="112" y="98"/>
                          </a:lnTo>
                          <a:lnTo>
                            <a:pt x="116" y="98"/>
                          </a:lnTo>
                          <a:lnTo>
                            <a:pt x="121" y="103"/>
                          </a:lnTo>
                          <a:lnTo>
                            <a:pt x="116" y="116"/>
                          </a:lnTo>
                          <a:lnTo>
                            <a:pt x="121" y="120"/>
                          </a:lnTo>
                          <a:lnTo>
                            <a:pt x="130" y="120"/>
                          </a:lnTo>
                          <a:lnTo>
                            <a:pt x="152" y="147"/>
                          </a:lnTo>
                          <a:lnTo>
                            <a:pt x="152" y="152"/>
                          </a:lnTo>
                          <a:lnTo>
                            <a:pt x="170" y="165"/>
                          </a:lnTo>
                          <a:lnTo>
                            <a:pt x="174" y="187"/>
                          </a:lnTo>
                          <a:lnTo>
                            <a:pt x="174" y="192"/>
                          </a:lnTo>
                          <a:lnTo>
                            <a:pt x="174" y="196"/>
                          </a:lnTo>
                          <a:lnTo>
                            <a:pt x="170" y="201"/>
                          </a:lnTo>
                          <a:lnTo>
                            <a:pt x="174" y="210"/>
                          </a:lnTo>
                          <a:lnTo>
                            <a:pt x="201" y="232"/>
                          </a:lnTo>
                          <a:lnTo>
                            <a:pt x="228" y="237"/>
                          </a:lnTo>
                          <a:lnTo>
                            <a:pt x="237" y="254"/>
                          </a:lnTo>
                          <a:lnTo>
                            <a:pt x="259" y="259"/>
                          </a:lnTo>
                          <a:lnTo>
                            <a:pt x="295" y="277"/>
                          </a:lnTo>
                          <a:lnTo>
                            <a:pt x="308" y="272"/>
                          </a:lnTo>
                          <a:lnTo>
                            <a:pt x="317" y="268"/>
                          </a:lnTo>
                          <a:lnTo>
                            <a:pt x="331" y="268"/>
                          </a:lnTo>
                          <a:lnTo>
                            <a:pt x="339" y="272"/>
                          </a:lnTo>
                          <a:lnTo>
                            <a:pt x="357" y="290"/>
                          </a:lnTo>
                          <a:lnTo>
                            <a:pt x="362" y="268"/>
                          </a:lnTo>
                          <a:lnTo>
                            <a:pt x="384" y="268"/>
                          </a:lnTo>
                          <a:lnTo>
                            <a:pt x="384" y="263"/>
                          </a:lnTo>
                          <a:lnTo>
                            <a:pt x="371" y="246"/>
                          </a:lnTo>
                          <a:lnTo>
                            <a:pt x="375" y="237"/>
                          </a:lnTo>
                          <a:lnTo>
                            <a:pt x="393" y="237"/>
                          </a:lnTo>
                          <a:lnTo>
                            <a:pt x="398" y="241"/>
                          </a:lnTo>
                          <a:lnTo>
                            <a:pt x="402" y="237"/>
                          </a:lnTo>
                          <a:lnTo>
                            <a:pt x="411" y="228"/>
                          </a:lnTo>
                          <a:lnTo>
                            <a:pt x="415" y="223"/>
                          </a:lnTo>
                          <a:lnTo>
                            <a:pt x="420" y="232"/>
                          </a:lnTo>
                          <a:lnTo>
                            <a:pt x="429" y="214"/>
                          </a:lnTo>
                          <a:lnTo>
                            <a:pt x="424" y="210"/>
                          </a:lnTo>
                          <a:lnTo>
                            <a:pt x="433" y="201"/>
                          </a:lnTo>
                          <a:lnTo>
                            <a:pt x="433" y="205"/>
                          </a:lnTo>
                          <a:lnTo>
                            <a:pt x="442" y="196"/>
                          </a:lnTo>
                          <a:lnTo>
                            <a:pt x="438" y="196"/>
                          </a:lnTo>
                          <a:lnTo>
                            <a:pt x="438" y="183"/>
                          </a:lnTo>
                          <a:lnTo>
                            <a:pt x="433" y="179"/>
                          </a:lnTo>
                          <a:lnTo>
                            <a:pt x="415" y="179"/>
                          </a:lnTo>
                          <a:lnTo>
                            <a:pt x="398" y="183"/>
                          </a:lnTo>
                          <a:lnTo>
                            <a:pt x="384" y="192"/>
                          </a:lnTo>
                          <a:lnTo>
                            <a:pt x="389" y="192"/>
                          </a:lnTo>
                          <a:lnTo>
                            <a:pt x="384" y="210"/>
                          </a:lnTo>
                          <a:lnTo>
                            <a:pt x="375" y="219"/>
                          </a:lnTo>
                          <a:lnTo>
                            <a:pt x="380" y="223"/>
                          </a:lnTo>
                          <a:lnTo>
                            <a:pt x="366" y="223"/>
                          </a:lnTo>
                          <a:lnTo>
                            <a:pt x="366" y="219"/>
                          </a:lnTo>
                          <a:lnTo>
                            <a:pt x="339" y="228"/>
                          </a:lnTo>
                          <a:lnTo>
                            <a:pt x="326" y="232"/>
                          </a:lnTo>
                          <a:lnTo>
                            <a:pt x="322" y="228"/>
                          </a:lnTo>
                          <a:lnTo>
                            <a:pt x="308" y="219"/>
                          </a:lnTo>
                          <a:lnTo>
                            <a:pt x="299" y="205"/>
                          </a:lnTo>
                          <a:lnTo>
                            <a:pt x="290" y="196"/>
                          </a:lnTo>
                          <a:lnTo>
                            <a:pt x="286" y="187"/>
                          </a:lnTo>
                          <a:lnTo>
                            <a:pt x="286" y="179"/>
                          </a:lnTo>
                          <a:lnTo>
                            <a:pt x="281" y="174"/>
                          </a:lnTo>
                          <a:lnTo>
                            <a:pt x="281" y="156"/>
                          </a:lnTo>
                          <a:lnTo>
                            <a:pt x="286" y="143"/>
                          </a:lnTo>
                          <a:lnTo>
                            <a:pt x="281" y="138"/>
                          </a:lnTo>
                          <a:lnTo>
                            <a:pt x="281" y="134"/>
                          </a:lnTo>
                          <a:lnTo>
                            <a:pt x="286" y="125"/>
                          </a:lnTo>
                          <a:lnTo>
                            <a:pt x="290" y="111"/>
                          </a:lnTo>
                          <a:lnTo>
                            <a:pt x="286" y="111"/>
                          </a:lnTo>
                          <a:lnTo>
                            <a:pt x="264" y="103"/>
                          </a:lnTo>
                          <a:lnTo>
                            <a:pt x="255" y="85"/>
                          </a:lnTo>
                          <a:lnTo>
                            <a:pt x="228" y="53"/>
                          </a:lnTo>
                          <a:lnTo>
                            <a:pt x="214" y="49"/>
                          </a:lnTo>
                          <a:lnTo>
                            <a:pt x="201" y="67"/>
                          </a:lnTo>
                          <a:lnTo>
                            <a:pt x="183" y="53"/>
                          </a:lnTo>
                          <a:lnTo>
                            <a:pt x="179" y="31"/>
                          </a:lnTo>
                          <a:lnTo>
                            <a:pt x="156" y="18"/>
                          </a:lnTo>
                          <a:lnTo>
                            <a:pt x="130" y="18"/>
                          </a:lnTo>
                          <a:lnTo>
                            <a:pt x="134" y="27"/>
                          </a:lnTo>
                          <a:lnTo>
                            <a:pt x="89" y="27"/>
                          </a:lnTo>
                          <a:lnTo>
                            <a:pt x="36" y="0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89" name="Freeform 100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1842" y="2457"/>
                      <a:ext cx="17" cy="8"/>
                    </a:xfrm>
                    <a:custGeom>
                      <a:avLst/>
                      <a:gdLst>
                        <a:gd name="T0" fmla="*/ 9 w 18"/>
                        <a:gd name="T1" fmla="*/ 4 h 9"/>
                        <a:gd name="T2" fmla="*/ 9 w 18"/>
                        <a:gd name="T3" fmla="*/ 4 h 9"/>
                        <a:gd name="T4" fmla="*/ 9 w 18"/>
                        <a:gd name="T5" fmla="*/ 4 h 9"/>
                        <a:gd name="T6" fmla="*/ 4 w 18"/>
                        <a:gd name="T7" fmla="*/ 0 h 9"/>
                        <a:gd name="T8" fmla="*/ 0 w 18"/>
                        <a:gd name="T9" fmla="*/ 4 h 9"/>
                        <a:gd name="T10" fmla="*/ 9 w 18"/>
                        <a:gd name="T11" fmla="*/ 4 h 9"/>
                        <a:gd name="T12" fmla="*/ 9 w 18"/>
                        <a:gd name="T13" fmla="*/ 4 h 9"/>
                        <a:gd name="T14" fmla="*/ 9 w 18"/>
                        <a:gd name="T15" fmla="*/ 4 h 9"/>
                        <a:gd name="T16" fmla="*/ 9 w 18"/>
                        <a:gd name="T17" fmla="*/ 4 h 9"/>
                        <a:gd name="T18" fmla="*/ 9 w 18"/>
                        <a:gd name="T19" fmla="*/ 4 h 9"/>
                        <a:gd name="T20" fmla="*/ 9 w 18"/>
                        <a:gd name="T21" fmla="*/ 4 h 9"/>
                        <a:gd name="T22" fmla="*/ 9 w 18"/>
                        <a:gd name="T23" fmla="*/ 4 h 9"/>
                        <a:gd name="T24" fmla="*/ 9 w 18"/>
                        <a:gd name="T25" fmla="*/ 4 h 9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18"/>
                        <a:gd name="T40" fmla="*/ 0 h 9"/>
                        <a:gd name="T41" fmla="*/ 18 w 18"/>
                        <a:gd name="T42" fmla="*/ 9 h 9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18" h="9">
                          <a:moveTo>
                            <a:pt x="9" y="9"/>
                          </a:moveTo>
                          <a:lnTo>
                            <a:pt x="9" y="9"/>
                          </a:lnTo>
                          <a:lnTo>
                            <a:pt x="13" y="5"/>
                          </a:lnTo>
                          <a:lnTo>
                            <a:pt x="4" y="0"/>
                          </a:lnTo>
                          <a:lnTo>
                            <a:pt x="0" y="5"/>
                          </a:lnTo>
                          <a:lnTo>
                            <a:pt x="9" y="9"/>
                          </a:lnTo>
                          <a:close/>
                          <a:moveTo>
                            <a:pt x="18" y="9"/>
                          </a:moveTo>
                          <a:lnTo>
                            <a:pt x="18" y="5"/>
                          </a:lnTo>
                          <a:lnTo>
                            <a:pt x="13" y="5"/>
                          </a:lnTo>
                          <a:lnTo>
                            <a:pt x="18" y="5"/>
                          </a:lnTo>
                          <a:lnTo>
                            <a:pt x="18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0" name="Freeform 10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593" y="2423"/>
                      <a:ext cx="63" cy="59"/>
                    </a:xfrm>
                    <a:custGeom>
                      <a:avLst/>
                      <a:gdLst>
                        <a:gd name="T0" fmla="*/ 5 w 67"/>
                        <a:gd name="T1" fmla="*/ 7 h 63"/>
                        <a:gd name="T2" fmla="*/ 0 w 67"/>
                        <a:gd name="T3" fmla="*/ 7 h 63"/>
                        <a:gd name="T4" fmla="*/ 8 w 67"/>
                        <a:gd name="T5" fmla="*/ 7 h 63"/>
                        <a:gd name="T6" fmla="*/ 8 w 67"/>
                        <a:gd name="T7" fmla="*/ 7 h 63"/>
                        <a:gd name="T8" fmla="*/ 8 w 67"/>
                        <a:gd name="T9" fmla="*/ 8 h 63"/>
                        <a:gd name="T10" fmla="*/ 8 w 67"/>
                        <a:gd name="T11" fmla="*/ 8 h 63"/>
                        <a:gd name="T12" fmla="*/ 8 w 67"/>
                        <a:gd name="T13" fmla="*/ 7 h 63"/>
                        <a:gd name="T14" fmla="*/ 9 w 67"/>
                        <a:gd name="T15" fmla="*/ 7 h 63"/>
                        <a:gd name="T16" fmla="*/ 8 w 67"/>
                        <a:gd name="T17" fmla="*/ 7 h 63"/>
                        <a:gd name="T18" fmla="*/ 9 w 67"/>
                        <a:gd name="T19" fmla="*/ 7 h 63"/>
                        <a:gd name="T20" fmla="*/ 9 w 67"/>
                        <a:gd name="T21" fmla="*/ 7 h 63"/>
                        <a:gd name="T22" fmla="*/ 10 w 67"/>
                        <a:gd name="T23" fmla="*/ 7 h 63"/>
                        <a:gd name="T24" fmla="*/ 9 w 67"/>
                        <a:gd name="T25" fmla="*/ 5 h 63"/>
                        <a:gd name="T26" fmla="*/ 9 w 67"/>
                        <a:gd name="T27" fmla="*/ 0 h 63"/>
                        <a:gd name="T28" fmla="*/ 8 w 67"/>
                        <a:gd name="T29" fmla="*/ 7 h 63"/>
                        <a:gd name="T30" fmla="*/ 8 w 67"/>
                        <a:gd name="T31" fmla="*/ 7 h 63"/>
                        <a:gd name="T32" fmla="*/ 8 w 67"/>
                        <a:gd name="T33" fmla="*/ 7 h 63"/>
                        <a:gd name="T34" fmla="*/ 8 w 67"/>
                        <a:gd name="T35" fmla="*/ 7 h 63"/>
                        <a:gd name="T36" fmla="*/ 8 w 67"/>
                        <a:gd name="T37" fmla="*/ 7 h 63"/>
                        <a:gd name="T38" fmla="*/ 8 w 67"/>
                        <a:gd name="T39" fmla="*/ 7 h 63"/>
                        <a:gd name="T40" fmla="*/ 5 w 67"/>
                        <a:gd name="T41" fmla="*/ 7 h 63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7"/>
                        <a:gd name="T64" fmla="*/ 0 h 63"/>
                        <a:gd name="T65" fmla="*/ 67 w 67"/>
                        <a:gd name="T66" fmla="*/ 63 h 63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7" h="63">
                          <a:moveTo>
                            <a:pt x="5" y="32"/>
                          </a:moveTo>
                          <a:lnTo>
                            <a:pt x="0" y="36"/>
                          </a:lnTo>
                          <a:lnTo>
                            <a:pt x="27" y="58"/>
                          </a:lnTo>
                          <a:lnTo>
                            <a:pt x="45" y="58"/>
                          </a:lnTo>
                          <a:lnTo>
                            <a:pt x="58" y="63"/>
                          </a:lnTo>
                          <a:lnTo>
                            <a:pt x="58" y="54"/>
                          </a:lnTo>
                          <a:lnTo>
                            <a:pt x="63" y="54"/>
                          </a:lnTo>
                          <a:lnTo>
                            <a:pt x="58" y="41"/>
                          </a:lnTo>
                          <a:lnTo>
                            <a:pt x="63" y="36"/>
                          </a:lnTo>
                          <a:lnTo>
                            <a:pt x="63" y="27"/>
                          </a:lnTo>
                          <a:lnTo>
                            <a:pt x="67" y="9"/>
                          </a:lnTo>
                          <a:lnTo>
                            <a:pt x="63" y="5"/>
                          </a:lnTo>
                          <a:lnTo>
                            <a:pt x="63" y="0"/>
                          </a:lnTo>
                          <a:lnTo>
                            <a:pt x="49" y="9"/>
                          </a:lnTo>
                          <a:lnTo>
                            <a:pt x="45" y="9"/>
                          </a:lnTo>
                          <a:lnTo>
                            <a:pt x="32" y="18"/>
                          </a:lnTo>
                          <a:lnTo>
                            <a:pt x="23" y="18"/>
                          </a:lnTo>
                          <a:lnTo>
                            <a:pt x="14" y="23"/>
                          </a:lnTo>
                          <a:lnTo>
                            <a:pt x="14" y="27"/>
                          </a:lnTo>
                          <a:lnTo>
                            <a:pt x="5" y="3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1" name="Freeform 10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656" y="2500"/>
                      <a:ext cx="76" cy="38"/>
                    </a:xfrm>
                    <a:custGeom>
                      <a:avLst/>
                      <a:gdLst>
                        <a:gd name="T0" fmla="*/ 0 w 81"/>
                        <a:gd name="T1" fmla="*/ 10 h 40"/>
                        <a:gd name="T2" fmla="*/ 0 w 81"/>
                        <a:gd name="T3" fmla="*/ 4 h 40"/>
                        <a:gd name="T4" fmla="*/ 8 w 81"/>
                        <a:gd name="T5" fmla="*/ 0 h 40"/>
                        <a:gd name="T6" fmla="*/ 8 w 81"/>
                        <a:gd name="T7" fmla="*/ 9 h 40"/>
                        <a:gd name="T8" fmla="*/ 8 w 81"/>
                        <a:gd name="T9" fmla="*/ 4 h 40"/>
                        <a:gd name="T10" fmla="*/ 8 w 81"/>
                        <a:gd name="T11" fmla="*/ 10 h 40"/>
                        <a:gd name="T12" fmla="*/ 8 w 81"/>
                        <a:gd name="T13" fmla="*/ 0 h 40"/>
                        <a:gd name="T14" fmla="*/ 8 w 81"/>
                        <a:gd name="T15" fmla="*/ 0 h 40"/>
                        <a:gd name="T16" fmla="*/ 11 w 81"/>
                        <a:gd name="T17" fmla="*/ 4 h 40"/>
                        <a:gd name="T18" fmla="*/ 13 w 81"/>
                        <a:gd name="T19" fmla="*/ 10 h 40"/>
                        <a:gd name="T20" fmla="*/ 13 w 81"/>
                        <a:gd name="T21" fmla="*/ 10 h 40"/>
                        <a:gd name="T22" fmla="*/ 11 w 81"/>
                        <a:gd name="T23" fmla="*/ 10 h 40"/>
                        <a:gd name="T24" fmla="*/ 11 w 81"/>
                        <a:gd name="T25" fmla="*/ 10 h 40"/>
                        <a:gd name="T26" fmla="*/ 10 w 81"/>
                        <a:gd name="T27" fmla="*/ 10 h 40"/>
                        <a:gd name="T28" fmla="*/ 11 w 81"/>
                        <a:gd name="T29" fmla="*/ 10 h 40"/>
                        <a:gd name="T30" fmla="*/ 8 w 81"/>
                        <a:gd name="T31" fmla="*/ 10 h 40"/>
                        <a:gd name="T32" fmla="*/ 8 w 81"/>
                        <a:gd name="T33" fmla="*/ 9 h 40"/>
                        <a:gd name="T34" fmla="*/ 8 w 81"/>
                        <a:gd name="T35" fmla="*/ 10 h 40"/>
                        <a:gd name="T36" fmla="*/ 8 w 81"/>
                        <a:gd name="T37" fmla="*/ 10 h 40"/>
                        <a:gd name="T38" fmla="*/ 8 w 81"/>
                        <a:gd name="T39" fmla="*/ 10 h 40"/>
                        <a:gd name="T40" fmla="*/ 8 w 81"/>
                        <a:gd name="T41" fmla="*/ 10 h 40"/>
                        <a:gd name="T42" fmla="*/ 8 w 81"/>
                        <a:gd name="T43" fmla="*/ 10 h 40"/>
                        <a:gd name="T44" fmla="*/ 8 w 81"/>
                        <a:gd name="T45" fmla="*/ 10 h 40"/>
                        <a:gd name="T46" fmla="*/ 8 w 81"/>
                        <a:gd name="T47" fmla="*/ 10 h 40"/>
                        <a:gd name="T48" fmla="*/ 5 w 81"/>
                        <a:gd name="T49" fmla="*/ 10 h 40"/>
                        <a:gd name="T50" fmla="*/ 0 w 81"/>
                        <a:gd name="T51" fmla="*/ 10 h 40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81"/>
                        <a:gd name="T79" fmla="*/ 0 h 40"/>
                        <a:gd name="T80" fmla="*/ 81 w 81"/>
                        <a:gd name="T81" fmla="*/ 40 h 40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81" h="40">
                          <a:moveTo>
                            <a:pt x="0" y="18"/>
                          </a:moveTo>
                          <a:lnTo>
                            <a:pt x="0" y="4"/>
                          </a:lnTo>
                          <a:lnTo>
                            <a:pt x="9" y="0"/>
                          </a:lnTo>
                          <a:lnTo>
                            <a:pt x="14" y="9"/>
                          </a:lnTo>
                          <a:lnTo>
                            <a:pt x="18" y="4"/>
                          </a:lnTo>
                          <a:lnTo>
                            <a:pt x="27" y="13"/>
                          </a:lnTo>
                          <a:lnTo>
                            <a:pt x="49" y="0"/>
                          </a:lnTo>
                          <a:lnTo>
                            <a:pt x="58" y="0"/>
                          </a:lnTo>
                          <a:lnTo>
                            <a:pt x="72" y="4"/>
                          </a:lnTo>
                          <a:lnTo>
                            <a:pt x="81" y="13"/>
                          </a:lnTo>
                          <a:lnTo>
                            <a:pt x="81" y="27"/>
                          </a:lnTo>
                          <a:lnTo>
                            <a:pt x="72" y="31"/>
                          </a:lnTo>
                          <a:lnTo>
                            <a:pt x="67" y="27"/>
                          </a:lnTo>
                          <a:lnTo>
                            <a:pt x="72" y="18"/>
                          </a:lnTo>
                          <a:lnTo>
                            <a:pt x="58" y="13"/>
                          </a:lnTo>
                          <a:lnTo>
                            <a:pt x="49" y="9"/>
                          </a:lnTo>
                          <a:lnTo>
                            <a:pt x="45" y="18"/>
                          </a:lnTo>
                          <a:lnTo>
                            <a:pt x="41" y="22"/>
                          </a:lnTo>
                          <a:lnTo>
                            <a:pt x="45" y="31"/>
                          </a:lnTo>
                          <a:lnTo>
                            <a:pt x="32" y="40"/>
                          </a:lnTo>
                          <a:lnTo>
                            <a:pt x="27" y="31"/>
                          </a:lnTo>
                          <a:lnTo>
                            <a:pt x="18" y="27"/>
                          </a:lnTo>
                          <a:lnTo>
                            <a:pt x="9" y="18"/>
                          </a:lnTo>
                          <a:lnTo>
                            <a:pt x="5" y="27"/>
                          </a:lnTo>
                          <a:lnTo>
                            <a:pt x="0" y="18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2" name="Freeform 10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34" y="2905"/>
                      <a:ext cx="114" cy="122"/>
                    </a:xfrm>
                    <a:custGeom>
                      <a:avLst/>
                      <a:gdLst>
                        <a:gd name="T0" fmla="*/ 0 w 121"/>
                        <a:gd name="T1" fmla="*/ 9 h 129"/>
                        <a:gd name="T2" fmla="*/ 5 w 121"/>
                        <a:gd name="T3" fmla="*/ 9 h 129"/>
                        <a:gd name="T4" fmla="*/ 5 w 121"/>
                        <a:gd name="T5" fmla="*/ 9 h 129"/>
                        <a:gd name="T6" fmla="*/ 8 w 121"/>
                        <a:gd name="T7" fmla="*/ 9 h 129"/>
                        <a:gd name="T8" fmla="*/ 8 w 121"/>
                        <a:gd name="T9" fmla="*/ 0 h 129"/>
                        <a:gd name="T10" fmla="*/ 10 w 121"/>
                        <a:gd name="T11" fmla="*/ 4 h 129"/>
                        <a:gd name="T12" fmla="*/ 11 w 121"/>
                        <a:gd name="T13" fmla="*/ 9 h 129"/>
                        <a:gd name="T14" fmla="*/ 12 w 121"/>
                        <a:gd name="T15" fmla="*/ 9 h 129"/>
                        <a:gd name="T16" fmla="*/ 12 w 121"/>
                        <a:gd name="T17" fmla="*/ 9 h 129"/>
                        <a:gd name="T18" fmla="*/ 11 w 121"/>
                        <a:gd name="T19" fmla="*/ 9 h 129"/>
                        <a:gd name="T20" fmla="*/ 14 w 121"/>
                        <a:gd name="T21" fmla="*/ 9 h 129"/>
                        <a:gd name="T22" fmla="*/ 17 w 121"/>
                        <a:gd name="T23" fmla="*/ 9 h 129"/>
                        <a:gd name="T24" fmla="*/ 18 w 121"/>
                        <a:gd name="T25" fmla="*/ 9 h 129"/>
                        <a:gd name="T26" fmla="*/ 18 w 121"/>
                        <a:gd name="T27" fmla="*/ 15 h 129"/>
                        <a:gd name="T28" fmla="*/ 20 w 121"/>
                        <a:gd name="T29" fmla="*/ 14 h 129"/>
                        <a:gd name="T30" fmla="*/ 21 w 121"/>
                        <a:gd name="T31" fmla="*/ 15 h 129"/>
                        <a:gd name="T32" fmla="*/ 20 w 121"/>
                        <a:gd name="T33" fmla="*/ 19 h 129"/>
                        <a:gd name="T34" fmla="*/ 21 w 121"/>
                        <a:gd name="T35" fmla="*/ 19 h 129"/>
                        <a:gd name="T36" fmla="*/ 20 w 121"/>
                        <a:gd name="T37" fmla="*/ 22 h 129"/>
                        <a:gd name="T38" fmla="*/ 18 w 121"/>
                        <a:gd name="T39" fmla="*/ 24 h 129"/>
                        <a:gd name="T40" fmla="*/ 15 w 121"/>
                        <a:gd name="T41" fmla="*/ 24 h 129"/>
                        <a:gd name="T42" fmla="*/ 12 w 121"/>
                        <a:gd name="T43" fmla="*/ 24 h 129"/>
                        <a:gd name="T44" fmla="*/ 9 w 121"/>
                        <a:gd name="T45" fmla="*/ 24 h 129"/>
                        <a:gd name="T46" fmla="*/ 12 w 121"/>
                        <a:gd name="T47" fmla="*/ 19 h 129"/>
                        <a:gd name="T48" fmla="*/ 12 w 121"/>
                        <a:gd name="T49" fmla="*/ 18 h 129"/>
                        <a:gd name="T50" fmla="*/ 8 w 121"/>
                        <a:gd name="T51" fmla="*/ 14 h 129"/>
                        <a:gd name="T52" fmla="*/ 8 w 121"/>
                        <a:gd name="T53" fmla="*/ 14 h 129"/>
                        <a:gd name="T54" fmla="*/ 0 w 121"/>
                        <a:gd name="T55" fmla="*/ 9 h 129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w 121"/>
                        <a:gd name="T85" fmla="*/ 0 h 129"/>
                        <a:gd name="T86" fmla="*/ 121 w 121"/>
                        <a:gd name="T87" fmla="*/ 129 h 129"/>
                      </a:gdLst>
                      <a:ahLst/>
                      <a:cxnLst>
                        <a:cxn ang="T56">
                          <a:pos x="T0" y="T1"/>
                        </a:cxn>
                        <a:cxn ang="T57">
                          <a:pos x="T2" y="T3"/>
                        </a:cxn>
                        <a:cxn ang="T58">
                          <a:pos x="T4" y="T5"/>
                        </a:cxn>
                        <a:cxn ang="T59">
                          <a:pos x="T6" y="T7"/>
                        </a:cxn>
                        <a:cxn ang="T60">
                          <a:pos x="T8" y="T9"/>
                        </a:cxn>
                        <a:cxn ang="T61">
                          <a:pos x="T10" y="T11"/>
                        </a:cxn>
                        <a:cxn ang="T62">
                          <a:pos x="T12" y="T13"/>
                        </a:cxn>
                        <a:cxn ang="T63">
                          <a:pos x="T14" y="T15"/>
                        </a:cxn>
                        <a:cxn ang="T64">
                          <a:pos x="T16" y="T17"/>
                        </a:cxn>
                        <a:cxn ang="T65">
                          <a:pos x="T18" y="T19"/>
                        </a:cxn>
                        <a:cxn ang="T66">
                          <a:pos x="T20" y="T21"/>
                        </a:cxn>
                        <a:cxn ang="T67">
                          <a:pos x="T22" y="T23"/>
                        </a:cxn>
                        <a:cxn ang="T68">
                          <a:pos x="T24" y="T25"/>
                        </a:cxn>
                        <a:cxn ang="T69">
                          <a:pos x="T26" y="T27"/>
                        </a:cxn>
                        <a:cxn ang="T70">
                          <a:pos x="T28" y="T29"/>
                        </a:cxn>
                        <a:cxn ang="T71">
                          <a:pos x="T30" y="T31"/>
                        </a:cxn>
                        <a:cxn ang="T72">
                          <a:pos x="T32" y="T33"/>
                        </a:cxn>
                        <a:cxn ang="T73">
                          <a:pos x="T34" y="T35"/>
                        </a:cxn>
                        <a:cxn ang="T74">
                          <a:pos x="T36" y="T37"/>
                        </a:cxn>
                        <a:cxn ang="T75">
                          <a:pos x="T38" y="T39"/>
                        </a:cxn>
                        <a:cxn ang="T76">
                          <a:pos x="T40" y="T41"/>
                        </a:cxn>
                        <a:cxn ang="T77">
                          <a:pos x="T42" y="T43"/>
                        </a:cxn>
                        <a:cxn ang="T78">
                          <a:pos x="T44" y="T45"/>
                        </a:cxn>
                        <a:cxn ang="T79">
                          <a:pos x="T46" y="T47"/>
                        </a:cxn>
                        <a:cxn ang="T80">
                          <a:pos x="T48" y="T49"/>
                        </a:cxn>
                        <a:cxn ang="T81">
                          <a:pos x="T50" y="T51"/>
                        </a:cxn>
                        <a:cxn ang="T82">
                          <a:pos x="T52" y="T53"/>
                        </a:cxn>
                        <a:cxn ang="T83">
                          <a:pos x="T54" y="T55"/>
                        </a:cxn>
                      </a:cxnLst>
                      <a:rect l="T84" t="T85" r="T86" b="T87"/>
                      <a:pathLst>
                        <a:path w="121" h="129">
                          <a:moveTo>
                            <a:pt x="0" y="44"/>
                          </a:moveTo>
                          <a:lnTo>
                            <a:pt x="5" y="31"/>
                          </a:lnTo>
                          <a:lnTo>
                            <a:pt x="5" y="18"/>
                          </a:lnTo>
                          <a:lnTo>
                            <a:pt x="14" y="9"/>
                          </a:lnTo>
                          <a:lnTo>
                            <a:pt x="49" y="0"/>
                          </a:lnTo>
                          <a:lnTo>
                            <a:pt x="63" y="4"/>
                          </a:lnTo>
                          <a:lnTo>
                            <a:pt x="67" y="18"/>
                          </a:lnTo>
                          <a:lnTo>
                            <a:pt x="72" y="13"/>
                          </a:lnTo>
                          <a:lnTo>
                            <a:pt x="72" y="27"/>
                          </a:lnTo>
                          <a:lnTo>
                            <a:pt x="67" y="44"/>
                          </a:lnTo>
                          <a:lnTo>
                            <a:pt x="81" y="44"/>
                          </a:lnTo>
                          <a:lnTo>
                            <a:pt x="94" y="40"/>
                          </a:lnTo>
                          <a:lnTo>
                            <a:pt x="103" y="49"/>
                          </a:lnTo>
                          <a:lnTo>
                            <a:pt x="103" y="76"/>
                          </a:lnTo>
                          <a:lnTo>
                            <a:pt x="116" y="71"/>
                          </a:lnTo>
                          <a:lnTo>
                            <a:pt x="121" y="76"/>
                          </a:lnTo>
                          <a:lnTo>
                            <a:pt x="116" y="94"/>
                          </a:lnTo>
                          <a:lnTo>
                            <a:pt x="121" y="98"/>
                          </a:lnTo>
                          <a:lnTo>
                            <a:pt x="116" y="116"/>
                          </a:lnTo>
                          <a:lnTo>
                            <a:pt x="103" y="129"/>
                          </a:lnTo>
                          <a:lnTo>
                            <a:pt x="85" y="129"/>
                          </a:lnTo>
                          <a:lnTo>
                            <a:pt x="72" y="125"/>
                          </a:lnTo>
                          <a:lnTo>
                            <a:pt x="58" y="125"/>
                          </a:lnTo>
                          <a:lnTo>
                            <a:pt x="72" y="98"/>
                          </a:lnTo>
                          <a:lnTo>
                            <a:pt x="72" y="89"/>
                          </a:lnTo>
                          <a:lnTo>
                            <a:pt x="36" y="71"/>
                          </a:lnTo>
                          <a:lnTo>
                            <a:pt x="27" y="71"/>
                          </a:lnTo>
                          <a:lnTo>
                            <a:pt x="0" y="4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3" name="Freeform 104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681" y="2635"/>
                      <a:ext cx="169" cy="253"/>
                    </a:xfrm>
                    <a:custGeom>
                      <a:avLst/>
                      <a:gdLst>
                        <a:gd name="T0" fmla="*/ 8 w 179"/>
                        <a:gd name="T1" fmla="*/ 8 h 268"/>
                        <a:gd name="T2" fmla="*/ 8 w 179"/>
                        <a:gd name="T3" fmla="*/ 8 h 268"/>
                        <a:gd name="T4" fmla="*/ 0 w 179"/>
                        <a:gd name="T5" fmla="*/ 9 h 268"/>
                        <a:gd name="T6" fmla="*/ 0 w 179"/>
                        <a:gd name="T7" fmla="*/ 13 h 268"/>
                        <a:gd name="T8" fmla="*/ 5 w 179"/>
                        <a:gd name="T9" fmla="*/ 15 h 268"/>
                        <a:gd name="T10" fmla="*/ 0 w 179"/>
                        <a:gd name="T11" fmla="*/ 16 h 268"/>
                        <a:gd name="T12" fmla="*/ 8 w 179"/>
                        <a:gd name="T13" fmla="*/ 19 h 268"/>
                        <a:gd name="T14" fmla="*/ 8 w 179"/>
                        <a:gd name="T15" fmla="*/ 22 h 268"/>
                        <a:gd name="T16" fmla="*/ 8 w 179"/>
                        <a:gd name="T17" fmla="*/ 28 h 268"/>
                        <a:gd name="T18" fmla="*/ 9 w 179"/>
                        <a:gd name="T19" fmla="*/ 32 h 268"/>
                        <a:gd name="T20" fmla="*/ 13 w 179"/>
                        <a:gd name="T21" fmla="*/ 36 h 268"/>
                        <a:gd name="T22" fmla="*/ 13 w 179"/>
                        <a:gd name="T23" fmla="*/ 36 h 268"/>
                        <a:gd name="T24" fmla="*/ 18 w 179"/>
                        <a:gd name="T25" fmla="*/ 40 h 268"/>
                        <a:gd name="T26" fmla="*/ 19 w 179"/>
                        <a:gd name="T27" fmla="*/ 40 h 268"/>
                        <a:gd name="T28" fmla="*/ 25 w 179"/>
                        <a:gd name="T29" fmla="*/ 44 h 268"/>
                        <a:gd name="T30" fmla="*/ 28 w 179"/>
                        <a:gd name="T31" fmla="*/ 48 h 268"/>
                        <a:gd name="T32" fmla="*/ 30 w 179"/>
                        <a:gd name="T33" fmla="*/ 46 h 268"/>
                        <a:gd name="T34" fmla="*/ 30 w 179"/>
                        <a:gd name="T35" fmla="*/ 44 h 268"/>
                        <a:gd name="T36" fmla="*/ 32 w 179"/>
                        <a:gd name="T37" fmla="*/ 42 h 268"/>
                        <a:gd name="T38" fmla="*/ 30 w 179"/>
                        <a:gd name="T39" fmla="*/ 42 h 268"/>
                        <a:gd name="T40" fmla="*/ 32 w 179"/>
                        <a:gd name="T41" fmla="*/ 38 h 268"/>
                        <a:gd name="T42" fmla="*/ 32 w 179"/>
                        <a:gd name="T43" fmla="*/ 34 h 268"/>
                        <a:gd name="T44" fmla="*/ 32 w 179"/>
                        <a:gd name="T45" fmla="*/ 32 h 268"/>
                        <a:gd name="T46" fmla="*/ 30 w 179"/>
                        <a:gd name="T47" fmla="*/ 28 h 268"/>
                        <a:gd name="T48" fmla="*/ 26 w 179"/>
                        <a:gd name="T49" fmla="*/ 28 h 268"/>
                        <a:gd name="T50" fmla="*/ 26 w 179"/>
                        <a:gd name="T51" fmla="*/ 24 h 268"/>
                        <a:gd name="T52" fmla="*/ 24 w 179"/>
                        <a:gd name="T53" fmla="*/ 26 h 268"/>
                        <a:gd name="T54" fmla="*/ 23 w 179"/>
                        <a:gd name="T55" fmla="*/ 25 h 268"/>
                        <a:gd name="T56" fmla="*/ 21 w 179"/>
                        <a:gd name="T57" fmla="*/ 25 h 268"/>
                        <a:gd name="T58" fmla="*/ 21 w 179"/>
                        <a:gd name="T59" fmla="*/ 23 h 268"/>
                        <a:gd name="T60" fmla="*/ 19 w 179"/>
                        <a:gd name="T61" fmla="*/ 20 h 268"/>
                        <a:gd name="T62" fmla="*/ 22 w 179"/>
                        <a:gd name="T63" fmla="*/ 17 h 268"/>
                        <a:gd name="T64" fmla="*/ 22 w 179"/>
                        <a:gd name="T65" fmla="*/ 14 h 268"/>
                        <a:gd name="T66" fmla="*/ 24 w 179"/>
                        <a:gd name="T67" fmla="*/ 12 h 268"/>
                        <a:gd name="T68" fmla="*/ 26 w 179"/>
                        <a:gd name="T69" fmla="*/ 11 h 268"/>
                        <a:gd name="T70" fmla="*/ 28 w 179"/>
                        <a:gd name="T71" fmla="*/ 11 h 268"/>
                        <a:gd name="T72" fmla="*/ 28 w 179"/>
                        <a:gd name="T73" fmla="*/ 9 h 268"/>
                        <a:gd name="T74" fmla="*/ 26 w 179"/>
                        <a:gd name="T75" fmla="*/ 8 h 268"/>
                        <a:gd name="T76" fmla="*/ 28 w 179"/>
                        <a:gd name="T77" fmla="*/ 8 h 268"/>
                        <a:gd name="T78" fmla="*/ 24 w 179"/>
                        <a:gd name="T79" fmla="*/ 8 h 268"/>
                        <a:gd name="T80" fmla="*/ 22 w 179"/>
                        <a:gd name="T81" fmla="*/ 8 h 268"/>
                        <a:gd name="T82" fmla="*/ 19 w 179"/>
                        <a:gd name="T83" fmla="*/ 4 h 268"/>
                        <a:gd name="T84" fmla="*/ 16 w 179"/>
                        <a:gd name="T85" fmla="*/ 0 h 268"/>
                        <a:gd name="T86" fmla="*/ 16 w 179"/>
                        <a:gd name="T87" fmla="*/ 8 h 268"/>
                        <a:gd name="T88" fmla="*/ 11 w 179"/>
                        <a:gd name="T89" fmla="*/ 8 h 268"/>
                        <a:gd name="T90" fmla="*/ 8 w 179"/>
                        <a:gd name="T91" fmla="*/ 8 h 268"/>
                        <a:gd name="T92" fmla="*/ 8 w 179"/>
                        <a:gd name="T93" fmla="*/ 12 h 268"/>
                        <a:gd name="T94" fmla="*/ 8 w 179"/>
                        <a:gd name="T95" fmla="*/ 12 h 268"/>
                        <a:gd name="T96" fmla="*/ 8 w 179"/>
                        <a:gd name="T97" fmla="*/ 9 h 268"/>
                        <a:gd name="T98" fmla="*/ 8 w 179"/>
                        <a:gd name="T99" fmla="*/ 8 h 268"/>
                        <a:gd name="T100" fmla="*/ 8 w 179"/>
                        <a:gd name="T101" fmla="*/ 8 h 268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w 179"/>
                        <a:gd name="T154" fmla="*/ 0 h 268"/>
                        <a:gd name="T155" fmla="*/ 179 w 179"/>
                        <a:gd name="T156" fmla="*/ 268 h 268"/>
                      </a:gdLst>
                      <a:ahLst/>
                      <a:cxnLst>
                        <a:cxn ang="T102">
                          <a:pos x="T0" y="T1"/>
                        </a:cxn>
                        <a:cxn ang="T103">
                          <a:pos x="T2" y="T3"/>
                        </a:cxn>
                        <a:cxn ang="T104">
                          <a:pos x="T4" y="T5"/>
                        </a:cxn>
                        <a:cxn ang="T105">
                          <a:pos x="T6" y="T7"/>
                        </a:cxn>
                        <a:cxn ang="T106">
                          <a:pos x="T8" y="T9"/>
                        </a:cxn>
                        <a:cxn ang="T107">
                          <a:pos x="T10" y="T11"/>
                        </a:cxn>
                        <a:cxn ang="T108">
                          <a:pos x="T12" y="T13"/>
                        </a:cxn>
                        <a:cxn ang="T109">
                          <a:pos x="T14" y="T15"/>
                        </a:cxn>
                        <a:cxn ang="T110">
                          <a:pos x="T16" y="T17"/>
                        </a:cxn>
                        <a:cxn ang="T111">
                          <a:pos x="T18" y="T19"/>
                        </a:cxn>
                        <a:cxn ang="T112">
                          <a:pos x="T20" y="T21"/>
                        </a:cxn>
                        <a:cxn ang="T113">
                          <a:pos x="T22" y="T23"/>
                        </a:cxn>
                        <a:cxn ang="T114">
                          <a:pos x="T24" y="T25"/>
                        </a:cxn>
                        <a:cxn ang="T115">
                          <a:pos x="T26" y="T27"/>
                        </a:cxn>
                        <a:cxn ang="T116">
                          <a:pos x="T28" y="T29"/>
                        </a:cxn>
                        <a:cxn ang="T117">
                          <a:pos x="T30" y="T31"/>
                        </a:cxn>
                        <a:cxn ang="T118">
                          <a:pos x="T32" y="T33"/>
                        </a:cxn>
                        <a:cxn ang="T119">
                          <a:pos x="T34" y="T35"/>
                        </a:cxn>
                        <a:cxn ang="T120">
                          <a:pos x="T36" y="T37"/>
                        </a:cxn>
                        <a:cxn ang="T121">
                          <a:pos x="T38" y="T39"/>
                        </a:cxn>
                        <a:cxn ang="T122">
                          <a:pos x="T40" y="T41"/>
                        </a:cxn>
                        <a:cxn ang="T123">
                          <a:pos x="T42" y="T43"/>
                        </a:cxn>
                        <a:cxn ang="T124">
                          <a:pos x="T44" y="T45"/>
                        </a:cxn>
                        <a:cxn ang="T125">
                          <a:pos x="T46" y="T47"/>
                        </a:cxn>
                        <a:cxn ang="T126">
                          <a:pos x="T48" y="T49"/>
                        </a:cxn>
                        <a:cxn ang="T127">
                          <a:pos x="T50" y="T51"/>
                        </a:cxn>
                        <a:cxn ang="T128">
                          <a:pos x="T52" y="T53"/>
                        </a:cxn>
                        <a:cxn ang="T129">
                          <a:pos x="T54" y="T55"/>
                        </a:cxn>
                        <a:cxn ang="T130">
                          <a:pos x="T56" y="T57"/>
                        </a:cxn>
                        <a:cxn ang="T131">
                          <a:pos x="T58" y="T59"/>
                        </a:cxn>
                        <a:cxn ang="T132">
                          <a:pos x="T60" y="T61"/>
                        </a:cxn>
                        <a:cxn ang="T133">
                          <a:pos x="T62" y="T63"/>
                        </a:cxn>
                        <a:cxn ang="T134">
                          <a:pos x="T64" y="T65"/>
                        </a:cxn>
                        <a:cxn ang="T135">
                          <a:pos x="T66" y="T67"/>
                        </a:cxn>
                        <a:cxn ang="T136">
                          <a:pos x="T68" y="T69"/>
                        </a:cxn>
                        <a:cxn ang="T137">
                          <a:pos x="T70" y="T71"/>
                        </a:cxn>
                        <a:cxn ang="T138">
                          <a:pos x="T72" y="T73"/>
                        </a:cxn>
                        <a:cxn ang="T139">
                          <a:pos x="T74" y="T75"/>
                        </a:cxn>
                        <a:cxn ang="T140">
                          <a:pos x="T76" y="T77"/>
                        </a:cxn>
                        <a:cxn ang="T141">
                          <a:pos x="T78" y="T79"/>
                        </a:cxn>
                        <a:cxn ang="T142">
                          <a:pos x="T80" y="T81"/>
                        </a:cxn>
                        <a:cxn ang="T143">
                          <a:pos x="T82" y="T83"/>
                        </a:cxn>
                        <a:cxn ang="T144">
                          <a:pos x="T84" y="T85"/>
                        </a:cxn>
                        <a:cxn ang="T145">
                          <a:pos x="T86" y="T87"/>
                        </a:cxn>
                        <a:cxn ang="T146">
                          <a:pos x="T88" y="T89"/>
                        </a:cxn>
                        <a:cxn ang="T147">
                          <a:pos x="T90" y="T91"/>
                        </a:cxn>
                        <a:cxn ang="T148">
                          <a:pos x="T92" y="T93"/>
                        </a:cxn>
                        <a:cxn ang="T149">
                          <a:pos x="T94" y="T95"/>
                        </a:cxn>
                        <a:cxn ang="T150">
                          <a:pos x="T96" y="T97"/>
                        </a:cxn>
                        <a:cxn ang="T151">
                          <a:pos x="T98" y="T99"/>
                        </a:cxn>
                        <a:cxn ang="T152">
                          <a:pos x="T100" y="T101"/>
                        </a:cxn>
                      </a:cxnLst>
                      <a:rect l="T153" t="T154" r="T155" b="T156"/>
                      <a:pathLst>
                        <a:path w="179" h="268">
                          <a:moveTo>
                            <a:pt x="14" y="49"/>
                          </a:moveTo>
                          <a:lnTo>
                            <a:pt x="9" y="49"/>
                          </a:lnTo>
                          <a:lnTo>
                            <a:pt x="0" y="58"/>
                          </a:lnTo>
                          <a:lnTo>
                            <a:pt x="0" y="71"/>
                          </a:lnTo>
                          <a:lnTo>
                            <a:pt x="5" y="80"/>
                          </a:lnTo>
                          <a:lnTo>
                            <a:pt x="0" y="85"/>
                          </a:lnTo>
                          <a:lnTo>
                            <a:pt x="18" y="98"/>
                          </a:lnTo>
                          <a:lnTo>
                            <a:pt x="31" y="116"/>
                          </a:lnTo>
                          <a:lnTo>
                            <a:pt x="49" y="156"/>
                          </a:lnTo>
                          <a:lnTo>
                            <a:pt x="58" y="174"/>
                          </a:lnTo>
                          <a:lnTo>
                            <a:pt x="72" y="196"/>
                          </a:lnTo>
                          <a:lnTo>
                            <a:pt x="72" y="201"/>
                          </a:lnTo>
                          <a:lnTo>
                            <a:pt x="94" y="228"/>
                          </a:lnTo>
                          <a:lnTo>
                            <a:pt x="98" y="223"/>
                          </a:lnTo>
                          <a:lnTo>
                            <a:pt x="139" y="250"/>
                          </a:lnTo>
                          <a:lnTo>
                            <a:pt x="156" y="268"/>
                          </a:lnTo>
                          <a:lnTo>
                            <a:pt x="170" y="259"/>
                          </a:lnTo>
                          <a:lnTo>
                            <a:pt x="170" y="250"/>
                          </a:lnTo>
                          <a:lnTo>
                            <a:pt x="174" y="237"/>
                          </a:lnTo>
                          <a:lnTo>
                            <a:pt x="170" y="232"/>
                          </a:lnTo>
                          <a:lnTo>
                            <a:pt x="174" y="210"/>
                          </a:lnTo>
                          <a:lnTo>
                            <a:pt x="174" y="187"/>
                          </a:lnTo>
                          <a:lnTo>
                            <a:pt x="179" y="178"/>
                          </a:lnTo>
                          <a:lnTo>
                            <a:pt x="170" y="161"/>
                          </a:lnTo>
                          <a:lnTo>
                            <a:pt x="152" y="161"/>
                          </a:lnTo>
                          <a:lnTo>
                            <a:pt x="152" y="134"/>
                          </a:lnTo>
                          <a:lnTo>
                            <a:pt x="130" y="147"/>
                          </a:lnTo>
                          <a:lnTo>
                            <a:pt x="125" y="138"/>
                          </a:lnTo>
                          <a:lnTo>
                            <a:pt x="112" y="138"/>
                          </a:lnTo>
                          <a:lnTo>
                            <a:pt x="112" y="125"/>
                          </a:lnTo>
                          <a:lnTo>
                            <a:pt x="103" y="107"/>
                          </a:lnTo>
                          <a:lnTo>
                            <a:pt x="116" y="89"/>
                          </a:lnTo>
                          <a:lnTo>
                            <a:pt x="121" y="76"/>
                          </a:lnTo>
                          <a:lnTo>
                            <a:pt x="130" y="67"/>
                          </a:lnTo>
                          <a:lnTo>
                            <a:pt x="148" y="62"/>
                          </a:lnTo>
                          <a:lnTo>
                            <a:pt x="161" y="62"/>
                          </a:lnTo>
                          <a:lnTo>
                            <a:pt x="156" y="58"/>
                          </a:lnTo>
                          <a:lnTo>
                            <a:pt x="148" y="53"/>
                          </a:lnTo>
                          <a:lnTo>
                            <a:pt x="161" y="31"/>
                          </a:lnTo>
                          <a:lnTo>
                            <a:pt x="134" y="22"/>
                          </a:lnTo>
                          <a:lnTo>
                            <a:pt x="121" y="27"/>
                          </a:lnTo>
                          <a:lnTo>
                            <a:pt x="98" y="4"/>
                          </a:lnTo>
                          <a:lnTo>
                            <a:pt x="85" y="0"/>
                          </a:lnTo>
                          <a:lnTo>
                            <a:pt x="85" y="9"/>
                          </a:lnTo>
                          <a:lnTo>
                            <a:pt x="63" y="35"/>
                          </a:lnTo>
                          <a:lnTo>
                            <a:pt x="40" y="44"/>
                          </a:lnTo>
                          <a:lnTo>
                            <a:pt x="36" y="67"/>
                          </a:lnTo>
                          <a:lnTo>
                            <a:pt x="14" y="67"/>
                          </a:lnTo>
                          <a:lnTo>
                            <a:pt x="9" y="58"/>
                          </a:lnTo>
                          <a:lnTo>
                            <a:pt x="14" y="53"/>
                          </a:lnTo>
                          <a:lnTo>
                            <a:pt x="14" y="4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4" name="Freeform 10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876" y="2369"/>
                      <a:ext cx="21" cy="13"/>
                    </a:xfrm>
                    <a:custGeom>
                      <a:avLst/>
                      <a:gdLst>
                        <a:gd name="T0" fmla="*/ 0 w 22"/>
                        <a:gd name="T1" fmla="*/ 7 h 14"/>
                        <a:gd name="T2" fmla="*/ 11 w 22"/>
                        <a:gd name="T3" fmla="*/ 7 h 14"/>
                        <a:gd name="T4" fmla="*/ 11 w 22"/>
                        <a:gd name="T5" fmla="*/ 7 h 14"/>
                        <a:gd name="T6" fmla="*/ 11 w 22"/>
                        <a:gd name="T7" fmla="*/ 7 h 14"/>
                        <a:gd name="T8" fmla="*/ 11 w 22"/>
                        <a:gd name="T9" fmla="*/ 0 h 14"/>
                        <a:gd name="T10" fmla="*/ 11 w 22"/>
                        <a:gd name="T11" fmla="*/ 5 h 14"/>
                        <a:gd name="T12" fmla="*/ 0 w 22"/>
                        <a:gd name="T13" fmla="*/ 0 h 14"/>
                        <a:gd name="T14" fmla="*/ 0 w 22"/>
                        <a:gd name="T15" fmla="*/ 7 h 14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w 22"/>
                        <a:gd name="T25" fmla="*/ 0 h 14"/>
                        <a:gd name="T26" fmla="*/ 22 w 22"/>
                        <a:gd name="T27" fmla="*/ 14 h 14"/>
                      </a:gdLst>
                      <a:ahLst/>
                      <a:cxnLst>
                        <a:cxn ang="T16">
                          <a:pos x="T0" y="T1"/>
                        </a:cxn>
                        <a:cxn ang="T17">
                          <a:pos x="T2" y="T3"/>
                        </a:cxn>
                        <a:cxn ang="T18">
                          <a:pos x="T4" y="T5"/>
                        </a:cxn>
                        <a:cxn ang="T19">
                          <a:pos x="T6" y="T7"/>
                        </a:cxn>
                        <a:cxn ang="T20">
                          <a:pos x="T8" y="T9"/>
                        </a:cxn>
                        <a:cxn ang="T21">
                          <a:pos x="T10" y="T11"/>
                        </a:cxn>
                        <a:cxn ang="T22">
                          <a:pos x="T12" y="T13"/>
                        </a:cxn>
                        <a:cxn ang="T23">
                          <a:pos x="T14" y="T15"/>
                        </a:cxn>
                      </a:cxnLst>
                      <a:rect l="T24" t="T25" r="T26" b="T27"/>
                      <a:pathLst>
                        <a:path w="22" h="14">
                          <a:moveTo>
                            <a:pt x="0" y="14"/>
                          </a:moveTo>
                          <a:lnTo>
                            <a:pt x="13" y="9"/>
                          </a:lnTo>
                          <a:lnTo>
                            <a:pt x="17" y="14"/>
                          </a:lnTo>
                          <a:lnTo>
                            <a:pt x="22" y="9"/>
                          </a:lnTo>
                          <a:lnTo>
                            <a:pt x="22" y="0"/>
                          </a:lnTo>
                          <a:lnTo>
                            <a:pt x="13" y="5"/>
                          </a:lnTo>
                          <a:lnTo>
                            <a:pt x="0" y="0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5" name="Freeform 10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60" y="2437"/>
                      <a:ext cx="1" cy="8"/>
                    </a:xfrm>
                    <a:custGeom>
                      <a:avLst/>
                      <a:gdLst>
                        <a:gd name="T0" fmla="*/ 0 w 1"/>
                        <a:gd name="T1" fmla="*/ 0 h 9"/>
                        <a:gd name="T2" fmla="*/ 0 w 1"/>
                        <a:gd name="T3" fmla="*/ 4 h 9"/>
                        <a:gd name="T4" fmla="*/ 0 w 1"/>
                        <a:gd name="T5" fmla="*/ 4 h 9"/>
                        <a:gd name="T6" fmla="*/ 0 w 1"/>
                        <a:gd name="T7" fmla="*/ 0 h 9"/>
                        <a:gd name="T8" fmla="*/ 0 w 1"/>
                        <a:gd name="T9" fmla="*/ 0 h 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"/>
                        <a:gd name="T16" fmla="*/ 0 h 9"/>
                        <a:gd name="T17" fmla="*/ 1 w 1"/>
                        <a:gd name="T18" fmla="*/ 9 h 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" h="9">
                          <a:moveTo>
                            <a:pt x="0" y="0"/>
                          </a:moveTo>
                          <a:lnTo>
                            <a:pt x="0" y="9"/>
                          </a:lnTo>
                          <a:lnTo>
                            <a:pt x="0" y="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6" name="Freeform 10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55" y="2445"/>
                      <a:ext cx="5" cy="8"/>
                    </a:xfrm>
                    <a:custGeom>
                      <a:avLst/>
                      <a:gdLst>
                        <a:gd name="T0" fmla="*/ 5 w 5"/>
                        <a:gd name="T1" fmla="*/ 0 h 9"/>
                        <a:gd name="T2" fmla="*/ 0 w 5"/>
                        <a:gd name="T3" fmla="*/ 4 h 9"/>
                        <a:gd name="T4" fmla="*/ 5 w 5"/>
                        <a:gd name="T5" fmla="*/ 4 h 9"/>
                        <a:gd name="T6" fmla="*/ 5 w 5"/>
                        <a:gd name="T7" fmla="*/ 4 h 9"/>
                        <a:gd name="T8" fmla="*/ 5 w 5"/>
                        <a:gd name="T9" fmla="*/ 0 h 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5"/>
                        <a:gd name="T16" fmla="*/ 0 h 9"/>
                        <a:gd name="T17" fmla="*/ 5 w 5"/>
                        <a:gd name="T18" fmla="*/ 9 h 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5" h="9">
                          <a:moveTo>
                            <a:pt x="5" y="0"/>
                          </a:moveTo>
                          <a:lnTo>
                            <a:pt x="0" y="4"/>
                          </a:lnTo>
                          <a:lnTo>
                            <a:pt x="5" y="9"/>
                          </a:lnTo>
                          <a:lnTo>
                            <a:pt x="5" y="4"/>
                          </a:lnTo>
                          <a:lnTo>
                            <a:pt x="5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7" name="Freeform 108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94" y="2546"/>
                      <a:ext cx="59" cy="63"/>
                    </a:xfrm>
                    <a:custGeom>
                      <a:avLst/>
                      <a:gdLst>
                        <a:gd name="T0" fmla="*/ 10 w 62"/>
                        <a:gd name="T1" fmla="*/ 9 h 67"/>
                        <a:gd name="T2" fmla="*/ 10 w 62"/>
                        <a:gd name="T3" fmla="*/ 8 h 67"/>
                        <a:gd name="T4" fmla="*/ 10 w 62"/>
                        <a:gd name="T5" fmla="*/ 8 h 67"/>
                        <a:gd name="T6" fmla="*/ 9 w 62"/>
                        <a:gd name="T7" fmla="*/ 8 h 67"/>
                        <a:gd name="T8" fmla="*/ 0 w 62"/>
                        <a:gd name="T9" fmla="*/ 8 h 67"/>
                        <a:gd name="T10" fmla="*/ 4 w 62"/>
                        <a:gd name="T11" fmla="*/ 8 h 67"/>
                        <a:gd name="T12" fmla="*/ 10 w 62"/>
                        <a:gd name="T13" fmla="*/ 8 h 67"/>
                        <a:gd name="T14" fmla="*/ 10 w 62"/>
                        <a:gd name="T15" fmla="*/ 4 h 67"/>
                        <a:gd name="T16" fmla="*/ 10 w 62"/>
                        <a:gd name="T17" fmla="*/ 0 h 67"/>
                        <a:gd name="T18" fmla="*/ 10 w 62"/>
                        <a:gd name="T19" fmla="*/ 4 h 67"/>
                        <a:gd name="T20" fmla="*/ 13 w 62"/>
                        <a:gd name="T21" fmla="*/ 4 h 67"/>
                        <a:gd name="T22" fmla="*/ 13 w 62"/>
                        <a:gd name="T23" fmla="*/ 8 h 67"/>
                        <a:gd name="T24" fmla="*/ 11 w 62"/>
                        <a:gd name="T25" fmla="*/ 8 h 67"/>
                        <a:gd name="T26" fmla="*/ 14 w 62"/>
                        <a:gd name="T27" fmla="*/ 8 h 67"/>
                        <a:gd name="T28" fmla="*/ 10 w 62"/>
                        <a:gd name="T29" fmla="*/ 8 h 67"/>
                        <a:gd name="T30" fmla="*/ 10 w 62"/>
                        <a:gd name="T31" fmla="*/ 8 h 67"/>
                        <a:gd name="T32" fmla="*/ 10 w 62"/>
                        <a:gd name="T33" fmla="*/ 10 h 67"/>
                        <a:gd name="T34" fmla="*/ 10 w 62"/>
                        <a:gd name="T35" fmla="*/ 9 h 67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w 62"/>
                        <a:gd name="T55" fmla="*/ 0 h 67"/>
                        <a:gd name="T56" fmla="*/ 62 w 62"/>
                        <a:gd name="T57" fmla="*/ 67 h 67"/>
                      </a:gdLst>
                      <a:ahLst/>
                      <a:cxnLst>
                        <a:cxn ang="T36">
                          <a:pos x="T0" y="T1"/>
                        </a:cxn>
                        <a:cxn ang="T37">
                          <a:pos x="T2" y="T3"/>
                        </a:cxn>
                        <a:cxn ang="T38">
                          <a:pos x="T4" y="T5"/>
                        </a:cxn>
                        <a:cxn ang="T39">
                          <a:pos x="T6" y="T7"/>
                        </a:cxn>
                        <a:cxn ang="T40">
                          <a:pos x="T8" y="T9"/>
                        </a:cxn>
                        <a:cxn ang="T41">
                          <a:pos x="T10" y="T11"/>
                        </a:cxn>
                        <a:cxn ang="T42">
                          <a:pos x="T12" y="T13"/>
                        </a:cxn>
                        <a:cxn ang="T43">
                          <a:pos x="T14" y="T15"/>
                        </a:cxn>
                        <a:cxn ang="T44">
                          <a:pos x="T16" y="T17"/>
                        </a:cxn>
                        <a:cxn ang="T45">
                          <a:pos x="T18" y="T19"/>
                        </a:cxn>
                        <a:cxn ang="T46">
                          <a:pos x="T20" y="T21"/>
                        </a:cxn>
                        <a:cxn ang="T47">
                          <a:pos x="T22" y="T23"/>
                        </a:cxn>
                        <a:cxn ang="T48">
                          <a:pos x="T24" y="T25"/>
                        </a:cxn>
                        <a:cxn ang="T49">
                          <a:pos x="T26" y="T27"/>
                        </a:cxn>
                        <a:cxn ang="T50">
                          <a:pos x="T28" y="T29"/>
                        </a:cxn>
                        <a:cxn ang="T51">
                          <a:pos x="T30" y="T31"/>
                        </a:cxn>
                        <a:cxn ang="T52">
                          <a:pos x="T32" y="T33"/>
                        </a:cxn>
                        <a:cxn ang="T53">
                          <a:pos x="T34" y="T35"/>
                        </a:cxn>
                      </a:cxnLst>
                      <a:rect l="T54" t="T55" r="T56" b="T57"/>
                      <a:pathLst>
                        <a:path w="62" h="67">
                          <a:moveTo>
                            <a:pt x="26" y="62"/>
                          </a:moveTo>
                          <a:lnTo>
                            <a:pt x="22" y="54"/>
                          </a:lnTo>
                          <a:lnTo>
                            <a:pt x="18" y="40"/>
                          </a:lnTo>
                          <a:lnTo>
                            <a:pt x="9" y="40"/>
                          </a:lnTo>
                          <a:lnTo>
                            <a:pt x="0" y="31"/>
                          </a:lnTo>
                          <a:lnTo>
                            <a:pt x="4" y="22"/>
                          </a:lnTo>
                          <a:lnTo>
                            <a:pt x="13" y="18"/>
                          </a:lnTo>
                          <a:lnTo>
                            <a:pt x="18" y="4"/>
                          </a:lnTo>
                          <a:lnTo>
                            <a:pt x="22" y="0"/>
                          </a:lnTo>
                          <a:lnTo>
                            <a:pt x="35" y="4"/>
                          </a:lnTo>
                          <a:lnTo>
                            <a:pt x="58" y="4"/>
                          </a:lnTo>
                          <a:lnTo>
                            <a:pt x="58" y="13"/>
                          </a:lnTo>
                          <a:lnTo>
                            <a:pt x="53" y="22"/>
                          </a:lnTo>
                          <a:lnTo>
                            <a:pt x="62" y="40"/>
                          </a:lnTo>
                          <a:lnTo>
                            <a:pt x="49" y="54"/>
                          </a:lnTo>
                          <a:lnTo>
                            <a:pt x="31" y="54"/>
                          </a:lnTo>
                          <a:lnTo>
                            <a:pt x="31" y="67"/>
                          </a:lnTo>
                          <a:lnTo>
                            <a:pt x="26" y="6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8" name="Freeform 109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1948" y="2474"/>
                      <a:ext cx="21" cy="21"/>
                    </a:xfrm>
                    <a:custGeom>
                      <a:avLst/>
                      <a:gdLst>
                        <a:gd name="T0" fmla="*/ 11 w 22"/>
                        <a:gd name="T1" fmla="*/ 0 h 22"/>
                        <a:gd name="T2" fmla="*/ 11 w 22"/>
                        <a:gd name="T3" fmla="*/ 4 h 22"/>
                        <a:gd name="T4" fmla="*/ 11 w 22"/>
                        <a:gd name="T5" fmla="*/ 0 h 22"/>
                        <a:gd name="T6" fmla="*/ 11 w 22"/>
                        <a:gd name="T7" fmla="*/ 0 h 22"/>
                        <a:gd name="T8" fmla="*/ 11 w 22"/>
                        <a:gd name="T9" fmla="*/ 0 h 22"/>
                        <a:gd name="T10" fmla="*/ 11 w 22"/>
                        <a:gd name="T11" fmla="*/ 9 h 22"/>
                        <a:gd name="T12" fmla="*/ 4 w 22"/>
                        <a:gd name="T13" fmla="*/ 9 h 22"/>
                        <a:gd name="T14" fmla="*/ 0 w 22"/>
                        <a:gd name="T15" fmla="*/ 11 h 22"/>
                        <a:gd name="T16" fmla="*/ 0 w 22"/>
                        <a:gd name="T17" fmla="*/ 11 h 22"/>
                        <a:gd name="T18" fmla="*/ 4 w 22"/>
                        <a:gd name="T19" fmla="*/ 11 h 22"/>
                        <a:gd name="T20" fmla="*/ 11 w 22"/>
                        <a:gd name="T21" fmla="*/ 11 h 22"/>
                        <a:gd name="T22" fmla="*/ 11 w 22"/>
                        <a:gd name="T23" fmla="*/ 9 h 22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w 22"/>
                        <a:gd name="T37" fmla="*/ 0 h 22"/>
                        <a:gd name="T38" fmla="*/ 22 w 22"/>
                        <a:gd name="T39" fmla="*/ 22 h 22"/>
                      </a:gdLst>
                      <a:ahLst/>
                      <a:cxnLst>
                        <a:cxn ang="T24">
                          <a:pos x="T0" y="T1"/>
                        </a:cxn>
                        <a:cxn ang="T25">
                          <a:pos x="T2" y="T3"/>
                        </a:cxn>
                        <a:cxn ang="T26">
                          <a:pos x="T4" y="T5"/>
                        </a:cxn>
                        <a:cxn ang="T27">
                          <a:pos x="T6" y="T7"/>
                        </a:cxn>
                        <a:cxn ang="T28">
                          <a:pos x="T8" y="T9"/>
                        </a:cxn>
                        <a:cxn ang="T29">
                          <a:pos x="T10" y="T11"/>
                        </a:cxn>
                        <a:cxn ang="T30">
                          <a:pos x="T12" y="T13"/>
                        </a:cxn>
                        <a:cxn ang="T31">
                          <a:pos x="T14" y="T15"/>
                        </a:cxn>
                        <a:cxn ang="T32">
                          <a:pos x="T16" y="T17"/>
                        </a:cxn>
                        <a:cxn ang="T33">
                          <a:pos x="T18" y="T19"/>
                        </a:cxn>
                        <a:cxn ang="T34">
                          <a:pos x="T20" y="T21"/>
                        </a:cxn>
                        <a:cxn ang="T35">
                          <a:pos x="T22" y="T23"/>
                        </a:cxn>
                      </a:cxnLst>
                      <a:rect l="T36" t="T37" r="T38" b="T39"/>
                      <a:pathLst>
                        <a:path w="22" h="22">
                          <a:moveTo>
                            <a:pt x="13" y="0"/>
                          </a:moveTo>
                          <a:lnTo>
                            <a:pt x="13" y="4"/>
                          </a:lnTo>
                          <a:lnTo>
                            <a:pt x="22" y="0"/>
                          </a:lnTo>
                          <a:lnTo>
                            <a:pt x="17" y="0"/>
                          </a:lnTo>
                          <a:lnTo>
                            <a:pt x="13" y="0"/>
                          </a:lnTo>
                          <a:close/>
                          <a:moveTo>
                            <a:pt x="13" y="9"/>
                          </a:moveTo>
                          <a:lnTo>
                            <a:pt x="4" y="9"/>
                          </a:lnTo>
                          <a:lnTo>
                            <a:pt x="0" y="18"/>
                          </a:lnTo>
                          <a:lnTo>
                            <a:pt x="0" y="22"/>
                          </a:lnTo>
                          <a:lnTo>
                            <a:pt x="4" y="22"/>
                          </a:lnTo>
                          <a:lnTo>
                            <a:pt x="13" y="22"/>
                          </a:lnTo>
                          <a:lnTo>
                            <a:pt x="13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9" name="Freeform 110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484" y="1179"/>
                      <a:ext cx="1392" cy="1186"/>
                    </a:xfrm>
                    <a:custGeom>
                      <a:avLst/>
                      <a:gdLst>
                        <a:gd name="T0" fmla="*/ 8 w 1474"/>
                        <a:gd name="T1" fmla="*/ 76 h 1256"/>
                        <a:gd name="T2" fmla="*/ 8 w 1474"/>
                        <a:gd name="T3" fmla="*/ 107 h 1256"/>
                        <a:gd name="T4" fmla="*/ 9 w 1474"/>
                        <a:gd name="T5" fmla="*/ 106 h 1256"/>
                        <a:gd name="T6" fmla="*/ 20 w 1474"/>
                        <a:gd name="T7" fmla="*/ 42 h 1256"/>
                        <a:gd name="T8" fmla="*/ 8 w 1474"/>
                        <a:gd name="T9" fmla="*/ 42 h 1256"/>
                        <a:gd name="T10" fmla="*/ 22 w 1474"/>
                        <a:gd name="T11" fmla="*/ 51 h 1256"/>
                        <a:gd name="T12" fmla="*/ 12 w 1474"/>
                        <a:gd name="T13" fmla="*/ 63 h 1256"/>
                        <a:gd name="T14" fmla="*/ 14 w 1474"/>
                        <a:gd name="T15" fmla="*/ 79 h 1256"/>
                        <a:gd name="T16" fmla="*/ 24 w 1474"/>
                        <a:gd name="T17" fmla="*/ 83 h 1256"/>
                        <a:gd name="T18" fmla="*/ 32 w 1474"/>
                        <a:gd name="T19" fmla="*/ 91 h 1256"/>
                        <a:gd name="T20" fmla="*/ 19 w 1474"/>
                        <a:gd name="T21" fmla="*/ 99 h 1256"/>
                        <a:gd name="T22" fmla="*/ 25 w 1474"/>
                        <a:gd name="T23" fmla="*/ 98 h 1256"/>
                        <a:gd name="T24" fmla="*/ 40 w 1474"/>
                        <a:gd name="T25" fmla="*/ 80 h 1256"/>
                        <a:gd name="T26" fmla="*/ 45 w 1474"/>
                        <a:gd name="T27" fmla="*/ 78 h 1256"/>
                        <a:gd name="T28" fmla="*/ 57 w 1474"/>
                        <a:gd name="T29" fmla="*/ 76 h 1256"/>
                        <a:gd name="T30" fmla="*/ 63 w 1474"/>
                        <a:gd name="T31" fmla="*/ 76 h 1256"/>
                        <a:gd name="T32" fmla="*/ 81 w 1474"/>
                        <a:gd name="T33" fmla="*/ 84 h 1256"/>
                        <a:gd name="T34" fmla="*/ 89 w 1474"/>
                        <a:gd name="T35" fmla="*/ 83 h 1256"/>
                        <a:gd name="T36" fmla="*/ 93 w 1474"/>
                        <a:gd name="T37" fmla="*/ 89 h 1256"/>
                        <a:gd name="T38" fmla="*/ 101 w 1474"/>
                        <a:gd name="T39" fmla="*/ 102 h 1256"/>
                        <a:gd name="T40" fmla="*/ 85 w 1474"/>
                        <a:gd name="T41" fmla="*/ 80 h 1256"/>
                        <a:gd name="T42" fmla="*/ 72 w 1474"/>
                        <a:gd name="T43" fmla="*/ 78 h 1256"/>
                        <a:gd name="T44" fmla="*/ 48 w 1474"/>
                        <a:gd name="T45" fmla="*/ 12 h 1256"/>
                        <a:gd name="T46" fmla="*/ 38 w 1474"/>
                        <a:gd name="T47" fmla="*/ 8 h 1256"/>
                        <a:gd name="T48" fmla="*/ 22 w 1474"/>
                        <a:gd name="T49" fmla="*/ 9 h 1256"/>
                        <a:gd name="T50" fmla="*/ 8 w 1474"/>
                        <a:gd name="T51" fmla="*/ 26 h 1256"/>
                        <a:gd name="T52" fmla="*/ 24 w 1474"/>
                        <a:gd name="T53" fmla="*/ 40 h 1256"/>
                        <a:gd name="T54" fmla="*/ 28 w 1474"/>
                        <a:gd name="T55" fmla="*/ 221 h 1256"/>
                        <a:gd name="T56" fmla="*/ 36 w 1474"/>
                        <a:gd name="T57" fmla="*/ 223 h 1256"/>
                        <a:gd name="T58" fmla="*/ 88 w 1474"/>
                        <a:gd name="T59" fmla="*/ 94 h 1256"/>
                        <a:gd name="T60" fmla="*/ 93 w 1474"/>
                        <a:gd name="T61" fmla="*/ 93 h 1256"/>
                        <a:gd name="T62" fmla="*/ 96 w 1474"/>
                        <a:gd name="T63" fmla="*/ 101 h 1256"/>
                        <a:gd name="T64" fmla="*/ 95 w 1474"/>
                        <a:gd name="T65" fmla="*/ 102 h 1256"/>
                        <a:gd name="T66" fmla="*/ 118 w 1474"/>
                        <a:gd name="T67" fmla="*/ 133 h 1256"/>
                        <a:gd name="T68" fmla="*/ 116 w 1474"/>
                        <a:gd name="T69" fmla="*/ 158 h 1256"/>
                        <a:gd name="T70" fmla="*/ 121 w 1474"/>
                        <a:gd name="T71" fmla="*/ 168 h 1256"/>
                        <a:gd name="T72" fmla="*/ 134 w 1474"/>
                        <a:gd name="T73" fmla="*/ 184 h 1256"/>
                        <a:gd name="T74" fmla="*/ 171 w 1474"/>
                        <a:gd name="T75" fmla="*/ 197 h 1256"/>
                        <a:gd name="T76" fmla="*/ 197 w 1474"/>
                        <a:gd name="T77" fmla="*/ 195 h 1256"/>
                        <a:gd name="T78" fmla="*/ 205 w 1474"/>
                        <a:gd name="T79" fmla="*/ 195 h 1256"/>
                        <a:gd name="T80" fmla="*/ 223 w 1474"/>
                        <a:gd name="T81" fmla="*/ 197 h 1256"/>
                        <a:gd name="T82" fmla="*/ 232 w 1474"/>
                        <a:gd name="T83" fmla="*/ 203 h 1256"/>
                        <a:gd name="T84" fmla="*/ 235 w 1474"/>
                        <a:gd name="T85" fmla="*/ 182 h 1256"/>
                        <a:gd name="T86" fmla="*/ 241 w 1474"/>
                        <a:gd name="T87" fmla="*/ 176 h 1256"/>
                        <a:gd name="T88" fmla="*/ 239 w 1474"/>
                        <a:gd name="T89" fmla="*/ 164 h 1256"/>
                        <a:gd name="T90" fmla="*/ 244 w 1474"/>
                        <a:gd name="T91" fmla="*/ 166 h 1256"/>
                        <a:gd name="T92" fmla="*/ 248 w 1474"/>
                        <a:gd name="T93" fmla="*/ 158 h 1256"/>
                        <a:gd name="T94" fmla="*/ 255 w 1474"/>
                        <a:gd name="T95" fmla="*/ 154 h 1256"/>
                        <a:gd name="T96" fmla="*/ 264 w 1474"/>
                        <a:gd name="T97" fmla="*/ 143 h 1256"/>
                        <a:gd name="T98" fmla="*/ 245 w 1474"/>
                        <a:gd name="T99" fmla="*/ 144 h 1256"/>
                        <a:gd name="T100" fmla="*/ 234 w 1474"/>
                        <a:gd name="T101" fmla="*/ 152 h 1256"/>
                        <a:gd name="T102" fmla="*/ 223 w 1474"/>
                        <a:gd name="T103" fmla="*/ 146 h 1256"/>
                        <a:gd name="T104" fmla="*/ 217 w 1474"/>
                        <a:gd name="T105" fmla="*/ 143 h 1256"/>
                        <a:gd name="T106" fmla="*/ 213 w 1474"/>
                        <a:gd name="T107" fmla="*/ 142 h 1256"/>
                        <a:gd name="T108" fmla="*/ 210 w 1474"/>
                        <a:gd name="T109" fmla="*/ 135 h 1256"/>
                        <a:gd name="T110" fmla="*/ 200 w 1474"/>
                        <a:gd name="T111" fmla="*/ 132 h 1256"/>
                        <a:gd name="T112" fmla="*/ 249 w 1474"/>
                        <a:gd name="T113" fmla="*/ 158 h 125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w 1474"/>
                        <a:gd name="T172" fmla="*/ 0 h 1256"/>
                        <a:gd name="T173" fmla="*/ 1474 w 1474"/>
                        <a:gd name="T174" fmla="*/ 1256 h 1256"/>
                      </a:gdLst>
                      <a:ahLst/>
                      <a:cxnLst>
                        <a:cxn ang="T114">
                          <a:pos x="T0" y="T1"/>
                        </a:cxn>
                        <a:cxn ang="T115">
                          <a:pos x="T2" y="T3"/>
                        </a:cxn>
                        <a:cxn ang="T116">
                          <a:pos x="T4" y="T5"/>
                        </a:cxn>
                        <a:cxn ang="T117">
                          <a:pos x="T6" y="T7"/>
                        </a:cxn>
                        <a:cxn ang="T118">
                          <a:pos x="T8" y="T9"/>
                        </a:cxn>
                        <a:cxn ang="T119">
                          <a:pos x="T10" y="T11"/>
                        </a:cxn>
                        <a:cxn ang="T120">
                          <a:pos x="T12" y="T13"/>
                        </a:cxn>
                        <a:cxn ang="T121">
                          <a:pos x="T14" y="T15"/>
                        </a:cxn>
                        <a:cxn ang="T122">
                          <a:pos x="T16" y="T17"/>
                        </a:cxn>
                        <a:cxn ang="T123">
                          <a:pos x="T18" y="T19"/>
                        </a:cxn>
                        <a:cxn ang="T124">
                          <a:pos x="T20" y="T21"/>
                        </a:cxn>
                        <a:cxn ang="T125">
                          <a:pos x="T22" y="T23"/>
                        </a:cxn>
                        <a:cxn ang="T126">
                          <a:pos x="T24" y="T25"/>
                        </a:cxn>
                        <a:cxn ang="T127">
                          <a:pos x="T26" y="T27"/>
                        </a:cxn>
                        <a:cxn ang="T128">
                          <a:pos x="T28" y="T29"/>
                        </a:cxn>
                        <a:cxn ang="T129">
                          <a:pos x="T30" y="T31"/>
                        </a:cxn>
                        <a:cxn ang="T130">
                          <a:pos x="T32" y="T33"/>
                        </a:cxn>
                        <a:cxn ang="T131">
                          <a:pos x="T34" y="T35"/>
                        </a:cxn>
                        <a:cxn ang="T132">
                          <a:pos x="T36" y="T37"/>
                        </a:cxn>
                        <a:cxn ang="T133">
                          <a:pos x="T38" y="T39"/>
                        </a:cxn>
                        <a:cxn ang="T134">
                          <a:pos x="T40" y="T41"/>
                        </a:cxn>
                        <a:cxn ang="T135">
                          <a:pos x="T42" y="T43"/>
                        </a:cxn>
                        <a:cxn ang="T136">
                          <a:pos x="T44" y="T45"/>
                        </a:cxn>
                        <a:cxn ang="T137">
                          <a:pos x="T46" y="T47"/>
                        </a:cxn>
                        <a:cxn ang="T138">
                          <a:pos x="T48" y="T49"/>
                        </a:cxn>
                        <a:cxn ang="T139">
                          <a:pos x="T50" y="T51"/>
                        </a:cxn>
                        <a:cxn ang="T140">
                          <a:pos x="T52" y="T53"/>
                        </a:cxn>
                        <a:cxn ang="T141">
                          <a:pos x="T54" y="T55"/>
                        </a:cxn>
                        <a:cxn ang="T142">
                          <a:pos x="T56" y="T57"/>
                        </a:cxn>
                        <a:cxn ang="T143">
                          <a:pos x="T58" y="T59"/>
                        </a:cxn>
                        <a:cxn ang="T144">
                          <a:pos x="T60" y="T61"/>
                        </a:cxn>
                        <a:cxn ang="T145">
                          <a:pos x="T62" y="T63"/>
                        </a:cxn>
                        <a:cxn ang="T146">
                          <a:pos x="T64" y="T65"/>
                        </a:cxn>
                        <a:cxn ang="T147">
                          <a:pos x="T66" y="T67"/>
                        </a:cxn>
                        <a:cxn ang="T148">
                          <a:pos x="T68" y="T69"/>
                        </a:cxn>
                        <a:cxn ang="T149">
                          <a:pos x="T70" y="T71"/>
                        </a:cxn>
                        <a:cxn ang="T150">
                          <a:pos x="T72" y="T73"/>
                        </a:cxn>
                        <a:cxn ang="T151">
                          <a:pos x="T74" y="T75"/>
                        </a:cxn>
                        <a:cxn ang="T152">
                          <a:pos x="T76" y="T77"/>
                        </a:cxn>
                        <a:cxn ang="T153">
                          <a:pos x="T78" y="T79"/>
                        </a:cxn>
                        <a:cxn ang="T154">
                          <a:pos x="T80" y="T81"/>
                        </a:cxn>
                        <a:cxn ang="T155">
                          <a:pos x="T82" y="T83"/>
                        </a:cxn>
                        <a:cxn ang="T156">
                          <a:pos x="T84" y="T85"/>
                        </a:cxn>
                        <a:cxn ang="T157">
                          <a:pos x="T86" y="T87"/>
                        </a:cxn>
                        <a:cxn ang="T158">
                          <a:pos x="T88" y="T89"/>
                        </a:cxn>
                        <a:cxn ang="T159">
                          <a:pos x="T90" y="T91"/>
                        </a:cxn>
                        <a:cxn ang="T160">
                          <a:pos x="T92" y="T93"/>
                        </a:cxn>
                        <a:cxn ang="T161">
                          <a:pos x="T94" y="T95"/>
                        </a:cxn>
                        <a:cxn ang="T162">
                          <a:pos x="T96" y="T97"/>
                        </a:cxn>
                        <a:cxn ang="T163">
                          <a:pos x="T98" y="T99"/>
                        </a:cxn>
                        <a:cxn ang="T164">
                          <a:pos x="T100" y="T101"/>
                        </a:cxn>
                        <a:cxn ang="T165">
                          <a:pos x="T102" y="T103"/>
                        </a:cxn>
                        <a:cxn ang="T166">
                          <a:pos x="T104" y="T105"/>
                        </a:cxn>
                        <a:cxn ang="T167">
                          <a:pos x="T106" y="T107"/>
                        </a:cxn>
                        <a:cxn ang="T168">
                          <a:pos x="T108" y="T109"/>
                        </a:cxn>
                        <a:cxn ang="T169">
                          <a:pos x="T110" y="T111"/>
                        </a:cxn>
                        <a:cxn ang="T170">
                          <a:pos x="T112" y="T113"/>
                        </a:cxn>
                      </a:cxnLst>
                      <a:rect l="T171" t="T172" r="T173" b="T174"/>
                      <a:pathLst>
                        <a:path w="1474" h="1256">
                          <a:moveTo>
                            <a:pt x="13" y="603"/>
                          </a:moveTo>
                          <a:lnTo>
                            <a:pt x="8" y="608"/>
                          </a:lnTo>
                          <a:lnTo>
                            <a:pt x="8" y="612"/>
                          </a:lnTo>
                          <a:lnTo>
                            <a:pt x="4" y="617"/>
                          </a:lnTo>
                          <a:lnTo>
                            <a:pt x="0" y="626"/>
                          </a:lnTo>
                          <a:lnTo>
                            <a:pt x="8" y="621"/>
                          </a:lnTo>
                          <a:lnTo>
                            <a:pt x="22" y="608"/>
                          </a:lnTo>
                          <a:lnTo>
                            <a:pt x="13" y="603"/>
                          </a:lnTo>
                          <a:close/>
                          <a:moveTo>
                            <a:pt x="26" y="425"/>
                          </a:moveTo>
                          <a:lnTo>
                            <a:pt x="26" y="429"/>
                          </a:lnTo>
                          <a:lnTo>
                            <a:pt x="40" y="442"/>
                          </a:lnTo>
                          <a:lnTo>
                            <a:pt x="49" y="438"/>
                          </a:lnTo>
                          <a:lnTo>
                            <a:pt x="49" y="429"/>
                          </a:lnTo>
                          <a:lnTo>
                            <a:pt x="44" y="420"/>
                          </a:lnTo>
                          <a:lnTo>
                            <a:pt x="40" y="420"/>
                          </a:lnTo>
                          <a:lnTo>
                            <a:pt x="35" y="425"/>
                          </a:lnTo>
                          <a:lnTo>
                            <a:pt x="26" y="425"/>
                          </a:lnTo>
                          <a:close/>
                          <a:moveTo>
                            <a:pt x="35" y="594"/>
                          </a:moveTo>
                          <a:lnTo>
                            <a:pt x="31" y="599"/>
                          </a:lnTo>
                          <a:lnTo>
                            <a:pt x="35" y="603"/>
                          </a:lnTo>
                          <a:lnTo>
                            <a:pt x="17" y="612"/>
                          </a:lnTo>
                          <a:lnTo>
                            <a:pt x="22" y="617"/>
                          </a:lnTo>
                          <a:lnTo>
                            <a:pt x="40" y="608"/>
                          </a:lnTo>
                          <a:lnTo>
                            <a:pt x="49" y="603"/>
                          </a:lnTo>
                          <a:lnTo>
                            <a:pt x="49" y="599"/>
                          </a:lnTo>
                          <a:lnTo>
                            <a:pt x="58" y="590"/>
                          </a:lnTo>
                          <a:lnTo>
                            <a:pt x="49" y="590"/>
                          </a:lnTo>
                          <a:lnTo>
                            <a:pt x="44" y="594"/>
                          </a:lnTo>
                          <a:lnTo>
                            <a:pt x="35" y="594"/>
                          </a:lnTo>
                          <a:close/>
                          <a:moveTo>
                            <a:pt x="129" y="232"/>
                          </a:moveTo>
                          <a:lnTo>
                            <a:pt x="116" y="223"/>
                          </a:lnTo>
                          <a:lnTo>
                            <a:pt x="111" y="223"/>
                          </a:lnTo>
                          <a:lnTo>
                            <a:pt x="98" y="201"/>
                          </a:lnTo>
                          <a:lnTo>
                            <a:pt x="93" y="206"/>
                          </a:lnTo>
                          <a:lnTo>
                            <a:pt x="107" y="232"/>
                          </a:lnTo>
                          <a:lnTo>
                            <a:pt x="111" y="228"/>
                          </a:lnTo>
                          <a:lnTo>
                            <a:pt x="120" y="241"/>
                          </a:lnTo>
                          <a:lnTo>
                            <a:pt x="84" y="241"/>
                          </a:lnTo>
                          <a:lnTo>
                            <a:pt x="80" y="223"/>
                          </a:lnTo>
                          <a:lnTo>
                            <a:pt x="62" y="223"/>
                          </a:lnTo>
                          <a:lnTo>
                            <a:pt x="49" y="232"/>
                          </a:lnTo>
                          <a:lnTo>
                            <a:pt x="53" y="237"/>
                          </a:lnTo>
                          <a:lnTo>
                            <a:pt x="40" y="241"/>
                          </a:lnTo>
                          <a:lnTo>
                            <a:pt x="44" y="232"/>
                          </a:lnTo>
                          <a:lnTo>
                            <a:pt x="40" y="232"/>
                          </a:lnTo>
                          <a:lnTo>
                            <a:pt x="13" y="255"/>
                          </a:lnTo>
                          <a:lnTo>
                            <a:pt x="22" y="264"/>
                          </a:lnTo>
                          <a:lnTo>
                            <a:pt x="49" y="268"/>
                          </a:lnTo>
                          <a:lnTo>
                            <a:pt x="35" y="277"/>
                          </a:lnTo>
                          <a:lnTo>
                            <a:pt x="49" y="299"/>
                          </a:lnTo>
                          <a:lnTo>
                            <a:pt x="93" y="304"/>
                          </a:lnTo>
                          <a:lnTo>
                            <a:pt x="98" y="295"/>
                          </a:lnTo>
                          <a:lnTo>
                            <a:pt x="120" y="282"/>
                          </a:lnTo>
                          <a:lnTo>
                            <a:pt x="125" y="290"/>
                          </a:lnTo>
                          <a:lnTo>
                            <a:pt x="116" y="295"/>
                          </a:lnTo>
                          <a:lnTo>
                            <a:pt x="125" y="322"/>
                          </a:lnTo>
                          <a:lnTo>
                            <a:pt x="111" y="331"/>
                          </a:lnTo>
                          <a:lnTo>
                            <a:pt x="107" y="331"/>
                          </a:lnTo>
                          <a:lnTo>
                            <a:pt x="93" y="340"/>
                          </a:lnTo>
                          <a:lnTo>
                            <a:pt x="84" y="331"/>
                          </a:lnTo>
                          <a:lnTo>
                            <a:pt x="75" y="335"/>
                          </a:lnTo>
                          <a:lnTo>
                            <a:pt x="67" y="353"/>
                          </a:lnTo>
                          <a:lnTo>
                            <a:pt x="49" y="375"/>
                          </a:lnTo>
                          <a:lnTo>
                            <a:pt x="58" y="393"/>
                          </a:lnTo>
                          <a:lnTo>
                            <a:pt x="62" y="389"/>
                          </a:lnTo>
                          <a:lnTo>
                            <a:pt x="62" y="402"/>
                          </a:lnTo>
                          <a:lnTo>
                            <a:pt x="67" y="402"/>
                          </a:lnTo>
                          <a:lnTo>
                            <a:pt x="58" y="416"/>
                          </a:lnTo>
                          <a:lnTo>
                            <a:pt x="62" y="425"/>
                          </a:lnTo>
                          <a:lnTo>
                            <a:pt x="67" y="420"/>
                          </a:lnTo>
                          <a:lnTo>
                            <a:pt x="75" y="442"/>
                          </a:lnTo>
                          <a:lnTo>
                            <a:pt x="98" y="438"/>
                          </a:lnTo>
                          <a:lnTo>
                            <a:pt x="102" y="429"/>
                          </a:lnTo>
                          <a:lnTo>
                            <a:pt x="111" y="442"/>
                          </a:lnTo>
                          <a:lnTo>
                            <a:pt x="107" y="451"/>
                          </a:lnTo>
                          <a:lnTo>
                            <a:pt x="107" y="469"/>
                          </a:lnTo>
                          <a:lnTo>
                            <a:pt x="98" y="478"/>
                          </a:lnTo>
                          <a:lnTo>
                            <a:pt x="111" y="478"/>
                          </a:lnTo>
                          <a:lnTo>
                            <a:pt x="120" y="469"/>
                          </a:lnTo>
                          <a:lnTo>
                            <a:pt x="134" y="465"/>
                          </a:lnTo>
                          <a:lnTo>
                            <a:pt x="142" y="469"/>
                          </a:lnTo>
                          <a:lnTo>
                            <a:pt x="156" y="492"/>
                          </a:lnTo>
                          <a:lnTo>
                            <a:pt x="160" y="492"/>
                          </a:lnTo>
                          <a:lnTo>
                            <a:pt x="160" y="478"/>
                          </a:lnTo>
                          <a:lnTo>
                            <a:pt x="169" y="483"/>
                          </a:lnTo>
                          <a:lnTo>
                            <a:pt x="187" y="460"/>
                          </a:lnTo>
                          <a:lnTo>
                            <a:pt x="183" y="474"/>
                          </a:lnTo>
                          <a:lnTo>
                            <a:pt x="183" y="496"/>
                          </a:lnTo>
                          <a:lnTo>
                            <a:pt x="174" y="509"/>
                          </a:lnTo>
                          <a:lnTo>
                            <a:pt x="156" y="518"/>
                          </a:lnTo>
                          <a:lnTo>
                            <a:pt x="156" y="527"/>
                          </a:lnTo>
                          <a:lnTo>
                            <a:pt x="142" y="527"/>
                          </a:lnTo>
                          <a:lnTo>
                            <a:pt x="125" y="536"/>
                          </a:lnTo>
                          <a:lnTo>
                            <a:pt x="129" y="550"/>
                          </a:lnTo>
                          <a:lnTo>
                            <a:pt x="120" y="554"/>
                          </a:lnTo>
                          <a:lnTo>
                            <a:pt x="116" y="541"/>
                          </a:lnTo>
                          <a:lnTo>
                            <a:pt x="107" y="541"/>
                          </a:lnTo>
                          <a:lnTo>
                            <a:pt x="98" y="554"/>
                          </a:lnTo>
                          <a:lnTo>
                            <a:pt x="84" y="572"/>
                          </a:lnTo>
                          <a:lnTo>
                            <a:pt x="75" y="572"/>
                          </a:lnTo>
                          <a:lnTo>
                            <a:pt x="67" y="585"/>
                          </a:lnTo>
                          <a:lnTo>
                            <a:pt x="67" y="594"/>
                          </a:lnTo>
                          <a:lnTo>
                            <a:pt x="93" y="581"/>
                          </a:lnTo>
                          <a:lnTo>
                            <a:pt x="89" y="572"/>
                          </a:lnTo>
                          <a:lnTo>
                            <a:pt x="98" y="572"/>
                          </a:lnTo>
                          <a:lnTo>
                            <a:pt x="107" y="576"/>
                          </a:lnTo>
                          <a:lnTo>
                            <a:pt x="138" y="550"/>
                          </a:lnTo>
                          <a:lnTo>
                            <a:pt x="138" y="559"/>
                          </a:lnTo>
                          <a:lnTo>
                            <a:pt x="142" y="545"/>
                          </a:lnTo>
                          <a:lnTo>
                            <a:pt x="147" y="550"/>
                          </a:lnTo>
                          <a:lnTo>
                            <a:pt x="174" y="527"/>
                          </a:lnTo>
                          <a:lnTo>
                            <a:pt x="192" y="527"/>
                          </a:lnTo>
                          <a:lnTo>
                            <a:pt x="205" y="505"/>
                          </a:lnTo>
                          <a:lnTo>
                            <a:pt x="236" y="465"/>
                          </a:lnTo>
                          <a:lnTo>
                            <a:pt x="223" y="460"/>
                          </a:lnTo>
                          <a:lnTo>
                            <a:pt x="227" y="447"/>
                          </a:lnTo>
                          <a:lnTo>
                            <a:pt x="236" y="442"/>
                          </a:lnTo>
                          <a:lnTo>
                            <a:pt x="259" y="402"/>
                          </a:lnTo>
                          <a:lnTo>
                            <a:pt x="268" y="393"/>
                          </a:lnTo>
                          <a:lnTo>
                            <a:pt x="285" y="398"/>
                          </a:lnTo>
                          <a:lnTo>
                            <a:pt x="290" y="407"/>
                          </a:lnTo>
                          <a:lnTo>
                            <a:pt x="272" y="402"/>
                          </a:lnTo>
                          <a:lnTo>
                            <a:pt x="259" y="416"/>
                          </a:lnTo>
                          <a:lnTo>
                            <a:pt x="259" y="420"/>
                          </a:lnTo>
                          <a:lnTo>
                            <a:pt x="250" y="438"/>
                          </a:lnTo>
                          <a:lnTo>
                            <a:pt x="250" y="447"/>
                          </a:lnTo>
                          <a:lnTo>
                            <a:pt x="259" y="451"/>
                          </a:lnTo>
                          <a:lnTo>
                            <a:pt x="250" y="460"/>
                          </a:lnTo>
                          <a:lnTo>
                            <a:pt x="259" y="465"/>
                          </a:lnTo>
                          <a:lnTo>
                            <a:pt x="272" y="451"/>
                          </a:lnTo>
                          <a:lnTo>
                            <a:pt x="276" y="456"/>
                          </a:lnTo>
                          <a:lnTo>
                            <a:pt x="290" y="442"/>
                          </a:lnTo>
                          <a:lnTo>
                            <a:pt x="321" y="442"/>
                          </a:lnTo>
                          <a:lnTo>
                            <a:pt x="321" y="429"/>
                          </a:lnTo>
                          <a:lnTo>
                            <a:pt x="317" y="425"/>
                          </a:lnTo>
                          <a:lnTo>
                            <a:pt x="312" y="420"/>
                          </a:lnTo>
                          <a:lnTo>
                            <a:pt x="308" y="425"/>
                          </a:lnTo>
                          <a:lnTo>
                            <a:pt x="303" y="411"/>
                          </a:lnTo>
                          <a:lnTo>
                            <a:pt x="308" y="407"/>
                          </a:lnTo>
                          <a:lnTo>
                            <a:pt x="312" y="416"/>
                          </a:lnTo>
                          <a:lnTo>
                            <a:pt x="326" y="411"/>
                          </a:lnTo>
                          <a:lnTo>
                            <a:pt x="339" y="429"/>
                          </a:lnTo>
                          <a:lnTo>
                            <a:pt x="352" y="429"/>
                          </a:lnTo>
                          <a:lnTo>
                            <a:pt x="357" y="420"/>
                          </a:lnTo>
                          <a:lnTo>
                            <a:pt x="357" y="429"/>
                          </a:lnTo>
                          <a:lnTo>
                            <a:pt x="366" y="438"/>
                          </a:lnTo>
                          <a:lnTo>
                            <a:pt x="384" y="433"/>
                          </a:lnTo>
                          <a:lnTo>
                            <a:pt x="402" y="442"/>
                          </a:lnTo>
                          <a:lnTo>
                            <a:pt x="419" y="447"/>
                          </a:lnTo>
                          <a:lnTo>
                            <a:pt x="433" y="438"/>
                          </a:lnTo>
                          <a:lnTo>
                            <a:pt x="428" y="456"/>
                          </a:lnTo>
                          <a:lnTo>
                            <a:pt x="455" y="469"/>
                          </a:lnTo>
                          <a:lnTo>
                            <a:pt x="473" y="483"/>
                          </a:lnTo>
                          <a:lnTo>
                            <a:pt x="477" y="478"/>
                          </a:lnTo>
                          <a:lnTo>
                            <a:pt x="469" y="465"/>
                          </a:lnTo>
                          <a:lnTo>
                            <a:pt x="473" y="465"/>
                          </a:lnTo>
                          <a:lnTo>
                            <a:pt x="486" y="474"/>
                          </a:lnTo>
                          <a:lnTo>
                            <a:pt x="482" y="483"/>
                          </a:lnTo>
                          <a:lnTo>
                            <a:pt x="491" y="487"/>
                          </a:lnTo>
                          <a:lnTo>
                            <a:pt x="495" y="474"/>
                          </a:lnTo>
                          <a:lnTo>
                            <a:pt x="495" y="460"/>
                          </a:lnTo>
                          <a:lnTo>
                            <a:pt x="500" y="478"/>
                          </a:lnTo>
                          <a:lnTo>
                            <a:pt x="495" y="487"/>
                          </a:lnTo>
                          <a:lnTo>
                            <a:pt x="504" y="496"/>
                          </a:lnTo>
                          <a:lnTo>
                            <a:pt x="504" y="518"/>
                          </a:lnTo>
                          <a:lnTo>
                            <a:pt x="513" y="505"/>
                          </a:lnTo>
                          <a:lnTo>
                            <a:pt x="509" y="487"/>
                          </a:lnTo>
                          <a:lnTo>
                            <a:pt x="513" y="487"/>
                          </a:lnTo>
                          <a:lnTo>
                            <a:pt x="518" y="496"/>
                          </a:lnTo>
                          <a:lnTo>
                            <a:pt x="522" y="518"/>
                          </a:lnTo>
                          <a:lnTo>
                            <a:pt x="536" y="527"/>
                          </a:lnTo>
                          <a:lnTo>
                            <a:pt x="531" y="541"/>
                          </a:lnTo>
                          <a:lnTo>
                            <a:pt x="540" y="550"/>
                          </a:lnTo>
                          <a:lnTo>
                            <a:pt x="540" y="559"/>
                          </a:lnTo>
                          <a:lnTo>
                            <a:pt x="549" y="572"/>
                          </a:lnTo>
                          <a:lnTo>
                            <a:pt x="558" y="568"/>
                          </a:lnTo>
                          <a:lnTo>
                            <a:pt x="562" y="581"/>
                          </a:lnTo>
                          <a:lnTo>
                            <a:pt x="567" y="572"/>
                          </a:lnTo>
                          <a:lnTo>
                            <a:pt x="567" y="554"/>
                          </a:lnTo>
                          <a:lnTo>
                            <a:pt x="567" y="550"/>
                          </a:lnTo>
                          <a:lnTo>
                            <a:pt x="567" y="541"/>
                          </a:lnTo>
                          <a:lnTo>
                            <a:pt x="558" y="541"/>
                          </a:lnTo>
                          <a:lnTo>
                            <a:pt x="540" y="523"/>
                          </a:lnTo>
                          <a:lnTo>
                            <a:pt x="527" y="496"/>
                          </a:lnTo>
                          <a:lnTo>
                            <a:pt x="509" y="460"/>
                          </a:lnTo>
                          <a:lnTo>
                            <a:pt x="491" y="447"/>
                          </a:lnTo>
                          <a:lnTo>
                            <a:pt x="477" y="447"/>
                          </a:lnTo>
                          <a:lnTo>
                            <a:pt x="469" y="460"/>
                          </a:lnTo>
                          <a:lnTo>
                            <a:pt x="455" y="465"/>
                          </a:lnTo>
                          <a:lnTo>
                            <a:pt x="451" y="456"/>
                          </a:lnTo>
                          <a:lnTo>
                            <a:pt x="437" y="438"/>
                          </a:lnTo>
                          <a:lnTo>
                            <a:pt x="433" y="433"/>
                          </a:lnTo>
                          <a:lnTo>
                            <a:pt x="428" y="429"/>
                          </a:lnTo>
                          <a:lnTo>
                            <a:pt x="419" y="438"/>
                          </a:lnTo>
                          <a:lnTo>
                            <a:pt x="410" y="438"/>
                          </a:lnTo>
                          <a:lnTo>
                            <a:pt x="406" y="433"/>
                          </a:lnTo>
                          <a:lnTo>
                            <a:pt x="406" y="98"/>
                          </a:lnTo>
                          <a:lnTo>
                            <a:pt x="388" y="89"/>
                          </a:lnTo>
                          <a:lnTo>
                            <a:pt x="361" y="76"/>
                          </a:lnTo>
                          <a:lnTo>
                            <a:pt x="348" y="85"/>
                          </a:lnTo>
                          <a:lnTo>
                            <a:pt x="330" y="76"/>
                          </a:lnTo>
                          <a:lnTo>
                            <a:pt x="317" y="76"/>
                          </a:lnTo>
                          <a:lnTo>
                            <a:pt x="299" y="67"/>
                          </a:lnTo>
                          <a:lnTo>
                            <a:pt x="281" y="63"/>
                          </a:lnTo>
                          <a:lnTo>
                            <a:pt x="268" y="67"/>
                          </a:lnTo>
                          <a:lnTo>
                            <a:pt x="259" y="72"/>
                          </a:lnTo>
                          <a:lnTo>
                            <a:pt x="259" y="63"/>
                          </a:lnTo>
                          <a:lnTo>
                            <a:pt x="245" y="58"/>
                          </a:lnTo>
                          <a:lnTo>
                            <a:pt x="250" y="45"/>
                          </a:lnTo>
                          <a:lnTo>
                            <a:pt x="236" y="49"/>
                          </a:lnTo>
                          <a:lnTo>
                            <a:pt x="236" y="36"/>
                          </a:lnTo>
                          <a:lnTo>
                            <a:pt x="214" y="31"/>
                          </a:lnTo>
                          <a:lnTo>
                            <a:pt x="214" y="9"/>
                          </a:lnTo>
                          <a:lnTo>
                            <a:pt x="209" y="9"/>
                          </a:lnTo>
                          <a:lnTo>
                            <a:pt x="205" y="27"/>
                          </a:lnTo>
                          <a:lnTo>
                            <a:pt x="205" y="31"/>
                          </a:lnTo>
                          <a:lnTo>
                            <a:pt x="192" y="36"/>
                          </a:lnTo>
                          <a:lnTo>
                            <a:pt x="201" y="9"/>
                          </a:lnTo>
                          <a:lnTo>
                            <a:pt x="187" y="0"/>
                          </a:lnTo>
                          <a:lnTo>
                            <a:pt x="169" y="31"/>
                          </a:lnTo>
                          <a:lnTo>
                            <a:pt x="151" y="36"/>
                          </a:lnTo>
                          <a:lnTo>
                            <a:pt x="142" y="36"/>
                          </a:lnTo>
                          <a:lnTo>
                            <a:pt x="116" y="58"/>
                          </a:lnTo>
                          <a:lnTo>
                            <a:pt x="111" y="67"/>
                          </a:lnTo>
                          <a:lnTo>
                            <a:pt x="107" y="58"/>
                          </a:lnTo>
                          <a:lnTo>
                            <a:pt x="98" y="76"/>
                          </a:lnTo>
                          <a:lnTo>
                            <a:pt x="93" y="80"/>
                          </a:lnTo>
                          <a:lnTo>
                            <a:pt x="84" y="94"/>
                          </a:lnTo>
                          <a:lnTo>
                            <a:pt x="84" y="112"/>
                          </a:lnTo>
                          <a:lnTo>
                            <a:pt x="53" y="130"/>
                          </a:lnTo>
                          <a:lnTo>
                            <a:pt x="44" y="130"/>
                          </a:lnTo>
                          <a:lnTo>
                            <a:pt x="40" y="152"/>
                          </a:lnTo>
                          <a:lnTo>
                            <a:pt x="53" y="156"/>
                          </a:lnTo>
                          <a:lnTo>
                            <a:pt x="75" y="170"/>
                          </a:lnTo>
                          <a:lnTo>
                            <a:pt x="80" y="183"/>
                          </a:lnTo>
                          <a:lnTo>
                            <a:pt x="80" y="197"/>
                          </a:lnTo>
                          <a:lnTo>
                            <a:pt x="111" y="201"/>
                          </a:lnTo>
                          <a:lnTo>
                            <a:pt x="111" y="210"/>
                          </a:lnTo>
                          <a:lnTo>
                            <a:pt x="116" y="219"/>
                          </a:lnTo>
                          <a:lnTo>
                            <a:pt x="129" y="219"/>
                          </a:lnTo>
                          <a:lnTo>
                            <a:pt x="134" y="228"/>
                          </a:lnTo>
                          <a:lnTo>
                            <a:pt x="129" y="232"/>
                          </a:lnTo>
                          <a:close/>
                          <a:moveTo>
                            <a:pt x="138" y="1211"/>
                          </a:moveTo>
                          <a:lnTo>
                            <a:pt x="142" y="1216"/>
                          </a:lnTo>
                          <a:lnTo>
                            <a:pt x="147" y="1216"/>
                          </a:lnTo>
                          <a:lnTo>
                            <a:pt x="147" y="1207"/>
                          </a:lnTo>
                          <a:lnTo>
                            <a:pt x="138" y="1211"/>
                          </a:lnTo>
                          <a:close/>
                          <a:moveTo>
                            <a:pt x="165" y="1216"/>
                          </a:moveTo>
                          <a:lnTo>
                            <a:pt x="156" y="1220"/>
                          </a:lnTo>
                          <a:lnTo>
                            <a:pt x="160" y="1229"/>
                          </a:lnTo>
                          <a:lnTo>
                            <a:pt x="169" y="1229"/>
                          </a:lnTo>
                          <a:lnTo>
                            <a:pt x="169" y="1220"/>
                          </a:lnTo>
                          <a:lnTo>
                            <a:pt x="165" y="1216"/>
                          </a:lnTo>
                          <a:close/>
                          <a:moveTo>
                            <a:pt x="205" y="1256"/>
                          </a:moveTo>
                          <a:lnTo>
                            <a:pt x="209" y="1247"/>
                          </a:lnTo>
                          <a:lnTo>
                            <a:pt x="205" y="1242"/>
                          </a:lnTo>
                          <a:lnTo>
                            <a:pt x="196" y="1238"/>
                          </a:lnTo>
                          <a:lnTo>
                            <a:pt x="192" y="1242"/>
                          </a:lnTo>
                          <a:lnTo>
                            <a:pt x="201" y="1251"/>
                          </a:lnTo>
                          <a:lnTo>
                            <a:pt x="205" y="1256"/>
                          </a:lnTo>
                          <a:close/>
                          <a:moveTo>
                            <a:pt x="477" y="487"/>
                          </a:moveTo>
                          <a:lnTo>
                            <a:pt x="477" y="492"/>
                          </a:lnTo>
                          <a:lnTo>
                            <a:pt x="486" y="509"/>
                          </a:lnTo>
                          <a:lnTo>
                            <a:pt x="482" y="518"/>
                          </a:lnTo>
                          <a:lnTo>
                            <a:pt x="486" y="518"/>
                          </a:lnTo>
                          <a:lnTo>
                            <a:pt x="491" y="514"/>
                          </a:lnTo>
                          <a:lnTo>
                            <a:pt x="495" y="523"/>
                          </a:lnTo>
                          <a:lnTo>
                            <a:pt x="491" y="527"/>
                          </a:lnTo>
                          <a:lnTo>
                            <a:pt x="500" y="541"/>
                          </a:lnTo>
                          <a:lnTo>
                            <a:pt x="504" y="527"/>
                          </a:lnTo>
                          <a:lnTo>
                            <a:pt x="500" y="518"/>
                          </a:lnTo>
                          <a:lnTo>
                            <a:pt x="500" y="492"/>
                          </a:lnTo>
                          <a:lnTo>
                            <a:pt x="486" y="487"/>
                          </a:lnTo>
                          <a:lnTo>
                            <a:pt x="477" y="487"/>
                          </a:lnTo>
                          <a:close/>
                          <a:moveTo>
                            <a:pt x="504" y="545"/>
                          </a:moveTo>
                          <a:lnTo>
                            <a:pt x="509" y="541"/>
                          </a:lnTo>
                          <a:lnTo>
                            <a:pt x="513" y="523"/>
                          </a:lnTo>
                          <a:lnTo>
                            <a:pt x="518" y="532"/>
                          </a:lnTo>
                          <a:lnTo>
                            <a:pt x="527" y="532"/>
                          </a:lnTo>
                          <a:lnTo>
                            <a:pt x="531" y="527"/>
                          </a:lnTo>
                          <a:lnTo>
                            <a:pt x="513" y="514"/>
                          </a:lnTo>
                          <a:lnTo>
                            <a:pt x="509" y="523"/>
                          </a:lnTo>
                          <a:lnTo>
                            <a:pt x="509" y="532"/>
                          </a:lnTo>
                          <a:lnTo>
                            <a:pt x="504" y="545"/>
                          </a:lnTo>
                          <a:close/>
                          <a:moveTo>
                            <a:pt x="540" y="572"/>
                          </a:moveTo>
                          <a:lnTo>
                            <a:pt x="536" y="563"/>
                          </a:lnTo>
                          <a:lnTo>
                            <a:pt x="536" y="559"/>
                          </a:lnTo>
                          <a:lnTo>
                            <a:pt x="522" y="541"/>
                          </a:lnTo>
                          <a:lnTo>
                            <a:pt x="518" y="536"/>
                          </a:lnTo>
                          <a:lnTo>
                            <a:pt x="513" y="550"/>
                          </a:lnTo>
                          <a:lnTo>
                            <a:pt x="518" y="550"/>
                          </a:lnTo>
                          <a:lnTo>
                            <a:pt x="527" y="568"/>
                          </a:lnTo>
                          <a:lnTo>
                            <a:pt x="522" y="568"/>
                          </a:lnTo>
                          <a:lnTo>
                            <a:pt x="527" y="581"/>
                          </a:lnTo>
                          <a:lnTo>
                            <a:pt x="531" y="572"/>
                          </a:lnTo>
                          <a:lnTo>
                            <a:pt x="540" y="581"/>
                          </a:lnTo>
                          <a:lnTo>
                            <a:pt x="540" y="572"/>
                          </a:lnTo>
                          <a:close/>
                          <a:moveTo>
                            <a:pt x="674" y="719"/>
                          </a:moveTo>
                          <a:lnTo>
                            <a:pt x="670" y="724"/>
                          </a:lnTo>
                          <a:lnTo>
                            <a:pt x="674" y="733"/>
                          </a:lnTo>
                          <a:lnTo>
                            <a:pt x="656" y="728"/>
                          </a:lnTo>
                          <a:lnTo>
                            <a:pt x="647" y="728"/>
                          </a:lnTo>
                          <a:lnTo>
                            <a:pt x="647" y="737"/>
                          </a:lnTo>
                          <a:lnTo>
                            <a:pt x="652" y="742"/>
                          </a:lnTo>
                          <a:lnTo>
                            <a:pt x="652" y="773"/>
                          </a:lnTo>
                          <a:lnTo>
                            <a:pt x="665" y="778"/>
                          </a:lnTo>
                          <a:lnTo>
                            <a:pt x="656" y="782"/>
                          </a:lnTo>
                          <a:lnTo>
                            <a:pt x="656" y="791"/>
                          </a:lnTo>
                          <a:lnTo>
                            <a:pt x="656" y="818"/>
                          </a:lnTo>
                          <a:lnTo>
                            <a:pt x="652" y="831"/>
                          </a:lnTo>
                          <a:lnTo>
                            <a:pt x="647" y="836"/>
                          </a:lnTo>
                          <a:lnTo>
                            <a:pt x="652" y="885"/>
                          </a:lnTo>
                          <a:lnTo>
                            <a:pt x="647" y="885"/>
                          </a:lnTo>
                          <a:lnTo>
                            <a:pt x="652" y="894"/>
                          </a:lnTo>
                          <a:lnTo>
                            <a:pt x="656" y="903"/>
                          </a:lnTo>
                          <a:lnTo>
                            <a:pt x="656" y="921"/>
                          </a:lnTo>
                          <a:lnTo>
                            <a:pt x="670" y="934"/>
                          </a:lnTo>
                          <a:lnTo>
                            <a:pt x="670" y="938"/>
                          </a:lnTo>
                          <a:lnTo>
                            <a:pt x="674" y="943"/>
                          </a:lnTo>
                          <a:lnTo>
                            <a:pt x="683" y="934"/>
                          </a:lnTo>
                          <a:lnTo>
                            <a:pt x="683" y="938"/>
                          </a:lnTo>
                          <a:lnTo>
                            <a:pt x="679" y="947"/>
                          </a:lnTo>
                          <a:lnTo>
                            <a:pt x="679" y="965"/>
                          </a:lnTo>
                          <a:lnTo>
                            <a:pt x="687" y="974"/>
                          </a:lnTo>
                          <a:lnTo>
                            <a:pt x="701" y="988"/>
                          </a:lnTo>
                          <a:lnTo>
                            <a:pt x="701" y="992"/>
                          </a:lnTo>
                          <a:lnTo>
                            <a:pt x="705" y="992"/>
                          </a:lnTo>
                          <a:lnTo>
                            <a:pt x="705" y="1005"/>
                          </a:lnTo>
                          <a:lnTo>
                            <a:pt x="719" y="1005"/>
                          </a:lnTo>
                          <a:lnTo>
                            <a:pt x="732" y="1014"/>
                          </a:lnTo>
                          <a:lnTo>
                            <a:pt x="746" y="1023"/>
                          </a:lnTo>
                          <a:lnTo>
                            <a:pt x="750" y="1041"/>
                          </a:lnTo>
                          <a:lnTo>
                            <a:pt x="786" y="1037"/>
                          </a:lnTo>
                          <a:lnTo>
                            <a:pt x="839" y="1064"/>
                          </a:lnTo>
                          <a:lnTo>
                            <a:pt x="884" y="1064"/>
                          </a:lnTo>
                          <a:lnTo>
                            <a:pt x="880" y="1055"/>
                          </a:lnTo>
                          <a:lnTo>
                            <a:pt x="906" y="1055"/>
                          </a:lnTo>
                          <a:lnTo>
                            <a:pt x="929" y="1068"/>
                          </a:lnTo>
                          <a:lnTo>
                            <a:pt x="933" y="1090"/>
                          </a:lnTo>
                          <a:lnTo>
                            <a:pt x="951" y="1104"/>
                          </a:lnTo>
                          <a:lnTo>
                            <a:pt x="964" y="1086"/>
                          </a:lnTo>
                          <a:lnTo>
                            <a:pt x="978" y="1090"/>
                          </a:lnTo>
                          <a:lnTo>
                            <a:pt x="1005" y="1122"/>
                          </a:lnTo>
                          <a:lnTo>
                            <a:pt x="1014" y="1140"/>
                          </a:lnTo>
                          <a:lnTo>
                            <a:pt x="1036" y="1148"/>
                          </a:lnTo>
                          <a:lnTo>
                            <a:pt x="1045" y="1144"/>
                          </a:lnTo>
                          <a:lnTo>
                            <a:pt x="1040" y="1126"/>
                          </a:lnTo>
                          <a:lnTo>
                            <a:pt x="1049" y="1113"/>
                          </a:lnTo>
                          <a:lnTo>
                            <a:pt x="1094" y="1086"/>
                          </a:lnTo>
                          <a:lnTo>
                            <a:pt x="1125" y="1095"/>
                          </a:lnTo>
                          <a:lnTo>
                            <a:pt x="1139" y="1099"/>
                          </a:lnTo>
                          <a:lnTo>
                            <a:pt x="1143" y="1095"/>
                          </a:lnTo>
                          <a:lnTo>
                            <a:pt x="1152" y="1099"/>
                          </a:lnTo>
                          <a:lnTo>
                            <a:pt x="1156" y="1095"/>
                          </a:lnTo>
                          <a:lnTo>
                            <a:pt x="1148" y="1090"/>
                          </a:lnTo>
                          <a:lnTo>
                            <a:pt x="1152" y="1086"/>
                          </a:lnTo>
                          <a:lnTo>
                            <a:pt x="1148" y="1077"/>
                          </a:lnTo>
                          <a:lnTo>
                            <a:pt x="1139" y="1081"/>
                          </a:lnTo>
                          <a:lnTo>
                            <a:pt x="1139" y="1073"/>
                          </a:lnTo>
                          <a:lnTo>
                            <a:pt x="1170" y="1077"/>
                          </a:lnTo>
                          <a:lnTo>
                            <a:pt x="1179" y="1077"/>
                          </a:lnTo>
                          <a:lnTo>
                            <a:pt x="1183" y="1077"/>
                          </a:lnTo>
                          <a:lnTo>
                            <a:pt x="1192" y="1073"/>
                          </a:lnTo>
                          <a:lnTo>
                            <a:pt x="1201" y="1077"/>
                          </a:lnTo>
                          <a:lnTo>
                            <a:pt x="1210" y="1090"/>
                          </a:lnTo>
                          <a:lnTo>
                            <a:pt x="1228" y="1077"/>
                          </a:lnTo>
                          <a:lnTo>
                            <a:pt x="1246" y="1104"/>
                          </a:lnTo>
                          <a:lnTo>
                            <a:pt x="1237" y="1117"/>
                          </a:lnTo>
                          <a:lnTo>
                            <a:pt x="1246" y="1117"/>
                          </a:lnTo>
                          <a:lnTo>
                            <a:pt x="1246" y="1122"/>
                          </a:lnTo>
                          <a:lnTo>
                            <a:pt x="1259" y="1148"/>
                          </a:lnTo>
                          <a:lnTo>
                            <a:pt x="1264" y="1148"/>
                          </a:lnTo>
                          <a:lnTo>
                            <a:pt x="1268" y="1157"/>
                          </a:lnTo>
                          <a:lnTo>
                            <a:pt x="1268" y="1162"/>
                          </a:lnTo>
                          <a:lnTo>
                            <a:pt x="1282" y="1157"/>
                          </a:lnTo>
                          <a:lnTo>
                            <a:pt x="1286" y="1135"/>
                          </a:lnTo>
                          <a:lnTo>
                            <a:pt x="1277" y="1122"/>
                          </a:lnTo>
                          <a:lnTo>
                            <a:pt x="1277" y="1108"/>
                          </a:lnTo>
                          <a:lnTo>
                            <a:pt x="1268" y="1095"/>
                          </a:lnTo>
                          <a:lnTo>
                            <a:pt x="1268" y="1081"/>
                          </a:lnTo>
                          <a:lnTo>
                            <a:pt x="1264" y="1068"/>
                          </a:lnTo>
                          <a:lnTo>
                            <a:pt x="1273" y="1046"/>
                          </a:lnTo>
                          <a:lnTo>
                            <a:pt x="1277" y="1046"/>
                          </a:lnTo>
                          <a:lnTo>
                            <a:pt x="1295" y="1028"/>
                          </a:lnTo>
                          <a:lnTo>
                            <a:pt x="1304" y="1014"/>
                          </a:lnTo>
                          <a:lnTo>
                            <a:pt x="1317" y="1010"/>
                          </a:lnTo>
                          <a:lnTo>
                            <a:pt x="1322" y="1001"/>
                          </a:lnTo>
                          <a:lnTo>
                            <a:pt x="1326" y="1005"/>
                          </a:lnTo>
                          <a:lnTo>
                            <a:pt x="1331" y="997"/>
                          </a:lnTo>
                          <a:lnTo>
                            <a:pt x="1335" y="997"/>
                          </a:lnTo>
                          <a:lnTo>
                            <a:pt x="1344" y="992"/>
                          </a:lnTo>
                          <a:lnTo>
                            <a:pt x="1331" y="992"/>
                          </a:lnTo>
                          <a:lnTo>
                            <a:pt x="1335" y="983"/>
                          </a:lnTo>
                          <a:lnTo>
                            <a:pt x="1344" y="983"/>
                          </a:lnTo>
                          <a:lnTo>
                            <a:pt x="1344" y="974"/>
                          </a:lnTo>
                          <a:lnTo>
                            <a:pt x="1335" y="970"/>
                          </a:lnTo>
                          <a:lnTo>
                            <a:pt x="1349" y="970"/>
                          </a:lnTo>
                          <a:lnTo>
                            <a:pt x="1340" y="956"/>
                          </a:lnTo>
                          <a:lnTo>
                            <a:pt x="1335" y="956"/>
                          </a:lnTo>
                          <a:lnTo>
                            <a:pt x="1335" y="947"/>
                          </a:lnTo>
                          <a:lnTo>
                            <a:pt x="1335" y="938"/>
                          </a:lnTo>
                          <a:lnTo>
                            <a:pt x="1335" y="912"/>
                          </a:lnTo>
                          <a:lnTo>
                            <a:pt x="1340" y="907"/>
                          </a:lnTo>
                          <a:lnTo>
                            <a:pt x="1340" y="934"/>
                          </a:lnTo>
                          <a:lnTo>
                            <a:pt x="1344" y="938"/>
                          </a:lnTo>
                          <a:lnTo>
                            <a:pt x="1344" y="952"/>
                          </a:lnTo>
                          <a:lnTo>
                            <a:pt x="1344" y="956"/>
                          </a:lnTo>
                          <a:lnTo>
                            <a:pt x="1349" y="943"/>
                          </a:lnTo>
                          <a:lnTo>
                            <a:pt x="1353" y="943"/>
                          </a:lnTo>
                          <a:lnTo>
                            <a:pt x="1357" y="934"/>
                          </a:lnTo>
                          <a:lnTo>
                            <a:pt x="1353" y="930"/>
                          </a:lnTo>
                          <a:lnTo>
                            <a:pt x="1353" y="921"/>
                          </a:lnTo>
                          <a:lnTo>
                            <a:pt x="1353" y="916"/>
                          </a:lnTo>
                          <a:lnTo>
                            <a:pt x="1357" y="916"/>
                          </a:lnTo>
                          <a:lnTo>
                            <a:pt x="1357" y="925"/>
                          </a:lnTo>
                          <a:lnTo>
                            <a:pt x="1366" y="912"/>
                          </a:lnTo>
                          <a:lnTo>
                            <a:pt x="1375" y="912"/>
                          </a:lnTo>
                          <a:lnTo>
                            <a:pt x="1375" y="889"/>
                          </a:lnTo>
                          <a:lnTo>
                            <a:pt x="1371" y="889"/>
                          </a:lnTo>
                          <a:lnTo>
                            <a:pt x="1371" y="885"/>
                          </a:lnTo>
                          <a:lnTo>
                            <a:pt x="1402" y="871"/>
                          </a:lnTo>
                          <a:lnTo>
                            <a:pt x="1411" y="871"/>
                          </a:lnTo>
                          <a:lnTo>
                            <a:pt x="1420" y="867"/>
                          </a:lnTo>
                          <a:lnTo>
                            <a:pt x="1429" y="867"/>
                          </a:lnTo>
                          <a:lnTo>
                            <a:pt x="1433" y="862"/>
                          </a:lnTo>
                          <a:lnTo>
                            <a:pt x="1429" y="854"/>
                          </a:lnTo>
                          <a:lnTo>
                            <a:pt x="1424" y="854"/>
                          </a:lnTo>
                          <a:lnTo>
                            <a:pt x="1424" y="858"/>
                          </a:lnTo>
                          <a:lnTo>
                            <a:pt x="1420" y="858"/>
                          </a:lnTo>
                          <a:lnTo>
                            <a:pt x="1420" y="849"/>
                          </a:lnTo>
                          <a:lnTo>
                            <a:pt x="1424" y="831"/>
                          </a:lnTo>
                          <a:lnTo>
                            <a:pt x="1429" y="822"/>
                          </a:lnTo>
                          <a:lnTo>
                            <a:pt x="1442" y="822"/>
                          </a:lnTo>
                          <a:lnTo>
                            <a:pt x="1447" y="813"/>
                          </a:lnTo>
                          <a:lnTo>
                            <a:pt x="1456" y="822"/>
                          </a:lnTo>
                          <a:lnTo>
                            <a:pt x="1474" y="809"/>
                          </a:lnTo>
                          <a:lnTo>
                            <a:pt x="1474" y="800"/>
                          </a:lnTo>
                          <a:lnTo>
                            <a:pt x="1469" y="800"/>
                          </a:lnTo>
                          <a:lnTo>
                            <a:pt x="1469" y="795"/>
                          </a:lnTo>
                          <a:lnTo>
                            <a:pt x="1460" y="791"/>
                          </a:lnTo>
                          <a:lnTo>
                            <a:pt x="1451" y="751"/>
                          </a:lnTo>
                          <a:lnTo>
                            <a:pt x="1442" y="755"/>
                          </a:lnTo>
                          <a:lnTo>
                            <a:pt x="1438" y="751"/>
                          </a:lnTo>
                          <a:lnTo>
                            <a:pt x="1420" y="778"/>
                          </a:lnTo>
                          <a:lnTo>
                            <a:pt x="1407" y="800"/>
                          </a:lnTo>
                          <a:lnTo>
                            <a:pt x="1362" y="804"/>
                          </a:lnTo>
                          <a:lnTo>
                            <a:pt x="1357" y="804"/>
                          </a:lnTo>
                          <a:lnTo>
                            <a:pt x="1340" y="818"/>
                          </a:lnTo>
                          <a:lnTo>
                            <a:pt x="1344" y="822"/>
                          </a:lnTo>
                          <a:lnTo>
                            <a:pt x="1340" y="831"/>
                          </a:lnTo>
                          <a:lnTo>
                            <a:pt x="1326" y="836"/>
                          </a:lnTo>
                          <a:lnTo>
                            <a:pt x="1304" y="831"/>
                          </a:lnTo>
                          <a:lnTo>
                            <a:pt x="1304" y="836"/>
                          </a:lnTo>
                          <a:lnTo>
                            <a:pt x="1299" y="845"/>
                          </a:lnTo>
                          <a:lnTo>
                            <a:pt x="1304" y="845"/>
                          </a:lnTo>
                          <a:lnTo>
                            <a:pt x="1299" y="849"/>
                          </a:lnTo>
                          <a:lnTo>
                            <a:pt x="1282" y="858"/>
                          </a:lnTo>
                          <a:lnTo>
                            <a:pt x="1268" y="867"/>
                          </a:lnTo>
                          <a:lnTo>
                            <a:pt x="1250" y="871"/>
                          </a:lnTo>
                          <a:lnTo>
                            <a:pt x="1237" y="862"/>
                          </a:lnTo>
                          <a:lnTo>
                            <a:pt x="1241" y="854"/>
                          </a:lnTo>
                          <a:lnTo>
                            <a:pt x="1241" y="845"/>
                          </a:lnTo>
                          <a:lnTo>
                            <a:pt x="1246" y="845"/>
                          </a:lnTo>
                          <a:lnTo>
                            <a:pt x="1246" y="831"/>
                          </a:lnTo>
                          <a:lnTo>
                            <a:pt x="1246" y="818"/>
                          </a:lnTo>
                          <a:lnTo>
                            <a:pt x="1237" y="818"/>
                          </a:lnTo>
                          <a:lnTo>
                            <a:pt x="1232" y="822"/>
                          </a:lnTo>
                          <a:lnTo>
                            <a:pt x="1232" y="818"/>
                          </a:lnTo>
                          <a:lnTo>
                            <a:pt x="1237" y="809"/>
                          </a:lnTo>
                          <a:lnTo>
                            <a:pt x="1241" y="795"/>
                          </a:lnTo>
                          <a:lnTo>
                            <a:pt x="1232" y="791"/>
                          </a:lnTo>
                          <a:lnTo>
                            <a:pt x="1219" y="787"/>
                          </a:lnTo>
                          <a:lnTo>
                            <a:pt x="1215" y="787"/>
                          </a:lnTo>
                          <a:lnTo>
                            <a:pt x="1206" y="800"/>
                          </a:lnTo>
                          <a:lnTo>
                            <a:pt x="1201" y="800"/>
                          </a:lnTo>
                          <a:lnTo>
                            <a:pt x="1197" y="804"/>
                          </a:lnTo>
                          <a:lnTo>
                            <a:pt x="1192" y="827"/>
                          </a:lnTo>
                          <a:lnTo>
                            <a:pt x="1192" y="849"/>
                          </a:lnTo>
                          <a:lnTo>
                            <a:pt x="1183" y="862"/>
                          </a:lnTo>
                          <a:lnTo>
                            <a:pt x="1174" y="854"/>
                          </a:lnTo>
                          <a:lnTo>
                            <a:pt x="1174" y="840"/>
                          </a:lnTo>
                          <a:lnTo>
                            <a:pt x="1179" y="809"/>
                          </a:lnTo>
                          <a:lnTo>
                            <a:pt x="1188" y="795"/>
                          </a:lnTo>
                          <a:lnTo>
                            <a:pt x="1170" y="804"/>
                          </a:lnTo>
                          <a:lnTo>
                            <a:pt x="1188" y="787"/>
                          </a:lnTo>
                          <a:lnTo>
                            <a:pt x="1223" y="778"/>
                          </a:lnTo>
                          <a:lnTo>
                            <a:pt x="1219" y="769"/>
                          </a:lnTo>
                          <a:lnTo>
                            <a:pt x="1215" y="764"/>
                          </a:lnTo>
                          <a:lnTo>
                            <a:pt x="1215" y="760"/>
                          </a:lnTo>
                          <a:lnTo>
                            <a:pt x="1197" y="764"/>
                          </a:lnTo>
                          <a:lnTo>
                            <a:pt x="1188" y="769"/>
                          </a:lnTo>
                          <a:lnTo>
                            <a:pt x="1170" y="755"/>
                          </a:lnTo>
                          <a:lnTo>
                            <a:pt x="1161" y="755"/>
                          </a:lnTo>
                          <a:lnTo>
                            <a:pt x="1170" y="746"/>
                          </a:lnTo>
                          <a:lnTo>
                            <a:pt x="1134" y="760"/>
                          </a:lnTo>
                          <a:lnTo>
                            <a:pt x="1125" y="760"/>
                          </a:lnTo>
                          <a:lnTo>
                            <a:pt x="1112" y="760"/>
                          </a:lnTo>
                          <a:lnTo>
                            <a:pt x="1125" y="751"/>
                          </a:lnTo>
                          <a:lnTo>
                            <a:pt x="1139" y="737"/>
                          </a:lnTo>
                          <a:lnTo>
                            <a:pt x="1130" y="733"/>
                          </a:lnTo>
                          <a:lnTo>
                            <a:pt x="1116" y="737"/>
                          </a:lnTo>
                          <a:lnTo>
                            <a:pt x="1107" y="728"/>
                          </a:lnTo>
                          <a:lnTo>
                            <a:pt x="1098" y="724"/>
                          </a:lnTo>
                          <a:lnTo>
                            <a:pt x="1076" y="724"/>
                          </a:lnTo>
                          <a:lnTo>
                            <a:pt x="1072" y="715"/>
                          </a:lnTo>
                          <a:lnTo>
                            <a:pt x="1063" y="719"/>
                          </a:lnTo>
                          <a:lnTo>
                            <a:pt x="674" y="719"/>
                          </a:lnTo>
                          <a:close/>
                          <a:moveTo>
                            <a:pt x="1375" y="885"/>
                          </a:moveTo>
                          <a:lnTo>
                            <a:pt x="1380" y="889"/>
                          </a:lnTo>
                          <a:lnTo>
                            <a:pt x="1389" y="885"/>
                          </a:lnTo>
                          <a:lnTo>
                            <a:pt x="1402" y="876"/>
                          </a:lnTo>
                          <a:lnTo>
                            <a:pt x="1384" y="880"/>
                          </a:lnTo>
                          <a:lnTo>
                            <a:pt x="1375" y="88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0" name="Freeform 111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1900" y="2373"/>
                      <a:ext cx="13" cy="12"/>
                    </a:xfrm>
                    <a:custGeom>
                      <a:avLst/>
                      <a:gdLst>
                        <a:gd name="T0" fmla="*/ 5 w 14"/>
                        <a:gd name="T1" fmla="*/ 4 h 13"/>
                        <a:gd name="T2" fmla="*/ 7 w 14"/>
                        <a:gd name="T3" fmla="*/ 4 h 13"/>
                        <a:gd name="T4" fmla="*/ 5 w 14"/>
                        <a:gd name="T5" fmla="*/ 0 h 13"/>
                        <a:gd name="T6" fmla="*/ 5 w 14"/>
                        <a:gd name="T7" fmla="*/ 0 h 13"/>
                        <a:gd name="T8" fmla="*/ 5 w 14"/>
                        <a:gd name="T9" fmla="*/ 4 h 13"/>
                        <a:gd name="T10" fmla="*/ 5 w 14"/>
                        <a:gd name="T11" fmla="*/ 6 h 13"/>
                        <a:gd name="T12" fmla="*/ 7 w 14"/>
                        <a:gd name="T13" fmla="*/ 6 h 13"/>
                        <a:gd name="T14" fmla="*/ 0 w 14"/>
                        <a:gd name="T15" fmla="*/ 6 h 13"/>
                        <a:gd name="T16" fmla="*/ 0 w 14"/>
                        <a:gd name="T17" fmla="*/ 6 h 13"/>
                        <a:gd name="T18" fmla="*/ 5 w 14"/>
                        <a:gd name="T19" fmla="*/ 6 h 13"/>
                        <a:gd name="T20" fmla="*/ 7 w 14"/>
                        <a:gd name="T21" fmla="*/ 0 h 13"/>
                        <a:gd name="T22" fmla="*/ 7 w 14"/>
                        <a:gd name="T23" fmla="*/ 0 h 13"/>
                        <a:gd name="T24" fmla="*/ 7 w 14"/>
                        <a:gd name="T25" fmla="*/ 0 h 13"/>
                        <a:gd name="T26" fmla="*/ 7 w 14"/>
                        <a:gd name="T27" fmla="*/ 0 h 13"/>
                        <a:gd name="T28" fmla="*/ 7 w 14"/>
                        <a:gd name="T29" fmla="*/ 0 h 13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w 14"/>
                        <a:gd name="T46" fmla="*/ 0 h 13"/>
                        <a:gd name="T47" fmla="*/ 14 w 14"/>
                        <a:gd name="T48" fmla="*/ 13 h 13"/>
                      </a:gdLst>
                      <a:ahLst/>
                      <a:cxnLst>
                        <a:cxn ang="T30">
                          <a:pos x="T0" y="T1"/>
                        </a:cxn>
                        <a:cxn ang="T31">
                          <a:pos x="T2" y="T3"/>
                        </a:cxn>
                        <a:cxn ang="T32">
                          <a:pos x="T4" y="T5"/>
                        </a:cxn>
                        <a:cxn ang="T33">
                          <a:pos x="T6" y="T7"/>
                        </a:cxn>
                        <a:cxn ang="T34">
                          <a:pos x="T8" y="T9"/>
                        </a:cxn>
                        <a:cxn ang="T35">
                          <a:pos x="T10" y="T11"/>
                        </a:cxn>
                        <a:cxn ang="T36">
                          <a:pos x="T12" y="T13"/>
                        </a:cxn>
                        <a:cxn ang="T37">
                          <a:pos x="T14" y="T15"/>
                        </a:cxn>
                        <a:cxn ang="T38">
                          <a:pos x="T16" y="T17"/>
                        </a:cxn>
                        <a:cxn ang="T39">
                          <a:pos x="T18" y="T19"/>
                        </a:cxn>
                        <a:cxn ang="T40">
                          <a:pos x="T20" y="T21"/>
                        </a:cxn>
                        <a:cxn ang="T41">
                          <a:pos x="T22" y="T23"/>
                        </a:cxn>
                        <a:cxn ang="T42">
                          <a:pos x="T24" y="T25"/>
                        </a:cxn>
                        <a:cxn ang="T43">
                          <a:pos x="T26" y="T27"/>
                        </a:cxn>
                        <a:cxn ang="T44">
                          <a:pos x="T28" y="T29"/>
                        </a:cxn>
                      </a:cxnLst>
                      <a:rect l="T45" t="T46" r="T47" b="T48"/>
                      <a:pathLst>
                        <a:path w="14" h="13">
                          <a:moveTo>
                            <a:pt x="5" y="4"/>
                          </a:moveTo>
                          <a:lnTo>
                            <a:pt x="9" y="4"/>
                          </a:lnTo>
                          <a:lnTo>
                            <a:pt x="5" y="0"/>
                          </a:lnTo>
                          <a:lnTo>
                            <a:pt x="5" y="4"/>
                          </a:lnTo>
                          <a:close/>
                          <a:moveTo>
                            <a:pt x="5" y="13"/>
                          </a:moveTo>
                          <a:lnTo>
                            <a:pt x="9" y="9"/>
                          </a:lnTo>
                          <a:lnTo>
                            <a:pt x="0" y="13"/>
                          </a:lnTo>
                          <a:lnTo>
                            <a:pt x="5" y="13"/>
                          </a:lnTo>
                          <a:close/>
                          <a:moveTo>
                            <a:pt x="9" y="0"/>
                          </a:moveTo>
                          <a:lnTo>
                            <a:pt x="9" y="0"/>
                          </a:lnTo>
                          <a:lnTo>
                            <a:pt x="14" y="0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1" name="Freeform 11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994" y="3069"/>
                      <a:ext cx="67" cy="80"/>
                    </a:xfrm>
                    <a:custGeom>
                      <a:avLst/>
                      <a:gdLst>
                        <a:gd name="T0" fmla="*/ 0 w 71"/>
                        <a:gd name="T1" fmla="*/ 8 h 85"/>
                        <a:gd name="T2" fmla="*/ 4 w 71"/>
                        <a:gd name="T3" fmla="*/ 8 h 85"/>
                        <a:gd name="T4" fmla="*/ 0 w 71"/>
                        <a:gd name="T5" fmla="*/ 8 h 85"/>
                        <a:gd name="T6" fmla="*/ 8 w 71"/>
                        <a:gd name="T7" fmla="*/ 4 h 85"/>
                        <a:gd name="T8" fmla="*/ 8 w 71"/>
                        <a:gd name="T9" fmla="*/ 0 h 85"/>
                        <a:gd name="T10" fmla="*/ 8 w 71"/>
                        <a:gd name="T11" fmla="*/ 0 h 85"/>
                        <a:gd name="T12" fmla="*/ 8 w 71"/>
                        <a:gd name="T13" fmla="*/ 8 h 85"/>
                        <a:gd name="T14" fmla="*/ 8 w 71"/>
                        <a:gd name="T15" fmla="*/ 8 h 85"/>
                        <a:gd name="T16" fmla="*/ 8 w 71"/>
                        <a:gd name="T17" fmla="*/ 8 h 85"/>
                        <a:gd name="T18" fmla="*/ 11 w 71"/>
                        <a:gd name="T19" fmla="*/ 8 h 85"/>
                        <a:gd name="T20" fmla="*/ 13 w 71"/>
                        <a:gd name="T21" fmla="*/ 8 h 85"/>
                        <a:gd name="T22" fmla="*/ 12 w 71"/>
                        <a:gd name="T23" fmla="*/ 8 h 85"/>
                        <a:gd name="T24" fmla="*/ 12 w 71"/>
                        <a:gd name="T25" fmla="*/ 11 h 85"/>
                        <a:gd name="T26" fmla="*/ 8 w 71"/>
                        <a:gd name="T27" fmla="*/ 15 h 85"/>
                        <a:gd name="T28" fmla="*/ 8 w 71"/>
                        <a:gd name="T29" fmla="*/ 15 h 85"/>
                        <a:gd name="T30" fmla="*/ 8 w 71"/>
                        <a:gd name="T31" fmla="*/ 14 h 85"/>
                        <a:gd name="T32" fmla="*/ 4 w 71"/>
                        <a:gd name="T33" fmla="*/ 14 h 85"/>
                        <a:gd name="T34" fmla="*/ 0 w 71"/>
                        <a:gd name="T35" fmla="*/ 11 h 85"/>
                        <a:gd name="T36" fmla="*/ 0 w 71"/>
                        <a:gd name="T37" fmla="*/ 8 h 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71"/>
                        <a:gd name="T58" fmla="*/ 0 h 85"/>
                        <a:gd name="T59" fmla="*/ 71 w 71"/>
                        <a:gd name="T60" fmla="*/ 85 h 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71" h="85">
                          <a:moveTo>
                            <a:pt x="0" y="54"/>
                          </a:moveTo>
                          <a:lnTo>
                            <a:pt x="4" y="49"/>
                          </a:lnTo>
                          <a:lnTo>
                            <a:pt x="0" y="31"/>
                          </a:lnTo>
                          <a:lnTo>
                            <a:pt x="9" y="4"/>
                          </a:lnTo>
                          <a:lnTo>
                            <a:pt x="13" y="0"/>
                          </a:lnTo>
                          <a:lnTo>
                            <a:pt x="22" y="0"/>
                          </a:lnTo>
                          <a:lnTo>
                            <a:pt x="31" y="13"/>
                          </a:lnTo>
                          <a:lnTo>
                            <a:pt x="40" y="9"/>
                          </a:lnTo>
                          <a:lnTo>
                            <a:pt x="49" y="22"/>
                          </a:lnTo>
                          <a:lnTo>
                            <a:pt x="62" y="27"/>
                          </a:lnTo>
                          <a:lnTo>
                            <a:pt x="71" y="45"/>
                          </a:lnTo>
                          <a:lnTo>
                            <a:pt x="67" y="54"/>
                          </a:lnTo>
                          <a:lnTo>
                            <a:pt x="67" y="67"/>
                          </a:lnTo>
                          <a:lnTo>
                            <a:pt x="49" y="85"/>
                          </a:lnTo>
                          <a:lnTo>
                            <a:pt x="31" y="85"/>
                          </a:lnTo>
                          <a:lnTo>
                            <a:pt x="13" y="80"/>
                          </a:lnTo>
                          <a:lnTo>
                            <a:pt x="4" y="80"/>
                          </a:lnTo>
                          <a:lnTo>
                            <a:pt x="0" y="67"/>
                          </a:lnTo>
                          <a:lnTo>
                            <a:pt x="0" y="5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02" name="Freeform 11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1787" y="2462"/>
                      <a:ext cx="185" cy="156"/>
                    </a:xfrm>
                    <a:custGeom>
                      <a:avLst/>
                      <a:gdLst>
                        <a:gd name="T0" fmla="*/ 17 w 196"/>
                        <a:gd name="T1" fmla="*/ 25 h 165"/>
                        <a:gd name="T2" fmla="*/ 16 w 196"/>
                        <a:gd name="T3" fmla="*/ 24 h 165"/>
                        <a:gd name="T4" fmla="*/ 15 w 196"/>
                        <a:gd name="T5" fmla="*/ 21 h 165"/>
                        <a:gd name="T6" fmla="*/ 9 w 196"/>
                        <a:gd name="T7" fmla="*/ 18 h 165"/>
                        <a:gd name="T8" fmla="*/ 8 w 196"/>
                        <a:gd name="T9" fmla="*/ 16 h 165"/>
                        <a:gd name="T10" fmla="*/ 8 w 196"/>
                        <a:gd name="T11" fmla="*/ 10 h 165"/>
                        <a:gd name="T12" fmla="*/ 0 w 196"/>
                        <a:gd name="T13" fmla="*/ 9 h 165"/>
                        <a:gd name="T14" fmla="*/ 4 w 196"/>
                        <a:gd name="T15" fmla="*/ 9 h 165"/>
                        <a:gd name="T16" fmla="*/ 8 w 196"/>
                        <a:gd name="T17" fmla="*/ 4 h 165"/>
                        <a:gd name="T18" fmla="*/ 8 w 196"/>
                        <a:gd name="T19" fmla="*/ 9 h 165"/>
                        <a:gd name="T20" fmla="*/ 8 w 196"/>
                        <a:gd name="T21" fmla="*/ 9 h 165"/>
                        <a:gd name="T22" fmla="*/ 8 w 196"/>
                        <a:gd name="T23" fmla="*/ 9 h 165"/>
                        <a:gd name="T24" fmla="*/ 8 w 196"/>
                        <a:gd name="T25" fmla="*/ 9 h 165"/>
                        <a:gd name="T26" fmla="*/ 8 w 196"/>
                        <a:gd name="T27" fmla="*/ 9 h 165"/>
                        <a:gd name="T28" fmla="*/ 8 w 196"/>
                        <a:gd name="T29" fmla="*/ 9 h 165"/>
                        <a:gd name="T30" fmla="*/ 8 w 196"/>
                        <a:gd name="T31" fmla="*/ 0 h 165"/>
                        <a:gd name="T32" fmla="*/ 11 w 196"/>
                        <a:gd name="T33" fmla="*/ 9 h 165"/>
                        <a:gd name="T34" fmla="*/ 13 w 196"/>
                        <a:gd name="T35" fmla="*/ 9 h 165"/>
                        <a:gd name="T36" fmla="*/ 22 w 196"/>
                        <a:gd name="T37" fmla="*/ 9 h 165"/>
                        <a:gd name="T38" fmla="*/ 23 w 196"/>
                        <a:gd name="T39" fmla="*/ 9 h 165"/>
                        <a:gd name="T40" fmla="*/ 25 w 196"/>
                        <a:gd name="T41" fmla="*/ 9 h 165"/>
                        <a:gd name="T42" fmla="*/ 30 w 196"/>
                        <a:gd name="T43" fmla="*/ 9 h 165"/>
                        <a:gd name="T44" fmla="*/ 28 w 196"/>
                        <a:gd name="T45" fmla="*/ 9 h 165"/>
                        <a:gd name="T46" fmla="*/ 33 w 196"/>
                        <a:gd name="T47" fmla="*/ 9 h 165"/>
                        <a:gd name="T48" fmla="*/ 34 w 196"/>
                        <a:gd name="T49" fmla="*/ 9 h 165"/>
                        <a:gd name="T50" fmla="*/ 33 w 196"/>
                        <a:gd name="T51" fmla="*/ 14 h 165"/>
                        <a:gd name="T52" fmla="*/ 32 w 196"/>
                        <a:gd name="T53" fmla="*/ 17 h 165"/>
                        <a:gd name="T54" fmla="*/ 33 w 196"/>
                        <a:gd name="T55" fmla="*/ 20 h 165"/>
                        <a:gd name="T56" fmla="*/ 26 w 196"/>
                        <a:gd name="T57" fmla="*/ 23 h 165"/>
                        <a:gd name="T58" fmla="*/ 23 w 196"/>
                        <a:gd name="T59" fmla="*/ 22 h 165"/>
                        <a:gd name="T60" fmla="*/ 23 w 196"/>
                        <a:gd name="T61" fmla="*/ 24 h 165"/>
                        <a:gd name="T62" fmla="*/ 25 w 196"/>
                        <a:gd name="T63" fmla="*/ 27 h 165"/>
                        <a:gd name="T64" fmla="*/ 23 w 196"/>
                        <a:gd name="T65" fmla="*/ 29 h 165"/>
                        <a:gd name="T66" fmla="*/ 18 w 196"/>
                        <a:gd name="T67" fmla="*/ 29 h 165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196"/>
                        <a:gd name="T103" fmla="*/ 0 h 165"/>
                        <a:gd name="T104" fmla="*/ 196 w 196"/>
                        <a:gd name="T105" fmla="*/ 165 h 165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196" h="165">
                          <a:moveTo>
                            <a:pt x="94" y="160"/>
                          </a:moveTo>
                          <a:lnTo>
                            <a:pt x="89" y="138"/>
                          </a:lnTo>
                          <a:lnTo>
                            <a:pt x="76" y="143"/>
                          </a:lnTo>
                          <a:lnTo>
                            <a:pt x="85" y="129"/>
                          </a:lnTo>
                          <a:lnTo>
                            <a:pt x="80" y="125"/>
                          </a:lnTo>
                          <a:lnTo>
                            <a:pt x="80" y="107"/>
                          </a:lnTo>
                          <a:lnTo>
                            <a:pt x="85" y="84"/>
                          </a:lnTo>
                          <a:lnTo>
                            <a:pt x="58" y="89"/>
                          </a:lnTo>
                          <a:lnTo>
                            <a:pt x="49" y="75"/>
                          </a:lnTo>
                          <a:lnTo>
                            <a:pt x="22" y="80"/>
                          </a:lnTo>
                          <a:lnTo>
                            <a:pt x="9" y="67"/>
                          </a:lnTo>
                          <a:lnTo>
                            <a:pt x="13" y="58"/>
                          </a:lnTo>
                          <a:lnTo>
                            <a:pt x="4" y="49"/>
                          </a:lnTo>
                          <a:lnTo>
                            <a:pt x="0" y="49"/>
                          </a:lnTo>
                          <a:lnTo>
                            <a:pt x="4" y="44"/>
                          </a:lnTo>
                          <a:lnTo>
                            <a:pt x="4" y="26"/>
                          </a:lnTo>
                          <a:lnTo>
                            <a:pt x="13" y="13"/>
                          </a:lnTo>
                          <a:lnTo>
                            <a:pt x="22" y="4"/>
                          </a:lnTo>
                          <a:lnTo>
                            <a:pt x="31" y="4"/>
                          </a:lnTo>
                          <a:lnTo>
                            <a:pt x="18" y="13"/>
                          </a:lnTo>
                          <a:lnTo>
                            <a:pt x="22" y="22"/>
                          </a:lnTo>
                          <a:lnTo>
                            <a:pt x="13" y="35"/>
                          </a:lnTo>
                          <a:lnTo>
                            <a:pt x="22" y="49"/>
                          </a:lnTo>
                          <a:lnTo>
                            <a:pt x="31" y="44"/>
                          </a:lnTo>
                          <a:lnTo>
                            <a:pt x="31" y="35"/>
                          </a:lnTo>
                          <a:lnTo>
                            <a:pt x="22" y="26"/>
                          </a:lnTo>
                          <a:lnTo>
                            <a:pt x="27" y="22"/>
                          </a:lnTo>
                          <a:lnTo>
                            <a:pt x="49" y="17"/>
                          </a:lnTo>
                          <a:lnTo>
                            <a:pt x="49" y="8"/>
                          </a:lnTo>
                          <a:lnTo>
                            <a:pt x="44" y="13"/>
                          </a:lnTo>
                          <a:lnTo>
                            <a:pt x="44" y="4"/>
                          </a:lnTo>
                          <a:lnTo>
                            <a:pt x="49" y="0"/>
                          </a:lnTo>
                          <a:lnTo>
                            <a:pt x="53" y="13"/>
                          </a:lnTo>
                          <a:lnTo>
                            <a:pt x="62" y="13"/>
                          </a:lnTo>
                          <a:lnTo>
                            <a:pt x="71" y="17"/>
                          </a:lnTo>
                          <a:lnTo>
                            <a:pt x="71" y="26"/>
                          </a:lnTo>
                          <a:lnTo>
                            <a:pt x="103" y="26"/>
                          </a:lnTo>
                          <a:lnTo>
                            <a:pt x="120" y="35"/>
                          </a:lnTo>
                          <a:lnTo>
                            <a:pt x="134" y="26"/>
                          </a:lnTo>
                          <a:lnTo>
                            <a:pt x="129" y="17"/>
                          </a:lnTo>
                          <a:lnTo>
                            <a:pt x="143" y="13"/>
                          </a:lnTo>
                          <a:lnTo>
                            <a:pt x="143" y="17"/>
                          </a:lnTo>
                          <a:lnTo>
                            <a:pt x="138" y="22"/>
                          </a:lnTo>
                          <a:lnTo>
                            <a:pt x="170" y="26"/>
                          </a:lnTo>
                          <a:lnTo>
                            <a:pt x="152" y="31"/>
                          </a:lnTo>
                          <a:lnTo>
                            <a:pt x="161" y="40"/>
                          </a:lnTo>
                          <a:lnTo>
                            <a:pt x="178" y="40"/>
                          </a:lnTo>
                          <a:lnTo>
                            <a:pt x="183" y="44"/>
                          </a:lnTo>
                          <a:lnTo>
                            <a:pt x="183" y="53"/>
                          </a:lnTo>
                          <a:lnTo>
                            <a:pt x="192" y="53"/>
                          </a:lnTo>
                          <a:lnTo>
                            <a:pt x="196" y="67"/>
                          </a:lnTo>
                          <a:lnTo>
                            <a:pt x="183" y="71"/>
                          </a:lnTo>
                          <a:lnTo>
                            <a:pt x="187" y="80"/>
                          </a:lnTo>
                          <a:lnTo>
                            <a:pt x="178" y="84"/>
                          </a:lnTo>
                          <a:lnTo>
                            <a:pt x="174" y="93"/>
                          </a:lnTo>
                          <a:lnTo>
                            <a:pt x="183" y="102"/>
                          </a:lnTo>
                          <a:lnTo>
                            <a:pt x="183" y="116"/>
                          </a:lnTo>
                          <a:lnTo>
                            <a:pt x="152" y="120"/>
                          </a:lnTo>
                          <a:lnTo>
                            <a:pt x="138" y="120"/>
                          </a:lnTo>
                          <a:lnTo>
                            <a:pt x="125" y="111"/>
                          </a:lnTo>
                          <a:lnTo>
                            <a:pt x="120" y="120"/>
                          </a:lnTo>
                          <a:lnTo>
                            <a:pt x="125" y="125"/>
                          </a:lnTo>
                          <a:lnTo>
                            <a:pt x="129" y="143"/>
                          </a:lnTo>
                          <a:lnTo>
                            <a:pt x="143" y="147"/>
                          </a:lnTo>
                          <a:lnTo>
                            <a:pt x="134" y="147"/>
                          </a:lnTo>
                          <a:lnTo>
                            <a:pt x="125" y="156"/>
                          </a:lnTo>
                          <a:lnTo>
                            <a:pt x="103" y="165"/>
                          </a:lnTo>
                          <a:lnTo>
                            <a:pt x="94" y="16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58" name="Group 114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3040" y="866"/>
                    <a:ext cx="2312" cy="2085"/>
                    <a:chOff x="3040" y="866"/>
                    <a:chExt cx="2312" cy="2085"/>
                  </a:xfrm>
                </p:grpSpPr>
                <p:sp>
                  <p:nvSpPr>
                    <p:cNvPr id="505" name="Freeform 115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4686" y="2660"/>
                      <a:ext cx="202" cy="127"/>
                    </a:xfrm>
                    <a:custGeom>
                      <a:avLst/>
                      <a:gdLst>
                        <a:gd name="T0" fmla="*/ 0 w 214"/>
                        <a:gd name="T1" fmla="*/ 9 h 134"/>
                        <a:gd name="T2" fmla="*/ 8 w 214"/>
                        <a:gd name="T3" fmla="*/ 9 h 134"/>
                        <a:gd name="T4" fmla="*/ 12 w 214"/>
                        <a:gd name="T5" fmla="*/ 9 h 134"/>
                        <a:gd name="T6" fmla="*/ 18 w 214"/>
                        <a:gd name="T7" fmla="*/ 11 h 134"/>
                        <a:gd name="T8" fmla="*/ 18 w 214"/>
                        <a:gd name="T9" fmla="*/ 15 h 134"/>
                        <a:gd name="T10" fmla="*/ 19 w 214"/>
                        <a:gd name="T11" fmla="*/ 21 h 134"/>
                        <a:gd name="T12" fmla="*/ 22 w 214"/>
                        <a:gd name="T13" fmla="*/ 22 h 134"/>
                        <a:gd name="T14" fmla="*/ 23 w 214"/>
                        <a:gd name="T15" fmla="*/ 24 h 134"/>
                        <a:gd name="T16" fmla="*/ 25 w 214"/>
                        <a:gd name="T17" fmla="*/ 25 h 134"/>
                        <a:gd name="T18" fmla="*/ 23 w 214"/>
                        <a:gd name="T19" fmla="*/ 26 h 134"/>
                        <a:gd name="T20" fmla="*/ 19 w 214"/>
                        <a:gd name="T21" fmla="*/ 25 h 134"/>
                        <a:gd name="T22" fmla="*/ 14 w 214"/>
                        <a:gd name="T23" fmla="*/ 21 h 134"/>
                        <a:gd name="T24" fmla="*/ 9 w 214"/>
                        <a:gd name="T25" fmla="*/ 18 h 134"/>
                        <a:gd name="T26" fmla="*/ 8 w 214"/>
                        <a:gd name="T27" fmla="*/ 20 h 134"/>
                        <a:gd name="T28" fmla="*/ 8 w 214"/>
                        <a:gd name="T29" fmla="*/ 22 h 134"/>
                        <a:gd name="T30" fmla="*/ 4 w 214"/>
                        <a:gd name="T31" fmla="*/ 22 h 134"/>
                        <a:gd name="T32" fmla="*/ 14 w 214"/>
                        <a:gd name="T33" fmla="*/ 0 h 134"/>
                        <a:gd name="T34" fmla="*/ 15 w 214"/>
                        <a:gd name="T35" fmla="*/ 8 h 134"/>
                        <a:gd name="T36" fmla="*/ 17 w 214"/>
                        <a:gd name="T37" fmla="*/ 0 h 134"/>
                        <a:gd name="T38" fmla="*/ 14 w 214"/>
                        <a:gd name="T39" fmla="*/ 0 h 134"/>
                        <a:gd name="T40" fmla="*/ 19 w 214"/>
                        <a:gd name="T41" fmla="*/ 11 h 134"/>
                        <a:gd name="T42" fmla="*/ 21 w 214"/>
                        <a:gd name="T43" fmla="*/ 14 h 134"/>
                        <a:gd name="T44" fmla="*/ 23 w 214"/>
                        <a:gd name="T45" fmla="*/ 15 h 134"/>
                        <a:gd name="T46" fmla="*/ 26 w 214"/>
                        <a:gd name="T47" fmla="*/ 11 h 134"/>
                        <a:gd name="T48" fmla="*/ 30 w 214"/>
                        <a:gd name="T49" fmla="*/ 9 h 134"/>
                        <a:gd name="T50" fmla="*/ 26 w 214"/>
                        <a:gd name="T51" fmla="*/ 9 h 134"/>
                        <a:gd name="T52" fmla="*/ 25 w 214"/>
                        <a:gd name="T53" fmla="*/ 9 h 134"/>
                        <a:gd name="T54" fmla="*/ 23 w 214"/>
                        <a:gd name="T55" fmla="*/ 9 h 134"/>
                        <a:gd name="T56" fmla="*/ 19 w 214"/>
                        <a:gd name="T57" fmla="*/ 9 h 134"/>
                        <a:gd name="T58" fmla="*/ 30 w 214"/>
                        <a:gd name="T59" fmla="*/ 9 h 134"/>
                        <a:gd name="T60" fmla="*/ 24 w 214"/>
                        <a:gd name="T61" fmla="*/ 4 h 134"/>
                        <a:gd name="T62" fmla="*/ 25 w 214"/>
                        <a:gd name="T63" fmla="*/ 9 h 134"/>
                        <a:gd name="T64" fmla="*/ 30 w 214"/>
                        <a:gd name="T65" fmla="*/ 9 h 134"/>
                        <a:gd name="T66" fmla="*/ 31 w 214"/>
                        <a:gd name="T67" fmla="*/ 9 h 134"/>
                        <a:gd name="T68" fmla="*/ 36 w 214"/>
                        <a:gd name="T69" fmla="*/ 12 h 134"/>
                        <a:gd name="T70" fmla="*/ 38 w 214"/>
                        <a:gd name="T71" fmla="*/ 15 h 134"/>
                        <a:gd name="T72" fmla="*/ 36 w 214"/>
                        <a:gd name="T73" fmla="*/ 9 h 134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14"/>
                        <a:gd name="T112" fmla="*/ 0 h 134"/>
                        <a:gd name="T113" fmla="*/ 214 w 214"/>
                        <a:gd name="T114" fmla="*/ 134 h 134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14" h="134">
                          <a:moveTo>
                            <a:pt x="0" y="102"/>
                          </a:moveTo>
                          <a:lnTo>
                            <a:pt x="0" y="13"/>
                          </a:lnTo>
                          <a:lnTo>
                            <a:pt x="13" y="13"/>
                          </a:lnTo>
                          <a:lnTo>
                            <a:pt x="26" y="26"/>
                          </a:lnTo>
                          <a:lnTo>
                            <a:pt x="49" y="26"/>
                          </a:lnTo>
                          <a:lnTo>
                            <a:pt x="67" y="40"/>
                          </a:lnTo>
                          <a:lnTo>
                            <a:pt x="67" y="53"/>
                          </a:lnTo>
                          <a:lnTo>
                            <a:pt x="93" y="58"/>
                          </a:lnTo>
                          <a:lnTo>
                            <a:pt x="98" y="71"/>
                          </a:lnTo>
                          <a:lnTo>
                            <a:pt x="93" y="71"/>
                          </a:lnTo>
                          <a:lnTo>
                            <a:pt x="84" y="71"/>
                          </a:lnTo>
                          <a:lnTo>
                            <a:pt x="102" y="98"/>
                          </a:lnTo>
                          <a:lnTo>
                            <a:pt x="111" y="107"/>
                          </a:lnTo>
                          <a:lnTo>
                            <a:pt x="120" y="107"/>
                          </a:lnTo>
                          <a:lnTo>
                            <a:pt x="120" y="111"/>
                          </a:lnTo>
                          <a:lnTo>
                            <a:pt x="129" y="116"/>
                          </a:lnTo>
                          <a:lnTo>
                            <a:pt x="129" y="120"/>
                          </a:lnTo>
                          <a:lnTo>
                            <a:pt x="143" y="125"/>
                          </a:lnTo>
                          <a:lnTo>
                            <a:pt x="134" y="134"/>
                          </a:lnTo>
                          <a:lnTo>
                            <a:pt x="129" y="134"/>
                          </a:lnTo>
                          <a:lnTo>
                            <a:pt x="129" y="125"/>
                          </a:lnTo>
                          <a:lnTo>
                            <a:pt x="102" y="125"/>
                          </a:lnTo>
                          <a:lnTo>
                            <a:pt x="89" y="120"/>
                          </a:lnTo>
                          <a:lnTo>
                            <a:pt x="76" y="102"/>
                          </a:lnTo>
                          <a:lnTo>
                            <a:pt x="67" y="89"/>
                          </a:lnTo>
                          <a:lnTo>
                            <a:pt x="58" y="84"/>
                          </a:lnTo>
                          <a:lnTo>
                            <a:pt x="40" y="80"/>
                          </a:lnTo>
                          <a:lnTo>
                            <a:pt x="26" y="93"/>
                          </a:lnTo>
                          <a:lnTo>
                            <a:pt x="31" y="102"/>
                          </a:lnTo>
                          <a:lnTo>
                            <a:pt x="22" y="107"/>
                          </a:lnTo>
                          <a:lnTo>
                            <a:pt x="4" y="102"/>
                          </a:lnTo>
                          <a:lnTo>
                            <a:pt x="4" y="107"/>
                          </a:lnTo>
                          <a:lnTo>
                            <a:pt x="0" y="102"/>
                          </a:lnTo>
                          <a:close/>
                          <a:moveTo>
                            <a:pt x="76" y="0"/>
                          </a:moveTo>
                          <a:lnTo>
                            <a:pt x="76" y="8"/>
                          </a:lnTo>
                          <a:lnTo>
                            <a:pt x="80" y="8"/>
                          </a:lnTo>
                          <a:lnTo>
                            <a:pt x="89" y="4"/>
                          </a:lnTo>
                          <a:lnTo>
                            <a:pt x="89" y="0"/>
                          </a:lnTo>
                          <a:lnTo>
                            <a:pt x="80" y="0"/>
                          </a:lnTo>
                          <a:lnTo>
                            <a:pt x="76" y="0"/>
                          </a:lnTo>
                          <a:close/>
                          <a:moveTo>
                            <a:pt x="102" y="53"/>
                          </a:moveTo>
                          <a:lnTo>
                            <a:pt x="102" y="58"/>
                          </a:lnTo>
                          <a:lnTo>
                            <a:pt x="111" y="62"/>
                          </a:lnTo>
                          <a:lnTo>
                            <a:pt x="116" y="67"/>
                          </a:lnTo>
                          <a:lnTo>
                            <a:pt x="125" y="62"/>
                          </a:lnTo>
                          <a:lnTo>
                            <a:pt x="129" y="71"/>
                          </a:lnTo>
                          <a:lnTo>
                            <a:pt x="147" y="67"/>
                          </a:lnTo>
                          <a:lnTo>
                            <a:pt x="151" y="58"/>
                          </a:lnTo>
                          <a:lnTo>
                            <a:pt x="160" y="58"/>
                          </a:lnTo>
                          <a:lnTo>
                            <a:pt x="165" y="40"/>
                          </a:lnTo>
                          <a:lnTo>
                            <a:pt x="160" y="35"/>
                          </a:lnTo>
                          <a:lnTo>
                            <a:pt x="151" y="35"/>
                          </a:lnTo>
                          <a:lnTo>
                            <a:pt x="151" y="49"/>
                          </a:lnTo>
                          <a:lnTo>
                            <a:pt x="143" y="53"/>
                          </a:lnTo>
                          <a:lnTo>
                            <a:pt x="134" y="53"/>
                          </a:lnTo>
                          <a:lnTo>
                            <a:pt x="129" y="49"/>
                          </a:lnTo>
                          <a:lnTo>
                            <a:pt x="125" y="53"/>
                          </a:lnTo>
                          <a:lnTo>
                            <a:pt x="102" y="53"/>
                          </a:lnTo>
                          <a:close/>
                          <a:moveTo>
                            <a:pt x="174" y="35"/>
                          </a:moveTo>
                          <a:lnTo>
                            <a:pt x="165" y="26"/>
                          </a:lnTo>
                          <a:lnTo>
                            <a:pt x="143" y="8"/>
                          </a:lnTo>
                          <a:lnTo>
                            <a:pt x="134" y="4"/>
                          </a:lnTo>
                          <a:lnTo>
                            <a:pt x="129" y="8"/>
                          </a:lnTo>
                          <a:lnTo>
                            <a:pt x="143" y="13"/>
                          </a:lnTo>
                          <a:lnTo>
                            <a:pt x="160" y="31"/>
                          </a:lnTo>
                          <a:lnTo>
                            <a:pt x="165" y="35"/>
                          </a:lnTo>
                          <a:lnTo>
                            <a:pt x="169" y="44"/>
                          </a:lnTo>
                          <a:lnTo>
                            <a:pt x="174" y="35"/>
                          </a:lnTo>
                          <a:close/>
                          <a:moveTo>
                            <a:pt x="196" y="53"/>
                          </a:moveTo>
                          <a:lnTo>
                            <a:pt x="196" y="62"/>
                          </a:lnTo>
                          <a:lnTo>
                            <a:pt x="201" y="76"/>
                          </a:lnTo>
                          <a:lnTo>
                            <a:pt x="210" y="71"/>
                          </a:lnTo>
                          <a:lnTo>
                            <a:pt x="214" y="67"/>
                          </a:lnTo>
                          <a:lnTo>
                            <a:pt x="201" y="53"/>
                          </a:lnTo>
                          <a:lnTo>
                            <a:pt x="196" y="5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506" name="Group 116"/>
                    <p:cNvGrpSpPr>
                      <a:grpSpLocks noChangeAspect="1"/>
                    </p:cNvGrpSpPr>
                    <p:nvPr/>
                  </p:nvGrpSpPr>
                  <p:grpSpPr bwMode="auto">
                    <a:xfrm>
                      <a:off x="3040" y="866"/>
                      <a:ext cx="2312" cy="2085"/>
                      <a:chOff x="3040" y="866"/>
                      <a:chExt cx="2312" cy="2085"/>
                    </a:xfrm>
                  </p:grpSpPr>
                  <p:sp>
                    <p:nvSpPr>
                      <p:cNvPr id="507" name="Freeform 117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597" y="2057"/>
                        <a:ext cx="195" cy="156"/>
                      </a:xfrm>
                      <a:custGeom>
                        <a:avLst/>
                        <a:gdLst>
                          <a:gd name="T0" fmla="*/ 5 w 206"/>
                          <a:gd name="T1" fmla="*/ 29 h 165"/>
                          <a:gd name="T2" fmla="*/ 9 w 206"/>
                          <a:gd name="T3" fmla="*/ 29 h 165"/>
                          <a:gd name="T4" fmla="*/ 9 w 206"/>
                          <a:gd name="T5" fmla="*/ 31 h 165"/>
                          <a:gd name="T6" fmla="*/ 17 w 206"/>
                          <a:gd name="T7" fmla="*/ 29 h 165"/>
                          <a:gd name="T8" fmla="*/ 18 w 206"/>
                          <a:gd name="T9" fmla="*/ 25 h 165"/>
                          <a:gd name="T10" fmla="*/ 19 w 206"/>
                          <a:gd name="T11" fmla="*/ 24 h 165"/>
                          <a:gd name="T12" fmla="*/ 21 w 206"/>
                          <a:gd name="T13" fmla="*/ 24 h 165"/>
                          <a:gd name="T14" fmla="*/ 23 w 206"/>
                          <a:gd name="T15" fmla="*/ 23 h 165"/>
                          <a:gd name="T16" fmla="*/ 24 w 206"/>
                          <a:gd name="T17" fmla="*/ 24 h 165"/>
                          <a:gd name="T18" fmla="*/ 25 w 206"/>
                          <a:gd name="T19" fmla="*/ 23 h 165"/>
                          <a:gd name="T20" fmla="*/ 25 w 206"/>
                          <a:gd name="T21" fmla="*/ 21 h 165"/>
                          <a:gd name="T22" fmla="*/ 25 w 206"/>
                          <a:gd name="T23" fmla="*/ 20 h 165"/>
                          <a:gd name="T24" fmla="*/ 27 w 206"/>
                          <a:gd name="T25" fmla="*/ 18 h 165"/>
                          <a:gd name="T26" fmla="*/ 26 w 206"/>
                          <a:gd name="T27" fmla="*/ 17 h 165"/>
                          <a:gd name="T28" fmla="*/ 28 w 206"/>
                          <a:gd name="T29" fmla="*/ 16 h 165"/>
                          <a:gd name="T30" fmla="*/ 30 w 206"/>
                          <a:gd name="T31" fmla="*/ 11 h 165"/>
                          <a:gd name="T32" fmla="*/ 29 w 206"/>
                          <a:gd name="T33" fmla="*/ 9 h 165"/>
                          <a:gd name="T34" fmla="*/ 30 w 206"/>
                          <a:gd name="T35" fmla="*/ 9 h 165"/>
                          <a:gd name="T36" fmla="*/ 34 w 206"/>
                          <a:gd name="T37" fmla="*/ 9 h 165"/>
                          <a:gd name="T38" fmla="*/ 38 w 206"/>
                          <a:gd name="T39" fmla="*/ 9 h 165"/>
                          <a:gd name="T40" fmla="*/ 39 w 206"/>
                          <a:gd name="T41" fmla="*/ 9 h 165"/>
                          <a:gd name="T42" fmla="*/ 40 w 206"/>
                          <a:gd name="T43" fmla="*/ 9 h 165"/>
                          <a:gd name="T44" fmla="*/ 35 w 206"/>
                          <a:gd name="T45" fmla="*/ 9 h 165"/>
                          <a:gd name="T46" fmla="*/ 30 w 206"/>
                          <a:gd name="T47" fmla="*/ 9 h 165"/>
                          <a:gd name="T48" fmla="*/ 31 w 206"/>
                          <a:gd name="T49" fmla="*/ 9 h 165"/>
                          <a:gd name="T50" fmla="*/ 30 w 206"/>
                          <a:gd name="T51" fmla="*/ 4 h 165"/>
                          <a:gd name="T52" fmla="*/ 29 w 206"/>
                          <a:gd name="T53" fmla="*/ 0 h 165"/>
                          <a:gd name="T54" fmla="*/ 27 w 206"/>
                          <a:gd name="T55" fmla="*/ 9 h 165"/>
                          <a:gd name="T56" fmla="*/ 26 w 206"/>
                          <a:gd name="T57" fmla="*/ 9 h 165"/>
                          <a:gd name="T58" fmla="*/ 24 w 206"/>
                          <a:gd name="T59" fmla="*/ 9 h 165"/>
                          <a:gd name="T60" fmla="*/ 22 w 206"/>
                          <a:gd name="T61" fmla="*/ 9 h 165"/>
                          <a:gd name="T62" fmla="*/ 21 w 206"/>
                          <a:gd name="T63" fmla="*/ 9 h 165"/>
                          <a:gd name="T64" fmla="*/ 18 w 206"/>
                          <a:gd name="T65" fmla="*/ 9 h 165"/>
                          <a:gd name="T66" fmla="*/ 16 w 206"/>
                          <a:gd name="T67" fmla="*/ 9 h 165"/>
                          <a:gd name="T68" fmla="*/ 13 w 206"/>
                          <a:gd name="T69" fmla="*/ 9 h 165"/>
                          <a:gd name="T70" fmla="*/ 11 w 206"/>
                          <a:gd name="T71" fmla="*/ 9 h 165"/>
                          <a:gd name="T72" fmla="*/ 9 w 206"/>
                          <a:gd name="T73" fmla="*/ 9 h 165"/>
                          <a:gd name="T74" fmla="*/ 9 w 206"/>
                          <a:gd name="T75" fmla="*/ 11 h 165"/>
                          <a:gd name="T76" fmla="*/ 9 w 206"/>
                          <a:gd name="T77" fmla="*/ 9 h 165"/>
                          <a:gd name="T78" fmla="*/ 9 w 206"/>
                          <a:gd name="T79" fmla="*/ 9 h 165"/>
                          <a:gd name="T80" fmla="*/ 0 w 206"/>
                          <a:gd name="T81" fmla="*/ 16 h 165"/>
                          <a:gd name="T82" fmla="*/ 5 w 206"/>
                          <a:gd name="T83" fmla="*/ 18 h 165"/>
                          <a:gd name="T84" fmla="*/ 5 w 206"/>
                          <a:gd name="T85" fmla="*/ 24 h 165"/>
                          <a:gd name="T86" fmla="*/ 9 w 206"/>
                          <a:gd name="T87" fmla="*/ 24 h 165"/>
                          <a:gd name="T88" fmla="*/ 9 w 206"/>
                          <a:gd name="T89" fmla="*/ 25 h 165"/>
                          <a:gd name="T90" fmla="*/ 9 w 206"/>
                          <a:gd name="T91" fmla="*/ 26 h 165"/>
                          <a:gd name="T92" fmla="*/ 5 w 206"/>
                          <a:gd name="T93" fmla="*/ 29 h 165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w 206"/>
                          <a:gd name="T142" fmla="*/ 0 h 165"/>
                          <a:gd name="T143" fmla="*/ 206 w 206"/>
                          <a:gd name="T144" fmla="*/ 165 h 165"/>
                        </a:gdLst>
                        <a:ahLst/>
                        <a:cxnLst>
                          <a:cxn ang="T94">
                            <a:pos x="T0" y="T1"/>
                          </a:cxn>
                          <a:cxn ang="T95">
                            <a:pos x="T2" y="T3"/>
                          </a:cxn>
                          <a:cxn ang="T96">
                            <a:pos x="T4" y="T5"/>
                          </a:cxn>
                          <a:cxn ang="T97">
                            <a:pos x="T6" y="T7"/>
                          </a:cxn>
                          <a:cxn ang="T98">
                            <a:pos x="T8" y="T9"/>
                          </a:cxn>
                          <a:cxn ang="T99">
                            <a:pos x="T10" y="T11"/>
                          </a:cxn>
                          <a:cxn ang="T100">
                            <a:pos x="T12" y="T13"/>
                          </a:cxn>
                          <a:cxn ang="T101">
                            <a:pos x="T14" y="T15"/>
                          </a:cxn>
                          <a:cxn ang="T102">
                            <a:pos x="T16" y="T17"/>
                          </a:cxn>
                          <a:cxn ang="T103">
                            <a:pos x="T18" y="T19"/>
                          </a:cxn>
                          <a:cxn ang="T104">
                            <a:pos x="T20" y="T21"/>
                          </a:cxn>
                          <a:cxn ang="T105">
                            <a:pos x="T22" y="T23"/>
                          </a:cxn>
                          <a:cxn ang="T106">
                            <a:pos x="T24" y="T25"/>
                          </a:cxn>
                          <a:cxn ang="T107">
                            <a:pos x="T26" y="T27"/>
                          </a:cxn>
                          <a:cxn ang="T108">
                            <a:pos x="T28" y="T29"/>
                          </a:cxn>
                          <a:cxn ang="T109">
                            <a:pos x="T30" y="T31"/>
                          </a:cxn>
                          <a:cxn ang="T110">
                            <a:pos x="T32" y="T33"/>
                          </a:cxn>
                          <a:cxn ang="T111">
                            <a:pos x="T34" y="T35"/>
                          </a:cxn>
                          <a:cxn ang="T112">
                            <a:pos x="T36" y="T37"/>
                          </a:cxn>
                          <a:cxn ang="T113">
                            <a:pos x="T38" y="T39"/>
                          </a:cxn>
                          <a:cxn ang="T114">
                            <a:pos x="T40" y="T41"/>
                          </a:cxn>
                          <a:cxn ang="T115">
                            <a:pos x="T42" y="T43"/>
                          </a:cxn>
                          <a:cxn ang="T116">
                            <a:pos x="T44" y="T45"/>
                          </a:cxn>
                          <a:cxn ang="T117">
                            <a:pos x="T46" y="T47"/>
                          </a:cxn>
                          <a:cxn ang="T118">
                            <a:pos x="T48" y="T49"/>
                          </a:cxn>
                          <a:cxn ang="T119">
                            <a:pos x="T50" y="T51"/>
                          </a:cxn>
                          <a:cxn ang="T120">
                            <a:pos x="T52" y="T53"/>
                          </a:cxn>
                          <a:cxn ang="T121">
                            <a:pos x="T54" y="T55"/>
                          </a:cxn>
                          <a:cxn ang="T122">
                            <a:pos x="T56" y="T57"/>
                          </a:cxn>
                          <a:cxn ang="T123">
                            <a:pos x="T58" y="T59"/>
                          </a:cxn>
                          <a:cxn ang="T124">
                            <a:pos x="T60" y="T61"/>
                          </a:cxn>
                          <a:cxn ang="T125">
                            <a:pos x="T62" y="T63"/>
                          </a:cxn>
                          <a:cxn ang="T126">
                            <a:pos x="T64" y="T65"/>
                          </a:cxn>
                          <a:cxn ang="T127">
                            <a:pos x="T66" y="T67"/>
                          </a:cxn>
                          <a:cxn ang="T128">
                            <a:pos x="T68" y="T69"/>
                          </a:cxn>
                          <a:cxn ang="T129">
                            <a:pos x="T70" y="T71"/>
                          </a:cxn>
                          <a:cxn ang="T130">
                            <a:pos x="T72" y="T73"/>
                          </a:cxn>
                          <a:cxn ang="T131">
                            <a:pos x="T74" y="T75"/>
                          </a:cxn>
                          <a:cxn ang="T132">
                            <a:pos x="T76" y="T77"/>
                          </a:cxn>
                          <a:cxn ang="T133">
                            <a:pos x="T78" y="T79"/>
                          </a:cxn>
                          <a:cxn ang="T134">
                            <a:pos x="T80" y="T81"/>
                          </a:cxn>
                          <a:cxn ang="T135">
                            <a:pos x="T82" y="T83"/>
                          </a:cxn>
                          <a:cxn ang="T136">
                            <a:pos x="T84" y="T85"/>
                          </a:cxn>
                          <a:cxn ang="T137">
                            <a:pos x="T86" y="T87"/>
                          </a:cxn>
                          <a:cxn ang="T138">
                            <a:pos x="T88" y="T89"/>
                          </a:cxn>
                          <a:cxn ang="T139">
                            <a:pos x="T90" y="T91"/>
                          </a:cxn>
                          <a:cxn ang="T140">
                            <a:pos x="T92" y="T93"/>
                          </a:cxn>
                        </a:cxnLst>
                        <a:rect l="T141" t="T142" r="T143" b="T144"/>
                        <a:pathLst>
                          <a:path w="206" h="165">
                            <a:moveTo>
                              <a:pt x="5" y="156"/>
                            </a:moveTo>
                            <a:lnTo>
                              <a:pt x="14" y="160"/>
                            </a:lnTo>
                            <a:lnTo>
                              <a:pt x="27" y="165"/>
                            </a:lnTo>
                            <a:lnTo>
                              <a:pt x="81" y="160"/>
                            </a:lnTo>
                            <a:lnTo>
                              <a:pt x="85" y="138"/>
                            </a:lnTo>
                            <a:lnTo>
                              <a:pt x="89" y="129"/>
                            </a:lnTo>
                            <a:lnTo>
                              <a:pt x="103" y="129"/>
                            </a:lnTo>
                            <a:lnTo>
                              <a:pt x="112" y="120"/>
                            </a:lnTo>
                            <a:lnTo>
                              <a:pt x="121" y="125"/>
                            </a:lnTo>
                            <a:lnTo>
                              <a:pt x="125" y="120"/>
                            </a:lnTo>
                            <a:lnTo>
                              <a:pt x="125" y="107"/>
                            </a:lnTo>
                            <a:lnTo>
                              <a:pt x="125" y="102"/>
                            </a:lnTo>
                            <a:lnTo>
                              <a:pt x="139" y="93"/>
                            </a:lnTo>
                            <a:lnTo>
                              <a:pt x="134" y="84"/>
                            </a:lnTo>
                            <a:lnTo>
                              <a:pt x="148" y="80"/>
                            </a:lnTo>
                            <a:lnTo>
                              <a:pt x="156" y="62"/>
                            </a:lnTo>
                            <a:lnTo>
                              <a:pt x="152" y="53"/>
                            </a:lnTo>
                            <a:lnTo>
                              <a:pt x="156" y="44"/>
                            </a:lnTo>
                            <a:lnTo>
                              <a:pt x="174" y="35"/>
                            </a:lnTo>
                            <a:lnTo>
                              <a:pt x="197" y="31"/>
                            </a:lnTo>
                            <a:lnTo>
                              <a:pt x="201" y="31"/>
                            </a:lnTo>
                            <a:lnTo>
                              <a:pt x="206" y="26"/>
                            </a:lnTo>
                            <a:lnTo>
                              <a:pt x="179" y="22"/>
                            </a:lnTo>
                            <a:lnTo>
                              <a:pt x="156" y="35"/>
                            </a:lnTo>
                            <a:lnTo>
                              <a:pt x="161" y="17"/>
                            </a:lnTo>
                            <a:lnTo>
                              <a:pt x="156" y="4"/>
                            </a:lnTo>
                            <a:lnTo>
                              <a:pt x="152" y="0"/>
                            </a:lnTo>
                            <a:lnTo>
                              <a:pt x="139" y="17"/>
                            </a:lnTo>
                            <a:lnTo>
                              <a:pt x="134" y="17"/>
                            </a:lnTo>
                            <a:lnTo>
                              <a:pt x="121" y="22"/>
                            </a:lnTo>
                            <a:lnTo>
                              <a:pt x="107" y="26"/>
                            </a:lnTo>
                            <a:lnTo>
                              <a:pt x="103" y="26"/>
                            </a:lnTo>
                            <a:lnTo>
                              <a:pt x="85" y="26"/>
                            </a:lnTo>
                            <a:lnTo>
                              <a:pt x="76" y="22"/>
                            </a:lnTo>
                            <a:lnTo>
                              <a:pt x="67" y="26"/>
                            </a:lnTo>
                            <a:lnTo>
                              <a:pt x="58" y="44"/>
                            </a:lnTo>
                            <a:lnTo>
                              <a:pt x="40" y="49"/>
                            </a:lnTo>
                            <a:lnTo>
                              <a:pt x="27" y="62"/>
                            </a:lnTo>
                            <a:lnTo>
                              <a:pt x="22" y="53"/>
                            </a:lnTo>
                            <a:lnTo>
                              <a:pt x="9" y="53"/>
                            </a:lnTo>
                            <a:lnTo>
                              <a:pt x="0" y="80"/>
                            </a:lnTo>
                            <a:lnTo>
                              <a:pt x="5" y="89"/>
                            </a:lnTo>
                            <a:lnTo>
                              <a:pt x="5" y="125"/>
                            </a:lnTo>
                            <a:lnTo>
                              <a:pt x="14" y="125"/>
                            </a:lnTo>
                            <a:lnTo>
                              <a:pt x="18" y="138"/>
                            </a:lnTo>
                            <a:lnTo>
                              <a:pt x="9" y="143"/>
                            </a:lnTo>
                            <a:lnTo>
                              <a:pt x="5" y="156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08" name="Freeform 118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3382" y="1993"/>
                        <a:ext cx="80" cy="72"/>
                      </a:xfrm>
                      <a:custGeom>
                        <a:avLst/>
                        <a:gdLst>
                          <a:gd name="T0" fmla="*/ 0 w 85"/>
                          <a:gd name="T1" fmla="*/ 9 h 76"/>
                          <a:gd name="T2" fmla="*/ 8 w 85"/>
                          <a:gd name="T3" fmla="*/ 12 h 76"/>
                          <a:gd name="T4" fmla="*/ 8 w 85"/>
                          <a:gd name="T5" fmla="*/ 14 h 76"/>
                          <a:gd name="T6" fmla="*/ 8 w 85"/>
                          <a:gd name="T7" fmla="*/ 9 h 76"/>
                          <a:gd name="T8" fmla="*/ 8 w 85"/>
                          <a:gd name="T9" fmla="*/ 9 h 76"/>
                          <a:gd name="T10" fmla="*/ 8 w 85"/>
                          <a:gd name="T11" fmla="*/ 9 h 76"/>
                          <a:gd name="T12" fmla="*/ 5 w 85"/>
                          <a:gd name="T13" fmla="*/ 9 h 76"/>
                          <a:gd name="T14" fmla="*/ 0 w 85"/>
                          <a:gd name="T15" fmla="*/ 9 h 76"/>
                          <a:gd name="T16" fmla="*/ 5 w 85"/>
                          <a:gd name="T17" fmla="*/ 9 h 76"/>
                          <a:gd name="T18" fmla="*/ 8 w 85"/>
                          <a:gd name="T19" fmla="*/ 9 h 76"/>
                          <a:gd name="T20" fmla="*/ 5 w 85"/>
                          <a:gd name="T21" fmla="*/ 9 h 76"/>
                          <a:gd name="T22" fmla="*/ 8 w 85"/>
                          <a:gd name="T23" fmla="*/ 9 h 76"/>
                          <a:gd name="T24" fmla="*/ 8 w 85"/>
                          <a:gd name="T25" fmla="*/ 9 h 76"/>
                          <a:gd name="T26" fmla="*/ 8 w 85"/>
                          <a:gd name="T27" fmla="*/ 9 h 76"/>
                          <a:gd name="T28" fmla="*/ 8 w 85"/>
                          <a:gd name="T29" fmla="*/ 9 h 76"/>
                          <a:gd name="T30" fmla="*/ 8 w 85"/>
                          <a:gd name="T31" fmla="*/ 9 h 76"/>
                          <a:gd name="T32" fmla="*/ 8 w 85"/>
                          <a:gd name="T33" fmla="*/ 9 h 76"/>
                          <a:gd name="T34" fmla="*/ 8 w 85"/>
                          <a:gd name="T35" fmla="*/ 9 h 76"/>
                          <a:gd name="T36" fmla="*/ 8 w 85"/>
                          <a:gd name="T37" fmla="*/ 9 h 76"/>
                          <a:gd name="T38" fmla="*/ 8 w 85"/>
                          <a:gd name="T39" fmla="*/ 9 h 76"/>
                          <a:gd name="T40" fmla="*/ 8 w 85"/>
                          <a:gd name="T41" fmla="*/ 9 h 76"/>
                          <a:gd name="T42" fmla="*/ 8 w 85"/>
                          <a:gd name="T43" fmla="*/ 11 h 76"/>
                          <a:gd name="T44" fmla="*/ 8 w 85"/>
                          <a:gd name="T45" fmla="*/ 11 h 76"/>
                          <a:gd name="T46" fmla="*/ 8 w 85"/>
                          <a:gd name="T47" fmla="*/ 12 h 76"/>
                          <a:gd name="T48" fmla="*/ 8 w 85"/>
                          <a:gd name="T49" fmla="*/ 9 h 76"/>
                          <a:gd name="T50" fmla="*/ 8 w 85"/>
                          <a:gd name="T51" fmla="*/ 9 h 76"/>
                          <a:gd name="T52" fmla="*/ 8 w 85"/>
                          <a:gd name="T53" fmla="*/ 14 h 76"/>
                          <a:gd name="T54" fmla="*/ 11 w 85"/>
                          <a:gd name="T55" fmla="*/ 16 h 76"/>
                          <a:gd name="T56" fmla="*/ 11 w 85"/>
                          <a:gd name="T57" fmla="*/ 12 h 76"/>
                          <a:gd name="T58" fmla="*/ 10 w 85"/>
                          <a:gd name="T59" fmla="*/ 9 h 76"/>
                          <a:gd name="T60" fmla="*/ 11 w 85"/>
                          <a:gd name="T61" fmla="*/ 9 h 76"/>
                          <a:gd name="T62" fmla="*/ 12 w 85"/>
                          <a:gd name="T63" fmla="*/ 11 h 76"/>
                          <a:gd name="T64" fmla="*/ 13 w 85"/>
                          <a:gd name="T65" fmla="*/ 9 h 76"/>
                          <a:gd name="T66" fmla="*/ 15 w 85"/>
                          <a:gd name="T67" fmla="*/ 9 h 76"/>
                          <a:gd name="T68" fmla="*/ 14 w 85"/>
                          <a:gd name="T69" fmla="*/ 9 h 76"/>
                          <a:gd name="T70" fmla="*/ 13 w 85"/>
                          <a:gd name="T71" fmla="*/ 9 h 76"/>
                          <a:gd name="T72" fmla="*/ 11 w 85"/>
                          <a:gd name="T73" fmla="*/ 9 h 76"/>
                          <a:gd name="T74" fmla="*/ 10 w 85"/>
                          <a:gd name="T75" fmla="*/ 9 h 76"/>
                          <a:gd name="T76" fmla="*/ 8 w 85"/>
                          <a:gd name="T77" fmla="*/ 9 h 76"/>
                          <a:gd name="T78" fmla="*/ 8 w 85"/>
                          <a:gd name="T79" fmla="*/ 9 h 76"/>
                          <a:gd name="T80" fmla="*/ 8 w 85"/>
                          <a:gd name="T81" fmla="*/ 9 h 76"/>
                          <a:gd name="T82" fmla="*/ 8 w 85"/>
                          <a:gd name="T83" fmla="*/ 9 h 76"/>
                          <a:gd name="T84" fmla="*/ 8 w 85"/>
                          <a:gd name="T85" fmla="*/ 5 h 76"/>
                          <a:gd name="T86" fmla="*/ 8 w 85"/>
                          <a:gd name="T87" fmla="*/ 5 h 76"/>
                          <a:gd name="T88" fmla="*/ 8 w 85"/>
                          <a:gd name="T89" fmla="*/ 0 h 76"/>
                          <a:gd name="T90" fmla="*/ 8 w 85"/>
                          <a:gd name="T91" fmla="*/ 9 h 76"/>
                          <a:gd name="T92" fmla="*/ 8 w 85"/>
                          <a:gd name="T93" fmla="*/ 9 h 76"/>
                          <a:gd name="T94" fmla="*/ 8 w 85"/>
                          <a:gd name="T95" fmla="*/ 9 h 76"/>
                          <a:gd name="T96" fmla="*/ 8 w 85"/>
                          <a:gd name="T97" fmla="*/ 9 h 76"/>
                          <a:gd name="T98" fmla="*/ 8 w 85"/>
                          <a:gd name="T99" fmla="*/ 9 h 76"/>
                          <a:gd name="T100" fmla="*/ 8 w 85"/>
                          <a:gd name="T101" fmla="*/ 9 h 76"/>
                          <a:gd name="T102" fmla="*/ 8 w 85"/>
                          <a:gd name="T103" fmla="*/ 9 h 76"/>
                          <a:gd name="T104" fmla="*/ 5 w 85"/>
                          <a:gd name="T105" fmla="*/ 9 h 7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w 85"/>
                          <a:gd name="T160" fmla="*/ 0 h 76"/>
                          <a:gd name="T161" fmla="*/ 85 w 85"/>
                          <a:gd name="T162" fmla="*/ 76 h 76"/>
                        </a:gdLst>
                        <a:ahLst/>
                        <a:cxnLst>
                          <a:cxn ang="T106">
                            <a:pos x="T0" y="T1"/>
                          </a:cxn>
                          <a:cxn ang="T107">
                            <a:pos x="T2" y="T3"/>
                          </a:cxn>
                          <a:cxn ang="T108">
                            <a:pos x="T4" y="T5"/>
                          </a:cxn>
                          <a:cxn ang="T109">
                            <a:pos x="T6" y="T7"/>
                          </a:cxn>
                          <a:cxn ang="T110">
                            <a:pos x="T8" y="T9"/>
                          </a:cxn>
                          <a:cxn ang="T111">
                            <a:pos x="T10" y="T11"/>
                          </a:cxn>
                          <a:cxn ang="T112">
                            <a:pos x="T12" y="T13"/>
                          </a:cxn>
                          <a:cxn ang="T113">
                            <a:pos x="T14" y="T15"/>
                          </a:cxn>
                          <a:cxn ang="T114">
                            <a:pos x="T16" y="T17"/>
                          </a:cxn>
                          <a:cxn ang="T115">
                            <a:pos x="T18" y="T19"/>
                          </a:cxn>
                          <a:cxn ang="T116">
                            <a:pos x="T20" y="T21"/>
                          </a:cxn>
                          <a:cxn ang="T117">
                            <a:pos x="T22" y="T23"/>
                          </a:cxn>
                          <a:cxn ang="T118">
                            <a:pos x="T24" y="T25"/>
                          </a:cxn>
                          <a:cxn ang="T119">
                            <a:pos x="T26" y="T27"/>
                          </a:cxn>
                          <a:cxn ang="T120">
                            <a:pos x="T28" y="T29"/>
                          </a:cxn>
                          <a:cxn ang="T121">
                            <a:pos x="T30" y="T31"/>
                          </a:cxn>
                          <a:cxn ang="T122">
                            <a:pos x="T32" y="T33"/>
                          </a:cxn>
                          <a:cxn ang="T123">
                            <a:pos x="T34" y="T35"/>
                          </a:cxn>
                          <a:cxn ang="T124">
                            <a:pos x="T36" y="T37"/>
                          </a:cxn>
                          <a:cxn ang="T125">
                            <a:pos x="T38" y="T39"/>
                          </a:cxn>
                          <a:cxn ang="T126">
                            <a:pos x="T40" y="T41"/>
                          </a:cxn>
                          <a:cxn ang="T127">
                            <a:pos x="T42" y="T43"/>
                          </a:cxn>
                          <a:cxn ang="T128">
                            <a:pos x="T44" y="T45"/>
                          </a:cxn>
                          <a:cxn ang="T129">
                            <a:pos x="T46" y="T47"/>
                          </a:cxn>
                          <a:cxn ang="T130">
                            <a:pos x="T48" y="T49"/>
                          </a:cxn>
                          <a:cxn ang="T131">
                            <a:pos x="T50" y="T51"/>
                          </a:cxn>
                          <a:cxn ang="T132">
                            <a:pos x="T52" y="T53"/>
                          </a:cxn>
                          <a:cxn ang="T133">
                            <a:pos x="T54" y="T55"/>
                          </a:cxn>
                          <a:cxn ang="T134">
                            <a:pos x="T56" y="T57"/>
                          </a:cxn>
                          <a:cxn ang="T135">
                            <a:pos x="T58" y="T59"/>
                          </a:cxn>
                          <a:cxn ang="T136">
                            <a:pos x="T60" y="T61"/>
                          </a:cxn>
                          <a:cxn ang="T137">
                            <a:pos x="T62" y="T63"/>
                          </a:cxn>
                          <a:cxn ang="T138">
                            <a:pos x="T64" y="T65"/>
                          </a:cxn>
                          <a:cxn ang="T139">
                            <a:pos x="T66" y="T67"/>
                          </a:cxn>
                          <a:cxn ang="T140">
                            <a:pos x="T68" y="T69"/>
                          </a:cxn>
                          <a:cxn ang="T141">
                            <a:pos x="T70" y="T71"/>
                          </a:cxn>
                          <a:cxn ang="T142">
                            <a:pos x="T72" y="T73"/>
                          </a:cxn>
                          <a:cxn ang="T143">
                            <a:pos x="T74" y="T75"/>
                          </a:cxn>
                          <a:cxn ang="T144">
                            <a:pos x="T76" y="T77"/>
                          </a:cxn>
                          <a:cxn ang="T145">
                            <a:pos x="T78" y="T79"/>
                          </a:cxn>
                          <a:cxn ang="T146">
                            <a:pos x="T80" y="T81"/>
                          </a:cxn>
                          <a:cxn ang="T147">
                            <a:pos x="T82" y="T83"/>
                          </a:cxn>
                          <a:cxn ang="T148">
                            <a:pos x="T84" y="T85"/>
                          </a:cxn>
                          <a:cxn ang="T149">
                            <a:pos x="T86" y="T87"/>
                          </a:cxn>
                          <a:cxn ang="T150">
                            <a:pos x="T88" y="T89"/>
                          </a:cxn>
                          <a:cxn ang="T151">
                            <a:pos x="T90" y="T91"/>
                          </a:cxn>
                          <a:cxn ang="T152">
                            <a:pos x="T92" y="T93"/>
                          </a:cxn>
                          <a:cxn ang="T153">
                            <a:pos x="T94" y="T95"/>
                          </a:cxn>
                          <a:cxn ang="T154">
                            <a:pos x="T96" y="T97"/>
                          </a:cxn>
                          <a:cxn ang="T155">
                            <a:pos x="T98" y="T99"/>
                          </a:cxn>
                          <a:cxn ang="T156">
                            <a:pos x="T100" y="T101"/>
                          </a:cxn>
                          <a:cxn ang="T157">
                            <a:pos x="T102" y="T103"/>
                          </a:cxn>
                          <a:cxn ang="T158">
                            <a:pos x="T104" y="T105"/>
                          </a:cxn>
                        </a:cxnLst>
                        <a:rect l="T159" t="T160" r="T161" b="T162"/>
                        <a:pathLst>
                          <a:path w="85" h="76">
                            <a:moveTo>
                              <a:pt x="0" y="50"/>
                            </a:moveTo>
                            <a:lnTo>
                              <a:pt x="18" y="63"/>
                            </a:lnTo>
                            <a:lnTo>
                              <a:pt x="23" y="68"/>
                            </a:lnTo>
                            <a:lnTo>
                              <a:pt x="23" y="54"/>
                            </a:lnTo>
                            <a:lnTo>
                              <a:pt x="18" y="54"/>
                            </a:lnTo>
                            <a:lnTo>
                              <a:pt x="14" y="54"/>
                            </a:lnTo>
                            <a:lnTo>
                              <a:pt x="5" y="50"/>
                            </a:lnTo>
                            <a:lnTo>
                              <a:pt x="0" y="50"/>
                            </a:lnTo>
                            <a:close/>
                            <a:moveTo>
                              <a:pt x="5" y="23"/>
                            </a:moveTo>
                            <a:lnTo>
                              <a:pt x="9" y="23"/>
                            </a:lnTo>
                            <a:lnTo>
                              <a:pt x="5" y="23"/>
                            </a:lnTo>
                            <a:lnTo>
                              <a:pt x="9" y="27"/>
                            </a:lnTo>
                            <a:lnTo>
                              <a:pt x="14" y="23"/>
                            </a:lnTo>
                            <a:lnTo>
                              <a:pt x="14" y="27"/>
                            </a:lnTo>
                            <a:lnTo>
                              <a:pt x="14" y="32"/>
                            </a:lnTo>
                            <a:lnTo>
                              <a:pt x="9" y="32"/>
                            </a:lnTo>
                            <a:lnTo>
                              <a:pt x="23" y="41"/>
                            </a:lnTo>
                            <a:lnTo>
                              <a:pt x="18" y="45"/>
                            </a:lnTo>
                            <a:lnTo>
                              <a:pt x="27" y="50"/>
                            </a:lnTo>
                            <a:lnTo>
                              <a:pt x="27" y="54"/>
                            </a:lnTo>
                            <a:lnTo>
                              <a:pt x="32" y="54"/>
                            </a:lnTo>
                            <a:lnTo>
                              <a:pt x="32" y="59"/>
                            </a:lnTo>
                            <a:lnTo>
                              <a:pt x="27" y="59"/>
                            </a:lnTo>
                            <a:lnTo>
                              <a:pt x="27" y="63"/>
                            </a:lnTo>
                            <a:lnTo>
                              <a:pt x="49" y="50"/>
                            </a:lnTo>
                            <a:lnTo>
                              <a:pt x="54" y="54"/>
                            </a:lnTo>
                            <a:lnTo>
                              <a:pt x="54" y="68"/>
                            </a:lnTo>
                            <a:lnTo>
                              <a:pt x="67" y="76"/>
                            </a:lnTo>
                            <a:lnTo>
                              <a:pt x="67" y="63"/>
                            </a:lnTo>
                            <a:lnTo>
                              <a:pt x="63" y="54"/>
                            </a:lnTo>
                            <a:lnTo>
                              <a:pt x="67" y="54"/>
                            </a:lnTo>
                            <a:lnTo>
                              <a:pt x="72" y="59"/>
                            </a:lnTo>
                            <a:lnTo>
                              <a:pt x="76" y="41"/>
                            </a:lnTo>
                            <a:lnTo>
                              <a:pt x="85" y="36"/>
                            </a:lnTo>
                            <a:lnTo>
                              <a:pt x="81" y="27"/>
                            </a:lnTo>
                            <a:lnTo>
                              <a:pt x="76" y="32"/>
                            </a:lnTo>
                            <a:lnTo>
                              <a:pt x="67" y="23"/>
                            </a:lnTo>
                            <a:lnTo>
                              <a:pt x="63" y="9"/>
                            </a:lnTo>
                            <a:lnTo>
                              <a:pt x="54" y="14"/>
                            </a:lnTo>
                            <a:lnTo>
                              <a:pt x="49" y="18"/>
                            </a:lnTo>
                            <a:lnTo>
                              <a:pt x="45" y="18"/>
                            </a:lnTo>
                            <a:lnTo>
                              <a:pt x="36" y="5"/>
                            </a:lnTo>
                            <a:lnTo>
                              <a:pt x="32" y="5"/>
                            </a:lnTo>
                            <a:lnTo>
                              <a:pt x="27" y="0"/>
                            </a:lnTo>
                            <a:lnTo>
                              <a:pt x="23" y="9"/>
                            </a:lnTo>
                            <a:lnTo>
                              <a:pt x="27" y="14"/>
                            </a:lnTo>
                            <a:lnTo>
                              <a:pt x="36" y="18"/>
                            </a:lnTo>
                            <a:lnTo>
                              <a:pt x="32" y="23"/>
                            </a:lnTo>
                            <a:lnTo>
                              <a:pt x="27" y="18"/>
                            </a:lnTo>
                            <a:lnTo>
                              <a:pt x="18" y="23"/>
                            </a:lnTo>
                            <a:lnTo>
                              <a:pt x="9" y="18"/>
                            </a:lnTo>
                            <a:lnTo>
                              <a:pt x="5" y="23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09" name="Freeform 119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458" y="2255"/>
                        <a:ext cx="9" cy="8"/>
                      </a:xfrm>
                      <a:custGeom>
                        <a:avLst/>
                        <a:gdLst>
                          <a:gd name="T0" fmla="*/ 4 w 9"/>
                          <a:gd name="T1" fmla="*/ 0 h 8"/>
                          <a:gd name="T2" fmla="*/ 0 w 9"/>
                          <a:gd name="T3" fmla="*/ 8 h 8"/>
                          <a:gd name="T4" fmla="*/ 4 w 9"/>
                          <a:gd name="T5" fmla="*/ 8 h 8"/>
                          <a:gd name="T6" fmla="*/ 9 w 9"/>
                          <a:gd name="T7" fmla="*/ 0 h 8"/>
                          <a:gd name="T8" fmla="*/ 4 w 9"/>
                          <a:gd name="T9" fmla="*/ 0 h 8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9"/>
                          <a:gd name="T16" fmla="*/ 0 h 8"/>
                          <a:gd name="T17" fmla="*/ 9 w 9"/>
                          <a:gd name="T18" fmla="*/ 8 h 8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9" h="8">
                            <a:moveTo>
                              <a:pt x="4" y="0"/>
                            </a:moveTo>
                            <a:lnTo>
                              <a:pt x="0" y="8"/>
                            </a:lnTo>
                            <a:lnTo>
                              <a:pt x="4" y="8"/>
                            </a:lnTo>
                            <a:lnTo>
                              <a:pt x="9" y="0"/>
                            </a:lnTo>
                            <a:lnTo>
                              <a:pt x="4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0" name="Freeform 120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968" y="2255"/>
                        <a:ext cx="68" cy="88"/>
                      </a:xfrm>
                      <a:custGeom>
                        <a:avLst/>
                        <a:gdLst>
                          <a:gd name="T0" fmla="*/ 9 w 72"/>
                          <a:gd name="T1" fmla="*/ 15 h 93"/>
                          <a:gd name="T2" fmla="*/ 9 w 72"/>
                          <a:gd name="T3" fmla="*/ 14 h 93"/>
                          <a:gd name="T4" fmla="*/ 9 w 72"/>
                          <a:gd name="T5" fmla="*/ 15 h 93"/>
                          <a:gd name="T6" fmla="*/ 9 w 72"/>
                          <a:gd name="T7" fmla="*/ 14 h 93"/>
                          <a:gd name="T8" fmla="*/ 9 w 72"/>
                          <a:gd name="T9" fmla="*/ 13 h 93"/>
                          <a:gd name="T10" fmla="*/ 9 w 72"/>
                          <a:gd name="T11" fmla="*/ 14 h 93"/>
                          <a:gd name="T12" fmla="*/ 9 w 72"/>
                          <a:gd name="T13" fmla="*/ 13 h 93"/>
                          <a:gd name="T14" fmla="*/ 9 w 72"/>
                          <a:gd name="T15" fmla="*/ 13 h 93"/>
                          <a:gd name="T16" fmla="*/ 9 w 72"/>
                          <a:gd name="T17" fmla="*/ 16 h 93"/>
                          <a:gd name="T18" fmla="*/ 9 w 72"/>
                          <a:gd name="T19" fmla="*/ 18 h 93"/>
                          <a:gd name="T20" fmla="*/ 11 w 72"/>
                          <a:gd name="T21" fmla="*/ 19 h 93"/>
                          <a:gd name="T22" fmla="*/ 13 w 72"/>
                          <a:gd name="T23" fmla="*/ 18 h 93"/>
                          <a:gd name="T24" fmla="*/ 12 w 72"/>
                          <a:gd name="T25" fmla="*/ 16 h 93"/>
                          <a:gd name="T26" fmla="*/ 12 w 72"/>
                          <a:gd name="T27" fmla="*/ 14 h 93"/>
                          <a:gd name="T28" fmla="*/ 11 w 72"/>
                          <a:gd name="T29" fmla="*/ 9 h 93"/>
                          <a:gd name="T30" fmla="*/ 9 w 72"/>
                          <a:gd name="T31" fmla="*/ 9 h 93"/>
                          <a:gd name="T32" fmla="*/ 9 w 72"/>
                          <a:gd name="T33" fmla="*/ 9 h 93"/>
                          <a:gd name="T34" fmla="*/ 9 w 72"/>
                          <a:gd name="T35" fmla="*/ 9 h 93"/>
                          <a:gd name="T36" fmla="*/ 9 w 72"/>
                          <a:gd name="T37" fmla="*/ 9 h 93"/>
                          <a:gd name="T38" fmla="*/ 12 w 72"/>
                          <a:gd name="T39" fmla="*/ 9 h 93"/>
                          <a:gd name="T40" fmla="*/ 12 w 72"/>
                          <a:gd name="T41" fmla="*/ 9 h 93"/>
                          <a:gd name="T42" fmla="*/ 9 w 72"/>
                          <a:gd name="T43" fmla="*/ 9 h 93"/>
                          <a:gd name="T44" fmla="*/ 9 w 72"/>
                          <a:gd name="T45" fmla="*/ 9 h 93"/>
                          <a:gd name="T46" fmla="*/ 9 w 72"/>
                          <a:gd name="T47" fmla="*/ 0 h 93"/>
                          <a:gd name="T48" fmla="*/ 5 w 72"/>
                          <a:gd name="T49" fmla="*/ 4 h 93"/>
                          <a:gd name="T50" fmla="*/ 0 w 72"/>
                          <a:gd name="T51" fmla="*/ 9 h 93"/>
                          <a:gd name="T52" fmla="*/ 9 w 72"/>
                          <a:gd name="T53" fmla="*/ 9 h 93"/>
                          <a:gd name="T54" fmla="*/ 9 w 72"/>
                          <a:gd name="T55" fmla="*/ 9 h 93"/>
                          <a:gd name="T56" fmla="*/ 5 w 72"/>
                          <a:gd name="T57" fmla="*/ 9 h 93"/>
                          <a:gd name="T58" fmla="*/ 9 w 72"/>
                          <a:gd name="T59" fmla="*/ 9 h 93"/>
                          <a:gd name="T60" fmla="*/ 9 w 72"/>
                          <a:gd name="T61" fmla="*/ 9 h 93"/>
                          <a:gd name="T62" fmla="*/ 9 w 72"/>
                          <a:gd name="T63" fmla="*/ 15 h 93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w 72"/>
                          <a:gd name="T97" fmla="*/ 0 h 93"/>
                          <a:gd name="T98" fmla="*/ 72 w 72"/>
                          <a:gd name="T99" fmla="*/ 93 h 93"/>
                        </a:gdLst>
                        <a:ahLst/>
                        <a:cxnLst>
                          <a:cxn ang="T64">
                            <a:pos x="T0" y="T1"/>
                          </a:cxn>
                          <a:cxn ang="T65">
                            <a:pos x="T2" y="T3"/>
                          </a:cxn>
                          <a:cxn ang="T66">
                            <a:pos x="T4" y="T5"/>
                          </a:cxn>
                          <a:cxn ang="T67">
                            <a:pos x="T6" y="T7"/>
                          </a:cxn>
                          <a:cxn ang="T68">
                            <a:pos x="T8" y="T9"/>
                          </a:cxn>
                          <a:cxn ang="T69">
                            <a:pos x="T10" y="T11"/>
                          </a:cxn>
                          <a:cxn ang="T70">
                            <a:pos x="T12" y="T13"/>
                          </a:cxn>
                          <a:cxn ang="T71">
                            <a:pos x="T14" y="T15"/>
                          </a:cxn>
                          <a:cxn ang="T72">
                            <a:pos x="T16" y="T17"/>
                          </a:cxn>
                          <a:cxn ang="T73">
                            <a:pos x="T18" y="T19"/>
                          </a:cxn>
                          <a:cxn ang="T74">
                            <a:pos x="T20" y="T21"/>
                          </a:cxn>
                          <a:cxn ang="T75">
                            <a:pos x="T22" y="T23"/>
                          </a:cxn>
                          <a:cxn ang="T76">
                            <a:pos x="T24" y="T25"/>
                          </a:cxn>
                          <a:cxn ang="T77">
                            <a:pos x="T26" y="T27"/>
                          </a:cxn>
                          <a:cxn ang="T78">
                            <a:pos x="T28" y="T29"/>
                          </a:cxn>
                          <a:cxn ang="T79">
                            <a:pos x="T30" y="T31"/>
                          </a:cxn>
                          <a:cxn ang="T80">
                            <a:pos x="T32" y="T33"/>
                          </a:cxn>
                          <a:cxn ang="T81">
                            <a:pos x="T34" y="T35"/>
                          </a:cxn>
                          <a:cxn ang="T82">
                            <a:pos x="T36" y="T37"/>
                          </a:cxn>
                          <a:cxn ang="T83">
                            <a:pos x="T38" y="T39"/>
                          </a:cxn>
                          <a:cxn ang="T84">
                            <a:pos x="T40" y="T41"/>
                          </a:cxn>
                          <a:cxn ang="T85">
                            <a:pos x="T42" y="T43"/>
                          </a:cxn>
                          <a:cxn ang="T86">
                            <a:pos x="T44" y="T45"/>
                          </a:cxn>
                          <a:cxn ang="T87">
                            <a:pos x="T46" y="T47"/>
                          </a:cxn>
                          <a:cxn ang="T88">
                            <a:pos x="T48" y="T49"/>
                          </a:cxn>
                          <a:cxn ang="T89">
                            <a:pos x="T50" y="T51"/>
                          </a:cxn>
                          <a:cxn ang="T90">
                            <a:pos x="T52" y="T53"/>
                          </a:cxn>
                          <a:cxn ang="T91">
                            <a:pos x="T54" y="T55"/>
                          </a:cxn>
                          <a:cxn ang="T92">
                            <a:pos x="T56" y="T57"/>
                          </a:cxn>
                          <a:cxn ang="T93">
                            <a:pos x="T58" y="T59"/>
                          </a:cxn>
                          <a:cxn ang="T94">
                            <a:pos x="T60" y="T61"/>
                          </a:cxn>
                          <a:cxn ang="T95">
                            <a:pos x="T62" y="T63"/>
                          </a:cxn>
                        </a:cxnLst>
                        <a:rect l="T96" t="T97" r="T98" b="T99"/>
                        <a:pathLst>
                          <a:path w="72" h="93">
                            <a:moveTo>
                              <a:pt x="23" y="76"/>
                            </a:moveTo>
                            <a:lnTo>
                              <a:pt x="27" y="71"/>
                            </a:lnTo>
                            <a:lnTo>
                              <a:pt x="31" y="76"/>
                            </a:lnTo>
                            <a:lnTo>
                              <a:pt x="36" y="71"/>
                            </a:lnTo>
                            <a:lnTo>
                              <a:pt x="40" y="67"/>
                            </a:lnTo>
                            <a:lnTo>
                              <a:pt x="45" y="71"/>
                            </a:lnTo>
                            <a:lnTo>
                              <a:pt x="45" y="67"/>
                            </a:lnTo>
                            <a:lnTo>
                              <a:pt x="49" y="67"/>
                            </a:lnTo>
                            <a:lnTo>
                              <a:pt x="54" y="80"/>
                            </a:lnTo>
                            <a:lnTo>
                              <a:pt x="58" y="89"/>
                            </a:lnTo>
                            <a:lnTo>
                              <a:pt x="63" y="93"/>
                            </a:lnTo>
                            <a:lnTo>
                              <a:pt x="72" y="89"/>
                            </a:lnTo>
                            <a:lnTo>
                              <a:pt x="67" y="80"/>
                            </a:lnTo>
                            <a:lnTo>
                              <a:pt x="67" y="71"/>
                            </a:lnTo>
                            <a:lnTo>
                              <a:pt x="63" y="44"/>
                            </a:lnTo>
                            <a:lnTo>
                              <a:pt x="58" y="44"/>
                            </a:lnTo>
                            <a:lnTo>
                              <a:pt x="58" y="53"/>
                            </a:lnTo>
                            <a:lnTo>
                              <a:pt x="49" y="53"/>
                            </a:lnTo>
                            <a:lnTo>
                              <a:pt x="54" y="44"/>
                            </a:lnTo>
                            <a:lnTo>
                              <a:pt x="67" y="35"/>
                            </a:lnTo>
                            <a:lnTo>
                              <a:pt x="67" y="22"/>
                            </a:lnTo>
                            <a:lnTo>
                              <a:pt x="31" y="17"/>
                            </a:lnTo>
                            <a:lnTo>
                              <a:pt x="27" y="13"/>
                            </a:lnTo>
                            <a:lnTo>
                              <a:pt x="9" y="0"/>
                            </a:lnTo>
                            <a:lnTo>
                              <a:pt x="5" y="4"/>
                            </a:lnTo>
                            <a:lnTo>
                              <a:pt x="0" y="17"/>
                            </a:lnTo>
                            <a:lnTo>
                              <a:pt x="14" y="22"/>
                            </a:lnTo>
                            <a:lnTo>
                              <a:pt x="9" y="26"/>
                            </a:lnTo>
                            <a:lnTo>
                              <a:pt x="5" y="31"/>
                            </a:lnTo>
                            <a:lnTo>
                              <a:pt x="9" y="35"/>
                            </a:lnTo>
                            <a:lnTo>
                              <a:pt x="9" y="44"/>
                            </a:lnTo>
                            <a:lnTo>
                              <a:pt x="23" y="76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1" name="Freeform 121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365" y="2010"/>
                        <a:ext cx="47" cy="47"/>
                      </a:xfrm>
                      <a:custGeom>
                        <a:avLst/>
                        <a:gdLst>
                          <a:gd name="T0" fmla="*/ 0 w 50"/>
                          <a:gd name="T1" fmla="*/ 0 h 50"/>
                          <a:gd name="T2" fmla="*/ 5 w 50"/>
                          <a:gd name="T3" fmla="*/ 8 h 50"/>
                          <a:gd name="T4" fmla="*/ 8 w 50"/>
                          <a:gd name="T5" fmla="*/ 8 h 50"/>
                          <a:gd name="T6" fmla="*/ 8 w 50"/>
                          <a:gd name="T7" fmla="*/ 8 h 50"/>
                          <a:gd name="T8" fmla="*/ 8 w 50"/>
                          <a:gd name="T9" fmla="*/ 8 h 50"/>
                          <a:gd name="T10" fmla="*/ 8 w 50"/>
                          <a:gd name="T11" fmla="*/ 8 h 50"/>
                          <a:gd name="T12" fmla="*/ 8 w 50"/>
                          <a:gd name="T13" fmla="*/ 8 h 50"/>
                          <a:gd name="T14" fmla="*/ 8 w 50"/>
                          <a:gd name="T15" fmla="*/ 8 h 50"/>
                          <a:gd name="T16" fmla="*/ 8 w 50"/>
                          <a:gd name="T17" fmla="*/ 8 h 50"/>
                          <a:gd name="T18" fmla="*/ 8 w 50"/>
                          <a:gd name="T19" fmla="*/ 8 h 50"/>
                          <a:gd name="T20" fmla="*/ 8 w 50"/>
                          <a:gd name="T21" fmla="*/ 8 h 50"/>
                          <a:gd name="T22" fmla="*/ 8 w 50"/>
                          <a:gd name="T23" fmla="*/ 8 h 50"/>
                          <a:gd name="T24" fmla="*/ 8 w 50"/>
                          <a:gd name="T25" fmla="*/ 8 h 50"/>
                          <a:gd name="T26" fmla="*/ 8 w 50"/>
                          <a:gd name="T27" fmla="*/ 8 h 50"/>
                          <a:gd name="T28" fmla="*/ 8 w 50"/>
                          <a:gd name="T29" fmla="*/ 8 h 50"/>
                          <a:gd name="T30" fmla="*/ 8 w 50"/>
                          <a:gd name="T31" fmla="*/ 8 h 50"/>
                          <a:gd name="T32" fmla="*/ 8 w 50"/>
                          <a:gd name="T33" fmla="*/ 8 h 50"/>
                          <a:gd name="T34" fmla="*/ 8 w 50"/>
                          <a:gd name="T35" fmla="*/ 8 h 50"/>
                          <a:gd name="T36" fmla="*/ 8 w 50"/>
                          <a:gd name="T37" fmla="*/ 8 h 50"/>
                          <a:gd name="T38" fmla="*/ 8 w 50"/>
                          <a:gd name="T39" fmla="*/ 8 h 50"/>
                          <a:gd name="T40" fmla="*/ 8 w 50"/>
                          <a:gd name="T41" fmla="*/ 8 h 50"/>
                          <a:gd name="T42" fmla="*/ 8 w 50"/>
                          <a:gd name="T43" fmla="*/ 5 h 50"/>
                          <a:gd name="T44" fmla="*/ 8 w 50"/>
                          <a:gd name="T45" fmla="*/ 8 h 50"/>
                          <a:gd name="T46" fmla="*/ 8 w 50"/>
                          <a:gd name="T47" fmla="*/ 5 h 50"/>
                          <a:gd name="T48" fmla="*/ 8 w 50"/>
                          <a:gd name="T49" fmla="*/ 5 h 50"/>
                          <a:gd name="T50" fmla="*/ 8 w 50"/>
                          <a:gd name="T51" fmla="*/ 5 h 50"/>
                          <a:gd name="T52" fmla="*/ 8 w 50"/>
                          <a:gd name="T53" fmla="*/ 0 h 50"/>
                          <a:gd name="T54" fmla="*/ 8 w 50"/>
                          <a:gd name="T55" fmla="*/ 5 h 50"/>
                          <a:gd name="T56" fmla="*/ 0 w 50"/>
                          <a:gd name="T57" fmla="*/ 0 h 50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w 50"/>
                          <a:gd name="T88" fmla="*/ 0 h 50"/>
                          <a:gd name="T89" fmla="*/ 50 w 50"/>
                          <a:gd name="T90" fmla="*/ 50 h 50"/>
                        </a:gdLst>
                        <a:ahLst/>
                        <a:cxnLst>
                          <a:cxn ang="T58">
                            <a:pos x="T0" y="T1"/>
                          </a:cxn>
                          <a:cxn ang="T59">
                            <a:pos x="T2" y="T3"/>
                          </a:cxn>
                          <a:cxn ang="T60">
                            <a:pos x="T4" y="T5"/>
                          </a:cxn>
                          <a:cxn ang="T61">
                            <a:pos x="T6" y="T7"/>
                          </a:cxn>
                          <a:cxn ang="T62">
                            <a:pos x="T8" y="T9"/>
                          </a:cxn>
                          <a:cxn ang="T63">
                            <a:pos x="T10" y="T11"/>
                          </a:cxn>
                          <a:cxn ang="T64">
                            <a:pos x="T12" y="T13"/>
                          </a:cxn>
                          <a:cxn ang="T65">
                            <a:pos x="T14" y="T15"/>
                          </a:cxn>
                          <a:cxn ang="T66">
                            <a:pos x="T16" y="T17"/>
                          </a:cxn>
                          <a:cxn ang="T67">
                            <a:pos x="T18" y="T19"/>
                          </a:cxn>
                          <a:cxn ang="T68">
                            <a:pos x="T20" y="T21"/>
                          </a:cxn>
                          <a:cxn ang="T69">
                            <a:pos x="T22" y="T23"/>
                          </a:cxn>
                          <a:cxn ang="T70">
                            <a:pos x="T24" y="T25"/>
                          </a:cxn>
                          <a:cxn ang="T71">
                            <a:pos x="T26" y="T27"/>
                          </a:cxn>
                          <a:cxn ang="T72">
                            <a:pos x="T28" y="T29"/>
                          </a:cxn>
                          <a:cxn ang="T73">
                            <a:pos x="T30" y="T31"/>
                          </a:cxn>
                          <a:cxn ang="T74">
                            <a:pos x="T32" y="T33"/>
                          </a:cxn>
                          <a:cxn ang="T75">
                            <a:pos x="T34" y="T35"/>
                          </a:cxn>
                          <a:cxn ang="T76">
                            <a:pos x="T36" y="T37"/>
                          </a:cxn>
                          <a:cxn ang="T77">
                            <a:pos x="T38" y="T39"/>
                          </a:cxn>
                          <a:cxn ang="T78">
                            <a:pos x="T40" y="T41"/>
                          </a:cxn>
                          <a:cxn ang="T79">
                            <a:pos x="T42" y="T43"/>
                          </a:cxn>
                          <a:cxn ang="T80">
                            <a:pos x="T44" y="T45"/>
                          </a:cxn>
                          <a:cxn ang="T81">
                            <a:pos x="T46" y="T47"/>
                          </a:cxn>
                          <a:cxn ang="T82">
                            <a:pos x="T48" y="T49"/>
                          </a:cxn>
                          <a:cxn ang="T83">
                            <a:pos x="T50" y="T51"/>
                          </a:cxn>
                          <a:cxn ang="T84">
                            <a:pos x="T52" y="T53"/>
                          </a:cxn>
                          <a:cxn ang="T85">
                            <a:pos x="T54" y="T55"/>
                          </a:cxn>
                          <a:cxn ang="T86">
                            <a:pos x="T56" y="T57"/>
                          </a:cxn>
                        </a:cxnLst>
                        <a:rect l="T87" t="T88" r="T89" b="T90"/>
                        <a:pathLst>
                          <a:path w="50" h="50">
                            <a:moveTo>
                              <a:pt x="0" y="0"/>
                            </a:moveTo>
                            <a:lnTo>
                              <a:pt x="5" y="18"/>
                            </a:lnTo>
                            <a:lnTo>
                              <a:pt x="14" y="23"/>
                            </a:lnTo>
                            <a:lnTo>
                              <a:pt x="18" y="32"/>
                            </a:lnTo>
                            <a:lnTo>
                              <a:pt x="23" y="32"/>
                            </a:lnTo>
                            <a:lnTo>
                              <a:pt x="32" y="36"/>
                            </a:lnTo>
                            <a:lnTo>
                              <a:pt x="36" y="36"/>
                            </a:lnTo>
                            <a:lnTo>
                              <a:pt x="41" y="36"/>
                            </a:lnTo>
                            <a:lnTo>
                              <a:pt x="41" y="50"/>
                            </a:lnTo>
                            <a:lnTo>
                              <a:pt x="45" y="50"/>
                            </a:lnTo>
                            <a:lnTo>
                              <a:pt x="45" y="45"/>
                            </a:lnTo>
                            <a:lnTo>
                              <a:pt x="45" y="41"/>
                            </a:lnTo>
                            <a:lnTo>
                              <a:pt x="50" y="41"/>
                            </a:lnTo>
                            <a:lnTo>
                              <a:pt x="50" y="36"/>
                            </a:lnTo>
                            <a:lnTo>
                              <a:pt x="45" y="36"/>
                            </a:lnTo>
                            <a:lnTo>
                              <a:pt x="45" y="32"/>
                            </a:lnTo>
                            <a:lnTo>
                              <a:pt x="36" y="27"/>
                            </a:lnTo>
                            <a:lnTo>
                              <a:pt x="41" y="23"/>
                            </a:lnTo>
                            <a:lnTo>
                              <a:pt x="27" y="14"/>
                            </a:lnTo>
                            <a:lnTo>
                              <a:pt x="32" y="14"/>
                            </a:lnTo>
                            <a:lnTo>
                              <a:pt x="32" y="9"/>
                            </a:lnTo>
                            <a:lnTo>
                              <a:pt x="32" y="5"/>
                            </a:lnTo>
                            <a:lnTo>
                              <a:pt x="27" y="9"/>
                            </a:lnTo>
                            <a:lnTo>
                              <a:pt x="23" y="5"/>
                            </a:lnTo>
                            <a:lnTo>
                              <a:pt x="27" y="5"/>
                            </a:lnTo>
                            <a:lnTo>
                              <a:pt x="23" y="5"/>
                            </a:lnTo>
                            <a:lnTo>
                              <a:pt x="14" y="0"/>
                            </a:lnTo>
                            <a:lnTo>
                              <a:pt x="9" y="5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2" name="Freeform 122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982" y="2230"/>
                        <a:ext cx="38" cy="25"/>
                      </a:xfrm>
                      <a:custGeom>
                        <a:avLst/>
                        <a:gdLst>
                          <a:gd name="T0" fmla="*/ 0 w 40"/>
                          <a:gd name="T1" fmla="*/ 6 h 27"/>
                          <a:gd name="T2" fmla="*/ 0 w 40"/>
                          <a:gd name="T3" fmla="*/ 6 h 27"/>
                          <a:gd name="T4" fmla="*/ 4 w 40"/>
                          <a:gd name="T5" fmla="*/ 6 h 27"/>
                          <a:gd name="T6" fmla="*/ 10 w 40"/>
                          <a:gd name="T7" fmla="*/ 6 h 27"/>
                          <a:gd name="T8" fmla="*/ 10 w 40"/>
                          <a:gd name="T9" fmla="*/ 6 h 27"/>
                          <a:gd name="T10" fmla="*/ 10 w 40"/>
                          <a:gd name="T11" fmla="*/ 6 h 27"/>
                          <a:gd name="T12" fmla="*/ 10 w 40"/>
                          <a:gd name="T13" fmla="*/ 4 h 27"/>
                          <a:gd name="T14" fmla="*/ 10 w 40"/>
                          <a:gd name="T15" fmla="*/ 4 h 27"/>
                          <a:gd name="T16" fmla="*/ 10 w 40"/>
                          <a:gd name="T17" fmla="*/ 0 h 27"/>
                          <a:gd name="T18" fmla="*/ 10 w 40"/>
                          <a:gd name="T19" fmla="*/ 6 h 27"/>
                          <a:gd name="T20" fmla="*/ 0 w 40"/>
                          <a:gd name="T21" fmla="*/ 6 h 27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w 40"/>
                          <a:gd name="T34" fmla="*/ 0 h 27"/>
                          <a:gd name="T35" fmla="*/ 40 w 40"/>
                          <a:gd name="T36" fmla="*/ 27 h 27"/>
                        </a:gdLst>
                        <a:ahLst/>
                        <a:cxnLst>
                          <a:cxn ang="T22">
                            <a:pos x="T0" y="T1"/>
                          </a:cxn>
                          <a:cxn ang="T23">
                            <a:pos x="T2" y="T3"/>
                          </a:cxn>
                          <a:cxn ang="T24">
                            <a:pos x="T4" y="T5"/>
                          </a:cxn>
                          <a:cxn ang="T25">
                            <a:pos x="T6" y="T7"/>
                          </a:cxn>
                          <a:cxn ang="T26">
                            <a:pos x="T8" y="T9"/>
                          </a:cxn>
                          <a:cxn ang="T27">
                            <a:pos x="T10" y="T11"/>
                          </a:cxn>
                          <a:cxn ang="T28">
                            <a:pos x="T12" y="T13"/>
                          </a:cxn>
                          <a:cxn ang="T29">
                            <a:pos x="T14" y="T15"/>
                          </a:cxn>
                          <a:cxn ang="T30">
                            <a:pos x="T16" y="T17"/>
                          </a:cxn>
                          <a:cxn ang="T31">
                            <a:pos x="T18" y="T19"/>
                          </a:cxn>
                          <a:cxn ang="T32">
                            <a:pos x="T20" y="T21"/>
                          </a:cxn>
                        </a:cxnLst>
                        <a:rect l="T33" t="T34" r="T35" b="T36"/>
                        <a:pathLst>
                          <a:path w="40" h="27">
                            <a:moveTo>
                              <a:pt x="0" y="22"/>
                            </a:moveTo>
                            <a:lnTo>
                              <a:pt x="0" y="27"/>
                            </a:lnTo>
                            <a:lnTo>
                              <a:pt x="4" y="27"/>
                            </a:lnTo>
                            <a:lnTo>
                              <a:pt x="17" y="27"/>
                            </a:lnTo>
                            <a:lnTo>
                              <a:pt x="22" y="22"/>
                            </a:lnTo>
                            <a:lnTo>
                              <a:pt x="40" y="22"/>
                            </a:lnTo>
                            <a:lnTo>
                              <a:pt x="40" y="4"/>
                            </a:lnTo>
                            <a:lnTo>
                              <a:pt x="35" y="4"/>
                            </a:lnTo>
                            <a:lnTo>
                              <a:pt x="26" y="0"/>
                            </a:lnTo>
                            <a:lnTo>
                              <a:pt x="13" y="9"/>
                            </a:lnTo>
                            <a:lnTo>
                              <a:pt x="0" y="22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3" name="Freeform 123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4905" y="2739"/>
                        <a:ext cx="67" cy="47"/>
                      </a:xfrm>
                      <a:custGeom>
                        <a:avLst/>
                        <a:gdLst>
                          <a:gd name="T0" fmla="*/ 4 w 71"/>
                          <a:gd name="T1" fmla="*/ 5 h 50"/>
                          <a:gd name="T2" fmla="*/ 0 w 71"/>
                          <a:gd name="T3" fmla="*/ 8 h 50"/>
                          <a:gd name="T4" fmla="*/ 4 w 71"/>
                          <a:gd name="T5" fmla="*/ 8 h 50"/>
                          <a:gd name="T6" fmla="*/ 8 w 71"/>
                          <a:gd name="T7" fmla="*/ 8 h 50"/>
                          <a:gd name="T8" fmla="*/ 8 w 71"/>
                          <a:gd name="T9" fmla="*/ 8 h 50"/>
                          <a:gd name="T10" fmla="*/ 8 w 71"/>
                          <a:gd name="T11" fmla="*/ 8 h 50"/>
                          <a:gd name="T12" fmla="*/ 4 w 71"/>
                          <a:gd name="T13" fmla="*/ 5 h 50"/>
                          <a:gd name="T14" fmla="*/ 8 w 71"/>
                          <a:gd name="T15" fmla="*/ 0 h 50"/>
                          <a:gd name="T16" fmla="*/ 8 w 71"/>
                          <a:gd name="T17" fmla="*/ 0 h 50"/>
                          <a:gd name="T18" fmla="*/ 8 w 71"/>
                          <a:gd name="T19" fmla="*/ 8 h 50"/>
                          <a:gd name="T20" fmla="*/ 8 w 71"/>
                          <a:gd name="T21" fmla="*/ 8 h 50"/>
                          <a:gd name="T22" fmla="*/ 8 w 71"/>
                          <a:gd name="T23" fmla="*/ 8 h 50"/>
                          <a:gd name="T24" fmla="*/ 8 w 71"/>
                          <a:gd name="T25" fmla="*/ 8 h 50"/>
                          <a:gd name="T26" fmla="*/ 8 w 71"/>
                          <a:gd name="T27" fmla="*/ 0 h 50"/>
                          <a:gd name="T28" fmla="*/ 8 w 71"/>
                          <a:gd name="T29" fmla="*/ 8 h 50"/>
                          <a:gd name="T30" fmla="*/ 8 w 71"/>
                          <a:gd name="T31" fmla="*/ 8 h 50"/>
                          <a:gd name="T32" fmla="*/ 8 w 71"/>
                          <a:gd name="T33" fmla="*/ 8 h 50"/>
                          <a:gd name="T34" fmla="*/ 8 w 71"/>
                          <a:gd name="T35" fmla="*/ 8 h 50"/>
                          <a:gd name="T36" fmla="*/ 8 w 71"/>
                          <a:gd name="T37" fmla="*/ 8 h 50"/>
                          <a:gd name="T38" fmla="*/ 8 w 71"/>
                          <a:gd name="T39" fmla="*/ 8 h 50"/>
                          <a:gd name="T40" fmla="*/ 8 w 71"/>
                          <a:gd name="T41" fmla="*/ 8 h 50"/>
                          <a:gd name="T42" fmla="*/ 8 w 71"/>
                          <a:gd name="T43" fmla="*/ 8 h 50"/>
                          <a:gd name="T44" fmla="*/ 8 w 71"/>
                          <a:gd name="T45" fmla="*/ 8 h 50"/>
                          <a:gd name="T46" fmla="*/ 9 w 71"/>
                          <a:gd name="T47" fmla="*/ 8 h 50"/>
                          <a:gd name="T48" fmla="*/ 9 w 71"/>
                          <a:gd name="T49" fmla="*/ 8 h 50"/>
                          <a:gd name="T50" fmla="*/ 9 w 71"/>
                          <a:gd name="T51" fmla="*/ 8 h 50"/>
                          <a:gd name="T52" fmla="*/ 8 w 71"/>
                          <a:gd name="T53" fmla="*/ 8 h 50"/>
                          <a:gd name="T54" fmla="*/ 8 w 71"/>
                          <a:gd name="T55" fmla="*/ 8 h 50"/>
                          <a:gd name="T56" fmla="*/ 8 w 71"/>
                          <a:gd name="T57" fmla="*/ 8 h 50"/>
                          <a:gd name="T58" fmla="*/ 12 w 71"/>
                          <a:gd name="T59" fmla="*/ 8 h 50"/>
                          <a:gd name="T60" fmla="*/ 13 w 71"/>
                          <a:gd name="T61" fmla="*/ 8 h 50"/>
                          <a:gd name="T62" fmla="*/ 12 w 71"/>
                          <a:gd name="T63" fmla="*/ 8 h 50"/>
                          <a:gd name="T64" fmla="*/ 8 w 71"/>
                          <a:gd name="T65" fmla="*/ 8 h 50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w 71"/>
                          <a:gd name="T100" fmla="*/ 0 h 50"/>
                          <a:gd name="T101" fmla="*/ 71 w 71"/>
                          <a:gd name="T102" fmla="*/ 50 h 50"/>
                        </a:gdLst>
                        <a:ahLst/>
                        <a:cxnLst>
                          <a:cxn ang="T66">
                            <a:pos x="T0" y="T1"/>
                          </a:cxn>
                          <a:cxn ang="T67">
                            <a:pos x="T2" y="T3"/>
                          </a:cxn>
                          <a:cxn ang="T68">
                            <a:pos x="T4" y="T5"/>
                          </a:cxn>
                          <a:cxn ang="T69">
                            <a:pos x="T6" y="T7"/>
                          </a:cxn>
                          <a:cxn ang="T70">
                            <a:pos x="T8" y="T9"/>
                          </a:cxn>
                          <a:cxn ang="T71">
                            <a:pos x="T10" y="T11"/>
                          </a:cxn>
                          <a:cxn ang="T72">
                            <a:pos x="T12" y="T13"/>
                          </a:cxn>
                          <a:cxn ang="T73">
                            <a:pos x="T14" y="T15"/>
                          </a:cxn>
                          <a:cxn ang="T74">
                            <a:pos x="T16" y="T17"/>
                          </a:cxn>
                          <a:cxn ang="T75">
                            <a:pos x="T18" y="T19"/>
                          </a:cxn>
                          <a:cxn ang="T76">
                            <a:pos x="T20" y="T21"/>
                          </a:cxn>
                          <a:cxn ang="T77">
                            <a:pos x="T22" y="T23"/>
                          </a:cxn>
                          <a:cxn ang="T78">
                            <a:pos x="T24" y="T25"/>
                          </a:cxn>
                          <a:cxn ang="T79">
                            <a:pos x="T26" y="T27"/>
                          </a:cxn>
                          <a:cxn ang="T80">
                            <a:pos x="T28" y="T29"/>
                          </a:cxn>
                          <a:cxn ang="T81">
                            <a:pos x="T30" y="T31"/>
                          </a:cxn>
                          <a:cxn ang="T82">
                            <a:pos x="T32" y="T33"/>
                          </a:cxn>
                          <a:cxn ang="T83">
                            <a:pos x="T34" y="T35"/>
                          </a:cxn>
                          <a:cxn ang="T84">
                            <a:pos x="T36" y="T37"/>
                          </a:cxn>
                          <a:cxn ang="T85">
                            <a:pos x="T38" y="T39"/>
                          </a:cxn>
                          <a:cxn ang="T86">
                            <a:pos x="T40" y="T41"/>
                          </a:cxn>
                          <a:cxn ang="T87">
                            <a:pos x="T42" y="T43"/>
                          </a:cxn>
                          <a:cxn ang="T88">
                            <a:pos x="T44" y="T45"/>
                          </a:cxn>
                          <a:cxn ang="T89">
                            <a:pos x="T46" y="T47"/>
                          </a:cxn>
                          <a:cxn ang="T90">
                            <a:pos x="T48" y="T49"/>
                          </a:cxn>
                          <a:cxn ang="T91">
                            <a:pos x="T50" y="T51"/>
                          </a:cxn>
                          <a:cxn ang="T92">
                            <a:pos x="T52" y="T53"/>
                          </a:cxn>
                          <a:cxn ang="T93">
                            <a:pos x="T54" y="T55"/>
                          </a:cxn>
                          <a:cxn ang="T94">
                            <a:pos x="T56" y="T57"/>
                          </a:cxn>
                          <a:cxn ang="T95">
                            <a:pos x="T58" y="T59"/>
                          </a:cxn>
                          <a:cxn ang="T96">
                            <a:pos x="T60" y="T61"/>
                          </a:cxn>
                          <a:cxn ang="T97">
                            <a:pos x="T62" y="T63"/>
                          </a:cxn>
                          <a:cxn ang="T98">
                            <a:pos x="T64" y="T65"/>
                          </a:cxn>
                        </a:cxnLst>
                        <a:rect l="T99" t="T100" r="T101" b="T102"/>
                        <a:pathLst>
                          <a:path w="71" h="50">
                            <a:moveTo>
                              <a:pt x="4" y="5"/>
                            </a:moveTo>
                            <a:lnTo>
                              <a:pt x="0" y="9"/>
                            </a:lnTo>
                            <a:lnTo>
                              <a:pt x="4" y="14"/>
                            </a:lnTo>
                            <a:lnTo>
                              <a:pt x="9" y="18"/>
                            </a:lnTo>
                            <a:lnTo>
                              <a:pt x="13" y="14"/>
                            </a:lnTo>
                            <a:lnTo>
                              <a:pt x="9" y="14"/>
                            </a:lnTo>
                            <a:lnTo>
                              <a:pt x="4" y="5"/>
                            </a:lnTo>
                            <a:close/>
                            <a:moveTo>
                              <a:pt x="18" y="0"/>
                            </a:moveTo>
                            <a:lnTo>
                              <a:pt x="13" y="0"/>
                            </a:lnTo>
                            <a:lnTo>
                              <a:pt x="18" y="9"/>
                            </a:lnTo>
                            <a:lnTo>
                              <a:pt x="31" y="14"/>
                            </a:lnTo>
                            <a:lnTo>
                              <a:pt x="36" y="18"/>
                            </a:lnTo>
                            <a:lnTo>
                              <a:pt x="31" y="9"/>
                            </a:lnTo>
                            <a:lnTo>
                              <a:pt x="18" y="0"/>
                            </a:lnTo>
                            <a:close/>
                            <a:moveTo>
                              <a:pt x="31" y="23"/>
                            </a:moveTo>
                            <a:lnTo>
                              <a:pt x="27" y="27"/>
                            </a:lnTo>
                            <a:lnTo>
                              <a:pt x="40" y="36"/>
                            </a:lnTo>
                            <a:lnTo>
                              <a:pt x="45" y="36"/>
                            </a:lnTo>
                            <a:lnTo>
                              <a:pt x="49" y="32"/>
                            </a:lnTo>
                            <a:lnTo>
                              <a:pt x="40" y="27"/>
                            </a:lnTo>
                            <a:lnTo>
                              <a:pt x="31" y="23"/>
                            </a:lnTo>
                            <a:close/>
                            <a:moveTo>
                              <a:pt x="49" y="14"/>
                            </a:moveTo>
                            <a:lnTo>
                              <a:pt x="53" y="32"/>
                            </a:lnTo>
                            <a:lnTo>
                              <a:pt x="58" y="32"/>
                            </a:lnTo>
                            <a:lnTo>
                              <a:pt x="58" y="27"/>
                            </a:lnTo>
                            <a:lnTo>
                              <a:pt x="49" y="14"/>
                            </a:lnTo>
                            <a:close/>
                            <a:moveTo>
                              <a:pt x="53" y="36"/>
                            </a:moveTo>
                            <a:lnTo>
                              <a:pt x="53" y="41"/>
                            </a:lnTo>
                            <a:lnTo>
                              <a:pt x="67" y="50"/>
                            </a:lnTo>
                            <a:lnTo>
                              <a:pt x="71" y="50"/>
                            </a:lnTo>
                            <a:lnTo>
                              <a:pt x="67" y="41"/>
                            </a:lnTo>
                            <a:lnTo>
                              <a:pt x="53" y="36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4" name="Freeform 124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319" y="2558"/>
                        <a:ext cx="21" cy="17"/>
                      </a:xfrm>
                      <a:custGeom>
                        <a:avLst/>
                        <a:gdLst>
                          <a:gd name="T0" fmla="*/ 0 w 22"/>
                          <a:gd name="T1" fmla="*/ 9 h 18"/>
                          <a:gd name="T2" fmla="*/ 4 w 22"/>
                          <a:gd name="T3" fmla="*/ 9 h 18"/>
                          <a:gd name="T4" fmla="*/ 11 w 22"/>
                          <a:gd name="T5" fmla="*/ 9 h 18"/>
                          <a:gd name="T6" fmla="*/ 11 w 22"/>
                          <a:gd name="T7" fmla="*/ 9 h 18"/>
                          <a:gd name="T8" fmla="*/ 11 w 22"/>
                          <a:gd name="T9" fmla="*/ 9 h 18"/>
                          <a:gd name="T10" fmla="*/ 11 w 22"/>
                          <a:gd name="T11" fmla="*/ 0 h 18"/>
                          <a:gd name="T12" fmla="*/ 11 w 22"/>
                          <a:gd name="T13" fmla="*/ 5 h 18"/>
                          <a:gd name="T14" fmla="*/ 11 w 22"/>
                          <a:gd name="T15" fmla="*/ 0 h 18"/>
                          <a:gd name="T16" fmla="*/ 0 w 22"/>
                          <a:gd name="T17" fmla="*/ 9 h 18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22"/>
                          <a:gd name="T28" fmla="*/ 0 h 18"/>
                          <a:gd name="T29" fmla="*/ 22 w 22"/>
                          <a:gd name="T30" fmla="*/ 18 h 18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22" h="18">
                            <a:moveTo>
                              <a:pt x="0" y="9"/>
                            </a:moveTo>
                            <a:lnTo>
                              <a:pt x="4" y="14"/>
                            </a:lnTo>
                            <a:lnTo>
                              <a:pt x="13" y="18"/>
                            </a:lnTo>
                            <a:lnTo>
                              <a:pt x="13" y="9"/>
                            </a:lnTo>
                            <a:lnTo>
                              <a:pt x="18" y="14"/>
                            </a:lnTo>
                            <a:lnTo>
                              <a:pt x="22" y="0"/>
                            </a:lnTo>
                            <a:lnTo>
                              <a:pt x="18" y="5"/>
                            </a:lnTo>
                            <a:lnTo>
                              <a:pt x="18" y="0"/>
                            </a:lnTo>
                            <a:lnTo>
                              <a:pt x="0" y="9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5" name="Freeform 125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028" y="2225"/>
                        <a:ext cx="118" cy="270"/>
                      </a:xfrm>
                      <a:custGeom>
                        <a:avLst/>
                        <a:gdLst>
                          <a:gd name="T0" fmla="*/ 0 w 125"/>
                          <a:gd name="T1" fmla="*/ 23 h 286"/>
                          <a:gd name="T2" fmla="*/ 8 w 125"/>
                          <a:gd name="T3" fmla="*/ 22 h 286"/>
                          <a:gd name="T4" fmla="*/ 4 w 125"/>
                          <a:gd name="T5" fmla="*/ 21 h 286"/>
                          <a:gd name="T6" fmla="*/ 8 w 125"/>
                          <a:gd name="T7" fmla="*/ 20 h 286"/>
                          <a:gd name="T8" fmla="*/ 8 w 125"/>
                          <a:gd name="T9" fmla="*/ 18 h 286"/>
                          <a:gd name="T10" fmla="*/ 8 w 125"/>
                          <a:gd name="T11" fmla="*/ 18 h 286"/>
                          <a:gd name="T12" fmla="*/ 8 w 125"/>
                          <a:gd name="T13" fmla="*/ 13 h 286"/>
                          <a:gd name="T14" fmla="*/ 8 w 125"/>
                          <a:gd name="T15" fmla="*/ 12 h 286"/>
                          <a:gd name="T16" fmla="*/ 8 w 125"/>
                          <a:gd name="T17" fmla="*/ 8 h 286"/>
                          <a:gd name="T18" fmla="*/ 8 w 125"/>
                          <a:gd name="T19" fmla="*/ 8 h 286"/>
                          <a:gd name="T20" fmla="*/ 8 w 125"/>
                          <a:gd name="T21" fmla="*/ 8 h 286"/>
                          <a:gd name="T22" fmla="*/ 9 w 125"/>
                          <a:gd name="T23" fmla="*/ 8 h 286"/>
                          <a:gd name="T24" fmla="*/ 11 w 125"/>
                          <a:gd name="T25" fmla="*/ 8 h 286"/>
                          <a:gd name="T26" fmla="*/ 11 w 125"/>
                          <a:gd name="T27" fmla="*/ 8 h 286"/>
                          <a:gd name="T28" fmla="*/ 14 w 125"/>
                          <a:gd name="T29" fmla="*/ 0 h 286"/>
                          <a:gd name="T30" fmla="*/ 16 w 125"/>
                          <a:gd name="T31" fmla="*/ 8 h 286"/>
                          <a:gd name="T32" fmla="*/ 16 w 125"/>
                          <a:gd name="T33" fmla="*/ 8 h 286"/>
                          <a:gd name="T34" fmla="*/ 13 w 125"/>
                          <a:gd name="T35" fmla="*/ 8 h 286"/>
                          <a:gd name="T36" fmla="*/ 14 w 125"/>
                          <a:gd name="T37" fmla="*/ 14 h 286"/>
                          <a:gd name="T38" fmla="*/ 17 w 125"/>
                          <a:gd name="T39" fmla="*/ 12 h 286"/>
                          <a:gd name="T40" fmla="*/ 17 w 125"/>
                          <a:gd name="T41" fmla="*/ 15 h 286"/>
                          <a:gd name="T42" fmla="*/ 19 w 125"/>
                          <a:gd name="T43" fmla="*/ 17 h 286"/>
                          <a:gd name="T44" fmla="*/ 17 w 125"/>
                          <a:gd name="T45" fmla="*/ 19 h 286"/>
                          <a:gd name="T46" fmla="*/ 21 w 125"/>
                          <a:gd name="T47" fmla="*/ 21 h 286"/>
                          <a:gd name="T48" fmla="*/ 22 w 125"/>
                          <a:gd name="T49" fmla="*/ 20 h 286"/>
                          <a:gd name="T50" fmla="*/ 23 w 125"/>
                          <a:gd name="T51" fmla="*/ 20 h 286"/>
                          <a:gd name="T52" fmla="*/ 23 w 125"/>
                          <a:gd name="T53" fmla="*/ 21 h 286"/>
                          <a:gd name="T54" fmla="*/ 22 w 125"/>
                          <a:gd name="T55" fmla="*/ 22 h 286"/>
                          <a:gd name="T56" fmla="*/ 21 w 125"/>
                          <a:gd name="T57" fmla="*/ 24 h 286"/>
                          <a:gd name="T58" fmla="*/ 19 w 125"/>
                          <a:gd name="T59" fmla="*/ 24 h 286"/>
                          <a:gd name="T60" fmla="*/ 17 w 125"/>
                          <a:gd name="T61" fmla="*/ 25 h 286"/>
                          <a:gd name="T62" fmla="*/ 15 w 125"/>
                          <a:gd name="T63" fmla="*/ 25 h 286"/>
                          <a:gd name="T64" fmla="*/ 13 w 125"/>
                          <a:gd name="T65" fmla="*/ 28 h 286"/>
                          <a:gd name="T66" fmla="*/ 14 w 125"/>
                          <a:gd name="T67" fmla="*/ 30 h 286"/>
                          <a:gd name="T68" fmla="*/ 14 w 125"/>
                          <a:gd name="T69" fmla="*/ 32 h 286"/>
                          <a:gd name="T70" fmla="*/ 16 w 125"/>
                          <a:gd name="T71" fmla="*/ 34 h 286"/>
                          <a:gd name="T72" fmla="*/ 17 w 125"/>
                          <a:gd name="T73" fmla="*/ 36 h 286"/>
                          <a:gd name="T74" fmla="*/ 15 w 125"/>
                          <a:gd name="T75" fmla="*/ 38 h 286"/>
                          <a:gd name="T76" fmla="*/ 16 w 125"/>
                          <a:gd name="T77" fmla="*/ 38 h 286"/>
                          <a:gd name="T78" fmla="*/ 19 w 125"/>
                          <a:gd name="T79" fmla="*/ 42 h 286"/>
                          <a:gd name="T80" fmla="*/ 19 w 125"/>
                          <a:gd name="T81" fmla="*/ 44 h 286"/>
                          <a:gd name="T82" fmla="*/ 19 w 125"/>
                          <a:gd name="T83" fmla="*/ 47 h 286"/>
                          <a:gd name="T84" fmla="*/ 19 w 125"/>
                          <a:gd name="T85" fmla="*/ 49 h 286"/>
                          <a:gd name="T86" fmla="*/ 18 w 125"/>
                          <a:gd name="T87" fmla="*/ 50 h 286"/>
                          <a:gd name="T88" fmla="*/ 17 w 125"/>
                          <a:gd name="T89" fmla="*/ 51 h 286"/>
                          <a:gd name="T90" fmla="*/ 16 w 125"/>
                          <a:gd name="T91" fmla="*/ 50 h 286"/>
                          <a:gd name="T92" fmla="*/ 18 w 125"/>
                          <a:gd name="T93" fmla="*/ 47 h 286"/>
                          <a:gd name="T94" fmla="*/ 17 w 125"/>
                          <a:gd name="T95" fmla="*/ 45 h 286"/>
                          <a:gd name="T96" fmla="*/ 17 w 125"/>
                          <a:gd name="T97" fmla="*/ 42 h 286"/>
                          <a:gd name="T98" fmla="*/ 15 w 125"/>
                          <a:gd name="T99" fmla="*/ 40 h 286"/>
                          <a:gd name="T100" fmla="*/ 14 w 125"/>
                          <a:gd name="T101" fmla="*/ 38 h 286"/>
                          <a:gd name="T102" fmla="*/ 14 w 125"/>
                          <a:gd name="T103" fmla="*/ 36 h 286"/>
                          <a:gd name="T104" fmla="*/ 11 w 125"/>
                          <a:gd name="T105" fmla="*/ 33 h 286"/>
                          <a:gd name="T106" fmla="*/ 8 w 125"/>
                          <a:gd name="T107" fmla="*/ 34 h 286"/>
                          <a:gd name="T108" fmla="*/ 8 w 125"/>
                          <a:gd name="T109" fmla="*/ 36 h 286"/>
                          <a:gd name="T110" fmla="*/ 8 w 125"/>
                          <a:gd name="T111" fmla="*/ 36 h 286"/>
                          <a:gd name="T112" fmla="*/ 8 w 125"/>
                          <a:gd name="T113" fmla="*/ 33 h 286"/>
                          <a:gd name="T114" fmla="*/ 8 w 125"/>
                          <a:gd name="T115" fmla="*/ 32 h 286"/>
                          <a:gd name="T116" fmla="*/ 8 w 125"/>
                          <a:gd name="T117" fmla="*/ 25 h 286"/>
                          <a:gd name="T118" fmla="*/ 8 w 125"/>
                          <a:gd name="T119" fmla="*/ 24 h 286"/>
                          <a:gd name="T120" fmla="*/ 8 w 125"/>
                          <a:gd name="T121" fmla="*/ 25 h 286"/>
                          <a:gd name="T122" fmla="*/ 0 w 125"/>
                          <a:gd name="T123" fmla="*/ 23 h 28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60000 65536"/>
                          <a:gd name="T178" fmla="*/ 0 60000 65536"/>
                          <a:gd name="T179" fmla="*/ 0 60000 65536"/>
                          <a:gd name="T180" fmla="*/ 0 60000 65536"/>
                          <a:gd name="T181" fmla="*/ 0 60000 65536"/>
                          <a:gd name="T182" fmla="*/ 0 60000 65536"/>
                          <a:gd name="T183" fmla="*/ 0 60000 65536"/>
                          <a:gd name="T184" fmla="*/ 0 60000 65536"/>
                          <a:gd name="T185" fmla="*/ 0 60000 65536"/>
                          <a:gd name="T186" fmla="*/ 0 w 125"/>
                          <a:gd name="T187" fmla="*/ 0 h 286"/>
                          <a:gd name="T188" fmla="*/ 125 w 125"/>
                          <a:gd name="T189" fmla="*/ 286 h 286"/>
                        </a:gdLst>
                        <a:ahLst/>
                        <a:cxnLst>
                          <a:cxn ang="T124">
                            <a:pos x="T0" y="T1"/>
                          </a:cxn>
                          <a:cxn ang="T125">
                            <a:pos x="T2" y="T3"/>
                          </a:cxn>
                          <a:cxn ang="T126">
                            <a:pos x="T4" y="T5"/>
                          </a:cxn>
                          <a:cxn ang="T127">
                            <a:pos x="T6" y="T7"/>
                          </a:cxn>
                          <a:cxn ang="T128">
                            <a:pos x="T8" y="T9"/>
                          </a:cxn>
                          <a:cxn ang="T129">
                            <a:pos x="T10" y="T11"/>
                          </a:cxn>
                          <a:cxn ang="T130">
                            <a:pos x="T12" y="T13"/>
                          </a:cxn>
                          <a:cxn ang="T131">
                            <a:pos x="T14" y="T15"/>
                          </a:cxn>
                          <a:cxn ang="T132">
                            <a:pos x="T16" y="T17"/>
                          </a:cxn>
                          <a:cxn ang="T133">
                            <a:pos x="T18" y="T19"/>
                          </a:cxn>
                          <a:cxn ang="T134">
                            <a:pos x="T20" y="T21"/>
                          </a:cxn>
                          <a:cxn ang="T135">
                            <a:pos x="T22" y="T23"/>
                          </a:cxn>
                          <a:cxn ang="T136">
                            <a:pos x="T24" y="T25"/>
                          </a:cxn>
                          <a:cxn ang="T137">
                            <a:pos x="T26" y="T27"/>
                          </a:cxn>
                          <a:cxn ang="T138">
                            <a:pos x="T28" y="T29"/>
                          </a:cxn>
                          <a:cxn ang="T139">
                            <a:pos x="T30" y="T31"/>
                          </a:cxn>
                          <a:cxn ang="T140">
                            <a:pos x="T32" y="T33"/>
                          </a:cxn>
                          <a:cxn ang="T141">
                            <a:pos x="T34" y="T35"/>
                          </a:cxn>
                          <a:cxn ang="T142">
                            <a:pos x="T36" y="T37"/>
                          </a:cxn>
                          <a:cxn ang="T143">
                            <a:pos x="T38" y="T39"/>
                          </a:cxn>
                          <a:cxn ang="T144">
                            <a:pos x="T40" y="T41"/>
                          </a:cxn>
                          <a:cxn ang="T145">
                            <a:pos x="T42" y="T43"/>
                          </a:cxn>
                          <a:cxn ang="T146">
                            <a:pos x="T44" y="T45"/>
                          </a:cxn>
                          <a:cxn ang="T147">
                            <a:pos x="T46" y="T47"/>
                          </a:cxn>
                          <a:cxn ang="T148">
                            <a:pos x="T48" y="T49"/>
                          </a:cxn>
                          <a:cxn ang="T149">
                            <a:pos x="T50" y="T51"/>
                          </a:cxn>
                          <a:cxn ang="T150">
                            <a:pos x="T52" y="T53"/>
                          </a:cxn>
                          <a:cxn ang="T151">
                            <a:pos x="T54" y="T55"/>
                          </a:cxn>
                          <a:cxn ang="T152">
                            <a:pos x="T56" y="T57"/>
                          </a:cxn>
                          <a:cxn ang="T153">
                            <a:pos x="T58" y="T59"/>
                          </a:cxn>
                          <a:cxn ang="T154">
                            <a:pos x="T60" y="T61"/>
                          </a:cxn>
                          <a:cxn ang="T155">
                            <a:pos x="T62" y="T63"/>
                          </a:cxn>
                          <a:cxn ang="T156">
                            <a:pos x="T64" y="T65"/>
                          </a:cxn>
                          <a:cxn ang="T157">
                            <a:pos x="T66" y="T67"/>
                          </a:cxn>
                          <a:cxn ang="T158">
                            <a:pos x="T68" y="T69"/>
                          </a:cxn>
                          <a:cxn ang="T159">
                            <a:pos x="T70" y="T71"/>
                          </a:cxn>
                          <a:cxn ang="T160">
                            <a:pos x="T72" y="T73"/>
                          </a:cxn>
                          <a:cxn ang="T161">
                            <a:pos x="T74" y="T75"/>
                          </a:cxn>
                          <a:cxn ang="T162">
                            <a:pos x="T76" y="T77"/>
                          </a:cxn>
                          <a:cxn ang="T163">
                            <a:pos x="T78" y="T79"/>
                          </a:cxn>
                          <a:cxn ang="T164">
                            <a:pos x="T80" y="T81"/>
                          </a:cxn>
                          <a:cxn ang="T165">
                            <a:pos x="T82" y="T83"/>
                          </a:cxn>
                          <a:cxn ang="T166">
                            <a:pos x="T84" y="T85"/>
                          </a:cxn>
                          <a:cxn ang="T167">
                            <a:pos x="T86" y="T87"/>
                          </a:cxn>
                          <a:cxn ang="T168">
                            <a:pos x="T88" y="T89"/>
                          </a:cxn>
                          <a:cxn ang="T169">
                            <a:pos x="T90" y="T91"/>
                          </a:cxn>
                          <a:cxn ang="T170">
                            <a:pos x="T92" y="T93"/>
                          </a:cxn>
                          <a:cxn ang="T171">
                            <a:pos x="T94" y="T95"/>
                          </a:cxn>
                          <a:cxn ang="T172">
                            <a:pos x="T96" y="T97"/>
                          </a:cxn>
                          <a:cxn ang="T173">
                            <a:pos x="T98" y="T99"/>
                          </a:cxn>
                          <a:cxn ang="T174">
                            <a:pos x="T100" y="T101"/>
                          </a:cxn>
                          <a:cxn ang="T175">
                            <a:pos x="T102" y="T103"/>
                          </a:cxn>
                          <a:cxn ang="T176">
                            <a:pos x="T104" y="T105"/>
                          </a:cxn>
                          <a:cxn ang="T177">
                            <a:pos x="T106" y="T107"/>
                          </a:cxn>
                          <a:cxn ang="T178">
                            <a:pos x="T108" y="T109"/>
                          </a:cxn>
                          <a:cxn ang="T179">
                            <a:pos x="T110" y="T111"/>
                          </a:cxn>
                          <a:cxn ang="T180">
                            <a:pos x="T112" y="T113"/>
                          </a:cxn>
                          <a:cxn ang="T181">
                            <a:pos x="T114" y="T115"/>
                          </a:cxn>
                          <a:cxn ang="T182">
                            <a:pos x="T116" y="T117"/>
                          </a:cxn>
                          <a:cxn ang="T183">
                            <a:pos x="T118" y="T119"/>
                          </a:cxn>
                          <a:cxn ang="T184">
                            <a:pos x="T120" y="T121"/>
                          </a:cxn>
                          <a:cxn ang="T185">
                            <a:pos x="T122" y="T123"/>
                          </a:cxn>
                        </a:cxnLst>
                        <a:rect l="T186" t="T187" r="T188" b="T189"/>
                        <a:pathLst>
                          <a:path w="125" h="286">
                            <a:moveTo>
                              <a:pt x="0" y="125"/>
                            </a:moveTo>
                            <a:lnTo>
                              <a:pt x="9" y="121"/>
                            </a:lnTo>
                            <a:lnTo>
                              <a:pt x="4" y="112"/>
                            </a:lnTo>
                            <a:lnTo>
                              <a:pt x="9" y="108"/>
                            </a:lnTo>
                            <a:lnTo>
                              <a:pt x="9" y="94"/>
                            </a:lnTo>
                            <a:lnTo>
                              <a:pt x="13" y="94"/>
                            </a:lnTo>
                            <a:lnTo>
                              <a:pt x="13" y="72"/>
                            </a:lnTo>
                            <a:lnTo>
                              <a:pt x="22" y="67"/>
                            </a:lnTo>
                            <a:lnTo>
                              <a:pt x="31" y="54"/>
                            </a:lnTo>
                            <a:lnTo>
                              <a:pt x="31" y="45"/>
                            </a:lnTo>
                            <a:lnTo>
                              <a:pt x="44" y="23"/>
                            </a:lnTo>
                            <a:lnTo>
                              <a:pt x="58" y="18"/>
                            </a:lnTo>
                            <a:lnTo>
                              <a:pt x="62" y="18"/>
                            </a:lnTo>
                            <a:lnTo>
                              <a:pt x="62" y="9"/>
                            </a:lnTo>
                            <a:lnTo>
                              <a:pt x="76" y="0"/>
                            </a:lnTo>
                            <a:lnTo>
                              <a:pt x="85" y="9"/>
                            </a:lnTo>
                            <a:lnTo>
                              <a:pt x="85" y="40"/>
                            </a:lnTo>
                            <a:lnTo>
                              <a:pt x="71" y="54"/>
                            </a:lnTo>
                            <a:lnTo>
                              <a:pt x="76" y="76"/>
                            </a:lnTo>
                            <a:lnTo>
                              <a:pt x="89" y="67"/>
                            </a:lnTo>
                            <a:lnTo>
                              <a:pt x="89" y="81"/>
                            </a:lnTo>
                            <a:lnTo>
                              <a:pt x="102" y="90"/>
                            </a:lnTo>
                            <a:lnTo>
                              <a:pt x="89" y="103"/>
                            </a:lnTo>
                            <a:lnTo>
                              <a:pt x="111" y="112"/>
                            </a:lnTo>
                            <a:lnTo>
                              <a:pt x="120" y="108"/>
                            </a:lnTo>
                            <a:lnTo>
                              <a:pt x="125" y="108"/>
                            </a:lnTo>
                            <a:lnTo>
                              <a:pt x="125" y="112"/>
                            </a:lnTo>
                            <a:lnTo>
                              <a:pt x="120" y="116"/>
                            </a:lnTo>
                            <a:lnTo>
                              <a:pt x="111" y="130"/>
                            </a:lnTo>
                            <a:lnTo>
                              <a:pt x="102" y="130"/>
                            </a:lnTo>
                            <a:lnTo>
                              <a:pt x="89" y="139"/>
                            </a:lnTo>
                            <a:lnTo>
                              <a:pt x="80" y="143"/>
                            </a:lnTo>
                            <a:lnTo>
                              <a:pt x="71" y="161"/>
                            </a:lnTo>
                            <a:lnTo>
                              <a:pt x="76" y="166"/>
                            </a:lnTo>
                            <a:lnTo>
                              <a:pt x="76" y="179"/>
                            </a:lnTo>
                            <a:lnTo>
                              <a:pt x="85" y="188"/>
                            </a:lnTo>
                            <a:lnTo>
                              <a:pt x="89" y="201"/>
                            </a:lnTo>
                            <a:lnTo>
                              <a:pt x="80" y="210"/>
                            </a:lnTo>
                            <a:lnTo>
                              <a:pt x="85" y="215"/>
                            </a:lnTo>
                            <a:lnTo>
                              <a:pt x="102" y="233"/>
                            </a:lnTo>
                            <a:lnTo>
                              <a:pt x="98" y="251"/>
                            </a:lnTo>
                            <a:lnTo>
                              <a:pt x="102" y="264"/>
                            </a:lnTo>
                            <a:lnTo>
                              <a:pt x="98" y="273"/>
                            </a:lnTo>
                            <a:lnTo>
                              <a:pt x="94" y="277"/>
                            </a:lnTo>
                            <a:lnTo>
                              <a:pt x="89" y="286"/>
                            </a:lnTo>
                            <a:lnTo>
                              <a:pt x="85" y="282"/>
                            </a:lnTo>
                            <a:lnTo>
                              <a:pt x="94" y="264"/>
                            </a:lnTo>
                            <a:lnTo>
                              <a:pt x="89" y="255"/>
                            </a:lnTo>
                            <a:lnTo>
                              <a:pt x="89" y="242"/>
                            </a:lnTo>
                            <a:lnTo>
                              <a:pt x="80" y="228"/>
                            </a:lnTo>
                            <a:lnTo>
                              <a:pt x="76" y="215"/>
                            </a:lnTo>
                            <a:lnTo>
                              <a:pt x="76" y="197"/>
                            </a:lnTo>
                            <a:lnTo>
                              <a:pt x="62" y="183"/>
                            </a:lnTo>
                            <a:lnTo>
                              <a:pt x="53" y="188"/>
                            </a:lnTo>
                            <a:lnTo>
                              <a:pt x="44" y="201"/>
                            </a:lnTo>
                            <a:lnTo>
                              <a:pt x="22" y="197"/>
                            </a:lnTo>
                            <a:lnTo>
                              <a:pt x="27" y="183"/>
                            </a:lnTo>
                            <a:lnTo>
                              <a:pt x="31" y="175"/>
                            </a:lnTo>
                            <a:lnTo>
                              <a:pt x="22" y="139"/>
                            </a:lnTo>
                            <a:lnTo>
                              <a:pt x="13" y="134"/>
                            </a:lnTo>
                            <a:lnTo>
                              <a:pt x="9" y="139"/>
                            </a:lnTo>
                            <a:lnTo>
                              <a:pt x="0" y="125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6" name="Freeform 126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163" y="2428"/>
                        <a:ext cx="67" cy="67"/>
                      </a:xfrm>
                      <a:custGeom>
                        <a:avLst/>
                        <a:gdLst>
                          <a:gd name="T0" fmla="*/ 8 w 71"/>
                          <a:gd name="T1" fmla="*/ 8 h 71"/>
                          <a:gd name="T2" fmla="*/ 8 w 71"/>
                          <a:gd name="T3" fmla="*/ 11 h 71"/>
                          <a:gd name="T4" fmla="*/ 8 w 71"/>
                          <a:gd name="T5" fmla="*/ 9 h 71"/>
                          <a:gd name="T6" fmla="*/ 8 w 71"/>
                          <a:gd name="T7" fmla="*/ 11 h 71"/>
                          <a:gd name="T8" fmla="*/ 8 w 71"/>
                          <a:gd name="T9" fmla="*/ 12 h 71"/>
                          <a:gd name="T10" fmla="*/ 8 w 71"/>
                          <a:gd name="T11" fmla="*/ 13 h 71"/>
                          <a:gd name="T12" fmla="*/ 8 w 71"/>
                          <a:gd name="T13" fmla="*/ 12 h 71"/>
                          <a:gd name="T14" fmla="*/ 8 w 71"/>
                          <a:gd name="T15" fmla="*/ 12 h 71"/>
                          <a:gd name="T16" fmla="*/ 8 w 71"/>
                          <a:gd name="T17" fmla="*/ 8 h 71"/>
                          <a:gd name="T18" fmla="*/ 8 w 71"/>
                          <a:gd name="T19" fmla="*/ 8 h 71"/>
                          <a:gd name="T20" fmla="*/ 8 w 71"/>
                          <a:gd name="T21" fmla="*/ 8 h 71"/>
                          <a:gd name="T22" fmla="*/ 11 w 71"/>
                          <a:gd name="T23" fmla="*/ 8 h 71"/>
                          <a:gd name="T24" fmla="*/ 13 w 71"/>
                          <a:gd name="T25" fmla="*/ 8 h 71"/>
                          <a:gd name="T26" fmla="*/ 13 w 71"/>
                          <a:gd name="T27" fmla="*/ 8 h 71"/>
                          <a:gd name="T28" fmla="*/ 12 w 71"/>
                          <a:gd name="T29" fmla="*/ 4 h 71"/>
                          <a:gd name="T30" fmla="*/ 9 w 71"/>
                          <a:gd name="T31" fmla="*/ 0 h 71"/>
                          <a:gd name="T32" fmla="*/ 8 w 71"/>
                          <a:gd name="T33" fmla="*/ 0 h 71"/>
                          <a:gd name="T34" fmla="*/ 8 w 71"/>
                          <a:gd name="T35" fmla="*/ 8 h 71"/>
                          <a:gd name="T36" fmla="*/ 8 w 71"/>
                          <a:gd name="T37" fmla="*/ 8 h 71"/>
                          <a:gd name="T38" fmla="*/ 8 w 71"/>
                          <a:gd name="T39" fmla="*/ 4 h 71"/>
                          <a:gd name="T40" fmla="*/ 8 w 71"/>
                          <a:gd name="T41" fmla="*/ 8 h 71"/>
                          <a:gd name="T42" fmla="*/ 0 w 71"/>
                          <a:gd name="T43" fmla="*/ 8 h 71"/>
                          <a:gd name="T44" fmla="*/ 8 w 71"/>
                          <a:gd name="T45" fmla="*/ 8 h 71"/>
                          <a:gd name="T46" fmla="*/ 8 w 71"/>
                          <a:gd name="T47" fmla="*/ 8 h 71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w 71"/>
                          <a:gd name="T73" fmla="*/ 0 h 71"/>
                          <a:gd name="T74" fmla="*/ 71 w 71"/>
                          <a:gd name="T75" fmla="*/ 71 h 71"/>
                        </a:gdLst>
                        <a:ahLst/>
                        <a:cxnLst>
                          <a:cxn ang="T48">
                            <a:pos x="T0" y="T1"/>
                          </a:cxn>
                          <a:cxn ang="T49">
                            <a:pos x="T2" y="T3"/>
                          </a:cxn>
                          <a:cxn ang="T50">
                            <a:pos x="T4" y="T5"/>
                          </a:cxn>
                          <a:cxn ang="T51">
                            <a:pos x="T6" y="T7"/>
                          </a:cxn>
                          <a:cxn ang="T52">
                            <a:pos x="T8" y="T9"/>
                          </a:cxn>
                          <a:cxn ang="T53">
                            <a:pos x="T10" y="T11"/>
                          </a:cxn>
                          <a:cxn ang="T54">
                            <a:pos x="T12" y="T13"/>
                          </a:cxn>
                          <a:cxn ang="T55">
                            <a:pos x="T14" y="T15"/>
                          </a:cxn>
                          <a:cxn ang="T56">
                            <a:pos x="T16" y="T17"/>
                          </a:cxn>
                          <a:cxn ang="T57">
                            <a:pos x="T18" y="T19"/>
                          </a:cxn>
                          <a:cxn ang="T58">
                            <a:pos x="T20" y="T21"/>
                          </a:cxn>
                          <a:cxn ang="T59">
                            <a:pos x="T22" y="T23"/>
                          </a:cxn>
                          <a:cxn ang="T60">
                            <a:pos x="T24" y="T25"/>
                          </a:cxn>
                          <a:cxn ang="T61">
                            <a:pos x="T26" y="T27"/>
                          </a:cxn>
                          <a:cxn ang="T62">
                            <a:pos x="T28" y="T29"/>
                          </a:cxn>
                          <a:cxn ang="T63">
                            <a:pos x="T30" y="T31"/>
                          </a:cxn>
                          <a:cxn ang="T64">
                            <a:pos x="T32" y="T33"/>
                          </a:cxn>
                          <a:cxn ang="T65">
                            <a:pos x="T34" y="T35"/>
                          </a:cxn>
                          <a:cxn ang="T66">
                            <a:pos x="T36" y="T37"/>
                          </a:cxn>
                          <a:cxn ang="T67">
                            <a:pos x="T38" y="T39"/>
                          </a:cxn>
                          <a:cxn ang="T68">
                            <a:pos x="T40" y="T41"/>
                          </a:cxn>
                          <a:cxn ang="T69">
                            <a:pos x="T42" y="T43"/>
                          </a:cxn>
                          <a:cxn ang="T70">
                            <a:pos x="T44" y="T45"/>
                          </a:cxn>
                          <a:cxn ang="T71">
                            <a:pos x="T46" y="T47"/>
                          </a:cxn>
                        </a:cxnLst>
                        <a:rect l="T72" t="T73" r="T74" b="T75"/>
                        <a:pathLst>
                          <a:path w="71" h="71">
                            <a:moveTo>
                              <a:pt x="9" y="49"/>
                            </a:moveTo>
                            <a:lnTo>
                              <a:pt x="9" y="62"/>
                            </a:lnTo>
                            <a:lnTo>
                              <a:pt x="18" y="58"/>
                            </a:lnTo>
                            <a:lnTo>
                              <a:pt x="18" y="62"/>
                            </a:lnTo>
                            <a:lnTo>
                              <a:pt x="13" y="67"/>
                            </a:lnTo>
                            <a:lnTo>
                              <a:pt x="18" y="71"/>
                            </a:lnTo>
                            <a:lnTo>
                              <a:pt x="22" y="67"/>
                            </a:lnTo>
                            <a:lnTo>
                              <a:pt x="31" y="67"/>
                            </a:lnTo>
                            <a:lnTo>
                              <a:pt x="40" y="53"/>
                            </a:lnTo>
                            <a:lnTo>
                              <a:pt x="53" y="53"/>
                            </a:lnTo>
                            <a:lnTo>
                              <a:pt x="53" y="44"/>
                            </a:lnTo>
                            <a:lnTo>
                              <a:pt x="62" y="44"/>
                            </a:lnTo>
                            <a:lnTo>
                              <a:pt x="71" y="36"/>
                            </a:lnTo>
                            <a:lnTo>
                              <a:pt x="71" y="9"/>
                            </a:lnTo>
                            <a:lnTo>
                              <a:pt x="67" y="4"/>
                            </a:lnTo>
                            <a:lnTo>
                              <a:pt x="58" y="0"/>
                            </a:lnTo>
                            <a:lnTo>
                              <a:pt x="53" y="0"/>
                            </a:lnTo>
                            <a:lnTo>
                              <a:pt x="49" y="9"/>
                            </a:lnTo>
                            <a:lnTo>
                              <a:pt x="40" y="9"/>
                            </a:lnTo>
                            <a:lnTo>
                              <a:pt x="35" y="4"/>
                            </a:lnTo>
                            <a:lnTo>
                              <a:pt x="9" y="9"/>
                            </a:lnTo>
                            <a:lnTo>
                              <a:pt x="0" y="22"/>
                            </a:lnTo>
                            <a:lnTo>
                              <a:pt x="9" y="40"/>
                            </a:lnTo>
                            <a:lnTo>
                              <a:pt x="9" y="49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7" name="Freeform 127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855" y="2500"/>
                        <a:ext cx="33" cy="50"/>
                      </a:xfrm>
                      <a:custGeom>
                        <a:avLst/>
                        <a:gdLst>
                          <a:gd name="T0" fmla="*/ 0 w 35"/>
                          <a:gd name="T1" fmla="*/ 8 h 53"/>
                          <a:gd name="T2" fmla="*/ 8 w 35"/>
                          <a:gd name="T3" fmla="*/ 8 h 53"/>
                          <a:gd name="T4" fmla="*/ 8 w 35"/>
                          <a:gd name="T5" fmla="*/ 8 h 53"/>
                          <a:gd name="T6" fmla="*/ 8 w 35"/>
                          <a:gd name="T7" fmla="*/ 8 h 53"/>
                          <a:gd name="T8" fmla="*/ 8 w 35"/>
                          <a:gd name="T9" fmla="*/ 8 h 53"/>
                          <a:gd name="T10" fmla="*/ 8 w 35"/>
                          <a:gd name="T11" fmla="*/ 4 h 53"/>
                          <a:gd name="T12" fmla="*/ 8 w 35"/>
                          <a:gd name="T13" fmla="*/ 0 h 53"/>
                          <a:gd name="T14" fmla="*/ 4 w 35"/>
                          <a:gd name="T15" fmla="*/ 4 h 53"/>
                          <a:gd name="T16" fmla="*/ 8 w 35"/>
                          <a:gd name="T17" fmla="*/ 8 h 53"/>
                          <a:gd name="T18" fmla="*/ 4 w 35"/>
                          <a:gd name="T19" fmla="*/ 8 h 53"/>
                          <a:gd name="T20" fmla="*/ 4 w 35"/>
                          <a:gd name="T21" fmla="*/ 8 h 53"/>
                          <a:gd name="T22" fmla="*/ 0 w 35"/>
                          <a:gd name="T23" fmla="*/ 8 h 53"/>
                          <a:gd name="T24" fmla="*/ 4 w 35"/>
                          <a:gd name="T25" fmla="*/ 8 h 53"/>
                          <a:gd name="T26" fmla="*/ 0 w 35"/>
                          <a:gd name="T27" fmla="*/ 8 h 53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w 35"/>
                          <a:gd name="T43" fmla="*/ 0 h 53"/>
                          <a:gd name="T44" fmla="*/ 35 w 35"/>
                          <a:gd name="T45" fmla="*/ 53 h 53"/>
                        </a:gdLst>
                        <a:ahLst/>
                        <a:cxnLst>
                          <a:cxn ang="T28">
                            <a:pos x="T0" y="T1"/>
                          </a:cxn>
                          <a:cxn ang="T29">
                            <a:pos x="T2" y="T3"/>
                          </a:cxn>
                          <a:cxn ang="T30">
                            <a:pos x="T4" y="T5"/>
                          </a:cxn>
                          <a:cxn ang="T31">
                            <a:pos x="T6" y="T7"/>
                          </a:cxn>
                          <a:cxn ang="T32">
                            <a:pos x="T8" y="T9"/>
                          </a:cxn>
                          <a:cxn ang="T33">
                            <a:pos x="T10" y="T11"/>
                          </a:cxn>
                          <a:cxn ang="T34">
                            <a:pos x="T12" y="T13"/>
                          </a:cxn>
                          <a:cxn ang="T35">
                            <a:pos x="T14" y="T15"/>
                          </a:cxn>
                          <a:cxn ang="T36">
                            <a:pos x="T16" y="T17"/>
                          </a:cxn>
                          <a:cxn ang="T37">
                            <a:pos x="T18" y="T19"/>
                          </a:cxn>
                          <a:cxn ang="T38">
                            <a:pos x="T20" y="T21"/>
                          </a:cxn>
                          <a:cxn ang="T39">
                            <a:pos x="T22" y="T23"/>
                          </a:cxn>
                          <a:cxn ang="T40">
                            <a:pos x="T24" y="T25"/>
                          </a:cxn>
                          <a:cxn ang="T41">
                            <a:pos x="T26" y="T27"/>
                          </a:cxn>
                        </a:cxnLst>
                        <a:rect l="T42" t="T43" r="T44" b="T45"/>
                        <a:pathLst>
                          <a:path w="35" h="53">
                            <a:moveTo>
                              <a:pt x="0" y="40"/>
                            </a:moveTo>
                            <a:lnTo>
                              <a:pt x="9" y="53"/>
                            </a:lnTo>
                            <a:lnTo>
                              <a:pt x="22" y="53"/>
                            </a:lnTo>
                            <a:lnTo>
                              <a:pt x="35" y="44"/>
                            </a:lnTo>
                            <a:lnTo>
                              <a:pt x="35" y="31"/>
                            </a:lnTo>
                            <a:lnTo>
                              <a:pt x="22" y="4"/>
                            </a:lnTo>
                            <a:lnTo>
                              <a:pt x="9" y="0"/>
                            </a:lnTo>
                            <a:lnTo>
                              <a:pt x="4" y="4"/>
                            </a:lnTo>
                            <a:lnTo>
                              <a:pt x="9" y="9"/>
                            </a:lnTo>
                            <a:lnTo>
                              <a:pt x="4" y="13"/>
                            </a:lnTo>
                            <a:lnTo>
                              <a:pt x="4" y="22"/>
                            </a:lnTo>
                            <a:lnTo>
                              <a:pt x="0" y="22"/>
                            </a:lnTo>
                            <a:lnTo>
                              <a:pt x="4" y="35"/>
                            </a:lnTo>
                            <a:lnTo>
                              <a:pt x="0" y="4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8" name="Freeform 128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3775" y="1753"/>
                        <a:ext cx="826" cy="624"/>
                      </a:xfrm>
                      <a:custGeom>
                        <a:avLst/>
                        <a:gdLst>
                          <a:gd name="T0" fmla="*/ 8 w 875"/>
                          <a:gd name="T1" fmla="*/ 60 h 661"/>
                          <a:gd name="T2" fmla="*/ 8 w 875"/>
                          <a:gd name="T3" fmla="*/ 62 h 661"/>
                          <a:gd name="T4" fmla="*/ 13 w 875"/>
                          <a:gd name="T5" fmla="*/ 66 h 661"/>
                          <a:gd name="T6" fmla="*/ 13 w 875"/>
                          <a:gd name="T7" fmla="*/ 77 h 661"/>
                          <a:gd name="T8" fmla="*/ 22 w 875"/>
                          <a:gd name="T9" fmla="*/ 84 h 661"/>
                          <a:gd name="T10" fmla="*/ 38 w 875"/>
                          <a:gd name="T11" fmla="*/ 92 h 661"/>
                          <a:gd name="T12" fmla="*/ 40 w 875"/>
                          <a:gd name="T13" fmla="*/ 93 h 661"/>
                          <a:gd name="T14" fmla="*/ 46 w 875"/>
                          <a:gd name="T15" fmla="*/ 90 h 661"/>
                          <a:gd name="T16" fmla="*/ 54 w 875"/>
                          <a:gd name="T17" fmla="*/ 89 h 661"/>
                          <a:gd name="T18" fmla="*/ 61 w 875"/>
                          <a:gd name="T19" fmla="*/ 89 h 661"/>
                          <a:gd name="T20" fmla="*/ 61 w 875"/>
                          <a:gd name="T21" fmla="*/ 103 h 661"/>
                          <a:gd name="T22" fmla="*/ 63 w 875"/>
                          <a:gd name="T23" fmla="*/ 107 h 661"/>
                          <a:gd name="T24" fmla="*/ 70 w 875"/>
                          <a:gd name="T25" fmla="*/ 109 h 661"/>
                          <a:gd name="T26" fmla="*/ 72 w 875"/>
                          <a:gd name="T27" fmla="*/ 106 h 661"/>
                          <a:gd name="T28" fmla="*/ 81 w 875"/>
                          <a:gd name="T29" fmla="*/ 104 h 661"/>
                          <a:gd name="T30" fmla="*/ 87 w 875"/>
                          <a:gd name="T31" fmla="*/ 108 h 661"/>
                          <a:gd name="T32" fmla="*/ 91 w 875"/>
                          <a:gd name="T33" fmla="*/ 110 h 661"/>
                          <a:gd name="T34" fmla="*/ 93 w 875"/>
                          <a:gd name="T35" fmla="*/ 109 h 661"/>
                          <a:gd name="T36" fmla="*/ 101 w 875"/>
                          <a:gd name="T37" fmla="*/ 106 h 661"/>
                          <a:gd name="T38" fmla="*/ 104 w 875"/>
                          <a:gd name="T39" fmla="*/ 104 h 661"/>
                          <a:gd name="T40" fmla="*/ 109 w 875"/>
                          <a:gd name="T41" fmla="*/ 104 h 661"/>
                          <a:gd name="T42" fmla="*/ 113 w 875"/>
                          <a:gd name="T43" fmla="*/ 101 h 661"/>
                          <a:gd name="T44" fmla="*/ 118 w 875"/>
                          <a:gd name="T45" fmla="*/ 94 h 661"/>
                          <a:gd name="T46" fmla="*/ 121 w 875"/>
                          <a:gd name="T47" fmla="*/ 86 h 661"/>
                          <a:gd name="T48" fmla="*/ 122 w 875"/>
                          <a:gd name="T49" fmla="*/ 80 h 661"/>
                          <a:gd name="T50" fmla="*/ 119 w 875"/>
                          <a:gd name="T51" fmla="*/ 75 h 661"/>
                          <a:gd name="T52" fmla="*/ 116 w 875"/>
                          <a:gd name="T53" fmla="*/ 67 h 661"/>
                          <a:gd name="T54" fmla="*/ 124 w 875"/>
                          <a:gd name="T55" fmla="*/ 61 h 661"/>
                          <a:gd name="T56" fmla="*/ 114 w 875"/>
                          <a:gd name="T57" fmla="*/ 60 h 661"/>
                          <a:gd name="T58" fmla="*/ 116 w 875"/>
                          <a:gd name="T59" fmla="*/ 53 h 661"/>
                          <a:gd name="T60" fmla="*/ 123 w 875"/>
                          <a:gd name="T61" fmla="*/ 51 h 661"/>
                          <a:gd name="T62" fmla="*/ 119 w 875"/>
                          <a:gd name="T63" fmla="*/ 56 h 661"/>
                          <a:gd name="T64" fmla="*/ 127 w 875"/>
                          <a:gd name="T65" fmla="*/ 53 h 661"/>
                          <a:gd name="T66" fmla="*/ 136 w 875"/>
                          <a:gd name="T67" fmla="*/ 46 h 661"/>
                          <a:gd name="T68" fmla="*/ 143 w 875"/>
                          <a:gd name="T69" fmla="*/ 42 h 661"/>
                          <a:gd name="T70" fmla="*/ 146 w 875"/>
                          <a:gd name="T71" fmla="*/ 40 h 661"/>
                          <a:gd name="T72" fmla="*/ 155 w 875"/>
                          <a:gd name="T73" fmla="*/ 25 h 661"/>
                          <a:gd name="T74" fmla="*/ 145 w 875"/>
                          <a:gd name="T75" fmla="*/ 24 h 661"/>
                          <a:gd name="T76" fmla="*/ 138 w 875"/>
                          <a:gd name="T77" fmla="*/ 19 h 661"/>
                          <a:gd name="T78" fmla="*/ 126 w 875"/>
                          <a:gd name="T79" fmla="*/ 4 h 661"/>
                          <a:gd name="T80" fmla="*/ 117 w 875"/>
                          <a:gd name="T81" fmla="*/ 8 h 661"/>
                          <a:gd name="T82" fmla="*/ 116 w 875"/>
                          <a:gd name="T83" fmla="*/ 16 h 661"/>
                          <a:gd name="T84" fmla="*/ 108 w 875"/>
                          <a:gd name="T85" fmla="*/ 21 h 661"/>
                          <a:gd name="T86" fmla="*/ 110 w 875"/>
                          <a:gd name="T87" fmla="*/ 25 h 661"/>
                          <a:gd name="T88" fmla="*/ 116 w 875"/>
                          <a:gd name="T89" fmla="*/ 28 h 661"/>
                          <a:gd name="T90" fmla="*/ 104 w 875"/>
                          <a:gd name="T91" fmla="*/ 32 h 661"/>
                          <a:gd name="T92" fmla="*/ 97 w 875"/>
                          <a:gd name="T93" fmla="*/ 34 h 661"/>
                          <a:gd name="T94" fmla="*/ 93 w 875"/>
                          <a:gd name="T95" fmla="*/ 42 h 661"/>
                          <a:gd name="T96" fmla="*/ 74 w 875"/>
                          <a:gd name="T97" fmla="*/ 44 h 661"/>
                          <a:gd name="T98" fmla="*/ 51 w 875"/>
                          <a:gd name="T99" fmla="*/ 34 h 661"/>
                          <a:gd name="T100" fmla="*/ 38 w 875"/>
                          <a:gd name="T101" fmla="*/ 22 h 661"/>
                          <a:gd name="T102" fmla="*/ 33 w 875"/>
                          <a:gd name="T103" fmla="*/ 22 h 661"/>
                          <a:gd name="T104" fmla="*/ 24 w 875"/>
                          <a:gd name="T105" fmla="*/ 26 h 661"/>
                          <a:gd name="T106" fmla="*/ 17 w 875"/>
                          <a:gd name="T107" fmla="*/ 36 h 661"/>
                          <a:gd name="T108" fmla="*/ 18 w 875"/>
                          <a:gd name="T109" fmla="*/ 46 h 661"/>
                          <a:gd name="T110" fmla="*/ 8 w 875"/>
                          <a:gd name="T111" fmla="*/ 52 h 661"/>
                          <a:gd name="T112" fmla="*/ 0 w 875"/>
                          <a:gd name="T113" fmla="*/ 53 h 661"/>
                          <a:gd name="T114" fmla="*/ 89 w 875"/>
                          <a:gd name="T115" fmla="*/ 115 h 661"/>
                          <a:gd name="T116" fmla="*/ 94 w 875"/>
                          <a:gd name="T117" fmla="*/ 116 h 661"/>
                          <a:gd name="T118" fmla="*/ 93 w 875"/>
                          <a:gd name="T119" fmla="*/ 112 h 661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60000 65536"/>
                          <a:gd name="T178" fmla="*/ 0 60000 65536"/>
                          <a:gd name="T179" fmla="*/ 0 60000 65536"/>
                          <a:gd name="T180" fmla="*/ 0 w 875"/>
                          <a:gd name="T181" fmla="*/ 0 h 661"/>
                          <a:gd name="T182" fmla="*/ 875 w 875"/>
                          <a:gd name="T183" fmla="*/ 661 h 661"/>
                        </a:gdLst>
                        <a:ahLst/>
                        <a:cxnLst>
                          <a:cxn ang="T120">
                            <a:pos x="T0" y="T1"/>
                          </a:cxn>
                          <a:cxn ang="T121">
                            <a:pos x="T2" y="T3"/>
                          </a:cxn>
                          <a:cxn ang="T122">
                            <a:pos x="T4" y="T5"/>
                          </a:cxn>
                          <a:cxn ang="T123">
                            <a:pos x="T6" y="T7"/>
                          </a:cxn>
                          <a:cxn ang="T124">
                            <a:pos x="T8" y="T9"/>
                          </a:cxn>
                          <a:cxn ang="T125">
                            <a:pos x="T10" y="T11"/>
                          </a:cxn>
                          <a:cxn ang="T126">
                            <a:pos x="T12" y="T13"/>
                          </a:cxn>
                          <a:cxn ang="T127">
                            <a:pos x="T14" y="T15"/>
                          </a:cxn>
                          <a:cxn ang="T128">
                            <a:pos x="T16" y="T17"/>
                          </a:cxn>
                          <a:cxn ang="T129">
                            <a:pos x="T18" y="T19"/>
                          </a:cxn>
                          <a:cxn ang="T130">
                            <a:pos x="T20" y="T21"/>
                          </a:cxn>
                          <a:cxn ang="T131">
                            <a:pos x="T22" y="T23"/>
                          </a:cxn>
                          <a:cxn ang="T132">
                            <a:pos x="T24" y="T25"/>
                          </a:cxn>
                          <a:cxn ang="T133">
                            <a:pos x="T26" y="T27"/>
                          </a:cxn>
                          <a:cxn ang="T134">
                            <a:pos x="T28" y="T29"/>
                          </a:cxn>
                          <a:cxn ang="T135">
                            <a:pos x="T30" y="T31"/>
                          </a:cxn>
                          <a:cxn ang="T136">
                            <a:pos x="T32" y="T33"/>
                          </a:cxn>
                          <a:cxn ang="T137">
                            <a:pos x="T34" y="T35"/>
                          </a:cxn>
                          <a:cxn ang="T138">
                            <a:pos x="T36" y="T37"/>
                          </a:cxn>
                          <a:cxn ang="T139">
                            <a:pos x="T38" y="T39"/>
                          </a:cxn>
                          <a:cxn ang="T140">
                            <a:pos x="T40" y="T41"/>
                          </a:cxn>
                          <a:cxn ang="T141">
                            <a:pos x="T42" y="T43"/>
                          </a:cxn>
                          <a:cxn ang="T142">
                            <a:pos x="T44" y="T45"/>
                          </a:cxn>
                          <a:cxn ang="T143">
                            <a:pos x="T46" y="T47"/>
                          </a:cxn>
                          <a:cxn ang="T144">
                            <a:pos x="T48" y="T49"/>
                          </a:cxn>
                          <a:cxn ang="T145">
                            <a:pos x="T50" y="T51"/>
                          </a:cxn>
                          <a:cxn ang="T146">
                            <a:pos x="T52" y="T53"/>
                          </a:cxn>
                          <a:cxn ang="T147">
                            <a:pos x="T54" y="T55"/>
                          </a:cxn>
                          <a:cxn ang="T148">
                            <a:pos x="T56" y="T57"/>
                          </a:cxn>
                          <a:cxn ang="T149">
                            <a:pos x="T58" y="T59"/>
                          </a:cxn>
                          <a:cxn ang="T150">
                            <a:pos x="T60" y="T61"/>
                          </a:cxn>
                          <a:cxn ang="T151">
                            <a:pos x="T62" y="T63"/>
                          </a:cxn>
                          <a:cxn ang="T152">
                            <a:pos x="T64" y="T65"/>
                          </a:cxn>
                          <a:cxn ang="T153">
                            <a:pos x="T66" y="T67"/>
                          </a:cxn>
                          <a:cxn ang="T154">
                            <a:pos x="T68" y="T69"/>
                          </a:cxn>
                          <a:cxn ang="T155">
                            <a:pos x="T70" y="T71"/>
                          </a:cxn>
                          <a:cxn ang="T156">
                            <a:pos x="T72" y="T73"/>
                          </a:cxn>
                          <a:cxn ang="T157">
                            <a:pos x="T74" y="T75"/>
                          </a:cxn>
                          <a:cxn ang="T158">
                            <a:pos x="T76" y="T77"/>
                          </a:cxn>
                          <a:cxn ang="T159">
                            <a:pos x="T78" y="T79"/>
                          </a:cxn>
                          <a:cxn ang="T160">
                            <a:pos x="T80" y="T81"/>
                          </a:cxn>
                          <a:cxn ang="T161">
                            <a:pos x="T82" y="T83"/>
                          </a:cxn>
                          <a:cxn ang="T162">
                            <a:pos x="T84" y="T85"/>
                          </a:cxn>
                          <a:cxn ang="T163">
                            <a:pos x="T86" y="T87"/>
                          </a:cxn>
                          <a:cxn ang="T164">
                            <a:pos x="T88" y="T89"/>
                          </a:cxn>
                          <a:cxn ang="T165">
                            <a:pos x="T90" y="T91"/>
                          </a:cxn>
                          <a:cxn ang="T166">
                            <a:pos x="T92" y="T93"/>
                          </a:cxn>
                          <a:cxn ang="T167">
                            <a:pos x="T94" y="T95"/>
                          </a:cxn>
                          <a:cxn ang="T168">
                            <a:pos x="T96" y="T97"/>
                          </a:cxn>
                          <a:cxn ang="T169">
                            <a:pos x="T98" y="T99"/>
                          </a:cxn>
                          <a:cxn ang="T170">
                            <a:pos x="T100" y="T101"/>
                          </a:cxn>
                          <a:cxn ang="T171">
                            <a:pos x="T102" y="T103"/>
                          </a:cxn>
                          <a:cxn ang="T172">
                            <a:pos x="T104" y="T105"/>
                          </a:cxn>
                          <a:cxn ang="T173">
                            <a:pos x="T106" y="T107"/>
                          </a:cxn>
                          <a:cxn ang="T174">
                            <a:pos x="T108" y="T109"/>
                          </a:cxn>
                          <a:cxn ang="T175">
                            <a:pos x="T110" y="T111"/>
                          </a:cxn>
                          <a:cxn ang="T176">
                            <a:pos x="T112" y="T113"/>
                          </a:cxn>
                          <a:cxn ang="T177">
                            <a:pos x="T114" y="T115"/>
                          </a:cxn>
                          <a:cxn ang="T178">
                            <a:pos x="T116" y="T117"/>
                          </a:cxn>
                          <a:cxn ang="T179">
                            <a:pos x="T118" y="T119"/>
                          </a:cxn>
                        </a:cxnLst>
                        <a:rect l="T180" t="T181" r="T182" b="T183"/>
                        <a:pathLst>
                          <a:path w="875" h="661">
                            <a:moveTo>
                              <a:pt x="0" y="304"/>
                            </a:moveTo>
                            <a:lnTo>
                              <a:pt x="0" y="322"/>
                            </a:lnTo>
                            <a:lnTo>
                              <a:pt x="18" y="326"/>
                            </a:lnTo>
                            <a:lnTo>
                              <a:pt x="18" y="339"/>
                            </a:lnTo>
                            <a:lnTo>
                              <a:pt x="22" y="339"/>
                            </a:lnTo>
                            <a:lnTo>
                              <a:pt x="22" y="344"/>
                            </a:lnTo>
                            <a:lnTo>
                              <a:pt x="18" y="348"/>
                            </a:lnTo>
                            <a:lnTo>
                              <a:pt x="13" y="353"/>
                            </a:lnTo>
                            <a:lnTo>
                              <a:pt x="31" y="353"/>
                            </a:lnTo>
                            <a:lnTo>
                              <a:pt x="40" y="366"/>
                            </a:lnTo>
                            <a:lnTo>
                              <a:pt x="53" y="362"/>
                            </a:lnTo>
                            <a:lnTo>
                              <a:pt x="71" y="366"/>
                            </a:lnTo>
                            <a:lnTo>
                              <a:pt x="71" y="384"/>
                            </a:lnTo>
                            <a:lnTo>
                              <a:pt x="80" y="397"/>
                            </a:lnTo>
                            <a:lnTo>
                              <a:pt x="80" y="411"/>
                            </a:lnTo>
                            <a:lnTo>
                              <a:pt x="71" y="433"/>
                            </a:lnTo>
                            <a:lnTo>
                              <a:pt x="80" y="460"/>
                            </a:lnTo>
                            <a:lnTo>
                              <a:pt x="89" y="456"/>
                            </a:lnTo>
                            <a:lnTo>
                              <a:pt x="102" y="469"/>
                            </a:lnTo>
                            <a:lnTo>
                              <a:pt x="120" y="473"/>
                            </a:lnTo>
                            <a:lnTo>
                              <a:pt x="138" y="491"/>
                            </a:lnTo>
                            <a:lnTo>
                              <a:pt x="147" y="491"/>
                            </a:lnTo>
                            <a:lnTo>
                              <a:pt x="169" y="509"/>
                            </a:lnTo>
                            <a:lnTo>
                              <a:pt x="210" y="514"/>
                            </a:lnTo>
                            <a:lnTo>
                              <a:pt x="219" y="505"/>
                            </a:lnTo>
                            <a:lnTo>
                              <a:pt x="219" y="509"/>
                            </a:lnTo>
                            <a:lnTo>
                              <a:pt x="214" y="518"/>
                            </a:lnTo>
                            <a:lnTo>
                              <a:pt x="219" y="527"/>
                            </a:lnTo>
                            <a:lnTo>
                              <a:pt x="232" y="514"/>
                            </a:lnTo>
                            <a:lnTo>
                              <a:pt x="245" y="505"/>
                            </a:lnTo>
                            <a:lnTo>
                              <a:pt x="254" y="509"/>
                            </a:lnTo>
                            <a:lnTo>
                              <a:pt x="259" y="509"/>
                            </a:lnTo>
                            <a:lnTo>
                              <a:pt x="272" y="505"/>
                            </a:lnTo>
                            <a:lnTo>
                              <a:pt x="290" y="491"/>
                            </a:lnTo>
                            <a:lnTo>
                              <a:pt x="303" y="491"/>
                            </a:lnTo>
                            <a:lnTo>
                              <a:pt x="303" y="500"/>
                            </a:lnTo>
                            <a:lnTo>
                              <a:pt x="317" y="496"/>
                            </a:lnTo>
                            <a:lnTo>
                              <a:pt x="330" y="500"/>
                            </a:lnTo>
                            <a:lnTo>
                              <a:pt x="330" y="509"/>
                            </a:lnTo>
                            <a:lnTo>
                              <a:pt x="344" y="500"/>
                            </a:lnTo>
                            <a:lnTo>
                              <a:pt x="353" y="509"/>
                            </a:lnTo>
                            <a:lnTo>
                              <a:pt x="353" y="540"/>
                            </a:lnTo>
                            <a:lnTo>
                              <a:pt x="339" y="554"/>
                            </a:lnTo>
                            <a:lnTo>
                              <a:pt x="344" y="576"/>
                            </a:lnTo>
                            <a:lnTo>
                              <a:pt x="357" y="567"/>
                            </a:lnTo>
                            <a:lnTo>
                              <a:pt x="357" y="581"/>
                            </a:lnTo>
                            <a:lnTo>
                              <a:pt x="370" y="590"/>
                            </a:lnTo>
                            <a:lnTo>
                              <a:pt x="357" y="603"/>
                            </a:lnTo>
                            <a:lnTo>
                              <a:pt x="379" y="612"/>
                            </a:lnTo>
                            <a:lnTo>
                              <a:pt x="388" y="608"/>
                            </a:lnTo>
                            <a:lnTo>
                              <a:pt x="393" y="608"/>
                            </a:lnTo>
                            <a:lnTo>
                              <a:pt x="393" y="612"/>
                            </a:lnTo>
                            <a:lnTo>
                              <a:pt x="393" y="621"/>
                            </a:lnTo>
                            <a:lnTo>
                              <a:pt x="402" y="621"/>
                            </a:lnTo>
                            <a:lnTo>
                              <a:pt x="402" y="599"/>
                            </a:lnTo>
                            <a:lnTo>
                              <a:pt x="406" y="599"/>
                            </a:lnTo>
                            <a:lnTo>
                              <a:pt x="411" y="594"/>
                            </a:lnTo>
                            <a:lnTo>
                              <a:pt x="433" y="594"/>
                            </a:lnTo>
                            <a:lnTo>
                              <a:pt x="442" y="590"/>
                            </a:lnTo>
                            <a:lnTo>
                              <a:pt x="455" y="585"/>
                            </a:lnTo>
                            <a:lnTo>
                              <a:pt x="473" y="594"/>
                            </a:lnTo>
                            <a:lnTo>
                              <a:pt x="469" y="603"/>
                            </a:lnTo>
                            <a:lnTo>
                              <a:pt x="487" y="603"/>
                            </a:lnTo>
                            <a:lnTo>
                              <a:pt x="487" y="608"/>
                            </a:lnTo>
                            <a:lnTo>
                              <a:pt x="496" y="608"/>
                            </a:lnTo>
                            <a:lnTo>
                              <a:pt x="500" y="612"/>
                            </a:lnTo>
                            <a:lnTo>
                              <a:pt x="518" y="608"/>
                            </a:lnTo>
                            <a:lnTo>
                              <a:pt x="513" y="621"/>
                            </a:lnTo>
                            <a:lnTo>
                              <a:pt x="518" y="630"/>
                            </a:lnTo>
                            <a:lnTo>
                              <a:pt x="531" y="625"/>
                            </a:lnTo>
                            <a:lnTo>
                              <a:pt x="522" y="621"/>
                            </a:lnTo>
                            <a:lnTo>
                              <a:pt x="522" y="612"/>
                            </a:lnTo>
                            <a:lnTo>
                              <a:pt x="531" y="616"/>
                            </a:lnTo>
                            <a:lnTo>
                              <a:pt x="545" y="603"/>
                            </a:lnTo>
                            <a:lnTo>
                              <a:pt x="554" y="608"/>
                            </a:lnTo>
                            <a:lnTo>
                              <a:pt x="567" y="594"/>
                            </a:lnTo>
                            <a:lnTo>
                              <a:pt x="571" y="585"/>
                            </a:lnTo>
                            <a:lnTo>
                              <a:pt x="571" y="599"/>
                            </a:lnTo>
                            <a:lnTo>
                              <a:pt x="580" y="594"/>
                            </a:lnTo>
                            <a:lnTo>
                              <a:pt x="589" y="585"/>
                            </a:lnTo>
                            <a:lnTo>
                              <a:pt x="589" y="590"/>
                            </a:lnTo>
                            <a:lnTo>
                              <a:pt x="594" y="585"/>
                            </a:lnTo>
                            <a:lnTo>
                              <a:pt x="603" y="590"/>
                            </a:lnTo>
                            <a:lnTo>
                              <a:pt x="612" y="585"/>
                            </a:lnTo>
                            <a:lnTo>
                              <a:pt x="616" y="576"/>
                            </a:lnTo>
                            <a:lnTo>
                              <a:pt x="625" y="576"/>
                            </a:lnTo>
                            <a:lnTo>
                              <a:pt x="634" y="563"/>
                            </a:lnTo>
                            <a:lnTo>
                              <a:pt x="638" y="567"/>
                            </a:lnTo>
                            <a:lnTo>
                              <a:pt x="643" y="558"/>
                            </a:lnTo>
                            <a:lnTo>
                              <a:pt x="661" y="545"/>
                            </a:lnTo>
                            <a:lnTo>
                              <a:pt x="656" y="523"/>
                            </a:lnTo>
                            <a:lnTo>
                              <a:pt x="665" y="532"/>
                            </a:lnTo>
                            <a:lnTo>
                              <a:pt x="674" y="518"/>
                            </a:lnTo>
                            <a:lnTo>
                              <a:pt x="674" y="509"/>
                            </a:lnTo>
                            <a:lnTo>
                              <a:pt x="683" y="505"/>
                            </a:lnTo>
                            <a:lnTo>
                              <a:pt x="683" y="482"/>
                            </a:lnTo>
                            <a:lnTo>
                              <a:pt x="692" y="473"/>
                            </a:lnTo>
                            <a:lnTo>
                              <a:pt x="665" y="469"/>
                            </a:lnTo>
                            <a:lnTo>
                              <a:pt x="674" y="465"/>
                            </a:lnTo>
                            <a:lnTo>
                              <a:pt x="688" y="451"/>
                            </a:lnTo>
                            <a:lnTo>
                              <a:pt x="670" y="438"/>
                            </a:lnTo>
                            <a:lnTo>
                              <a:pt x="683" y="442"/>
                            </a:lnTo>
                            <a:lnTo>
                              <a:pt x="688" y="433"/>
                            </a:lnTo>
                            <a:lnTo>
                              <a:pt x="674" y="424"/>
                            </a:lnTo>
                            <a:lnTo>
                              <a:pt x="674" y="406"/>
                            </a:lnTo>
                            <a:lnTo>
                              <a:pt x="670" y="389"/>
                            </a:lnTo>
                            <a:lnTo>
                              <a:pt x="652" y="389"/>
                            </a:lnTo>
                            <a:lnTo>
                              <a:pt x="656" y="375"/>
                            </a:lnTo>
                            <a:lnTo>
                              <a:pt x="670" y="371"/>
                            </a:lnTo>
                            <a:lnTo>
                              <a:pt x="674" y="362"/>
                            </a:lnTo>
                            <a:lnTo>
                              <a:pt x="692" y="357"/>
                            </a:lnTo>
                            <a:lnTo>
                              <a:pt x="701" y="344"/>
                            </a:lnTo>
                            <a:lnTo>
                              <a:pt x="670" y="335"/>
                            </a:lnTo>
                            <a:lnTo>
                              <a:pt x="652" y="348"/>
                            </a:lnTo>
                            <a:lnTo>
                              <a:pt x="638" y="339"/>
                            </a:lnTo>
                            <a:lnTo>
                              <a:pt x="643" y="339"/>
                            </a:lnTo>
                            <a:lnTo>
                              <a:pt x="625" y="322"/>
                            </a:lnTo>
                            <a:lnTo>
                              <a:pt x="634" y="317"/>
                            </a:lnTo>
                            <a:lnTo>
                              <a:pt x="652" y="313"/>
                            </a:lnTo>
                            <a:lnTo>
                              <a:pt x="656" y="299"/>
                            </a:lnTo>
                            <a:lnTo>
                              <a:pt x="674" y="281"/>
                            </a:lnTo>
                            <a:lnTo>
                              <a:pt x="674" y="277"/>
                            </a:lnTo>
                            <a:lnTo>
                              <a:pt x="683" y="277"/>
                            </a:lnTo>
                            <a:lnTo>
                              <a:pt x="692" y="286"/>
                            </a:lnTo>
                            <a:lnTo>
                              <a:pt x="683" y="295"/>
                            </a:lnTo>
                            <a:lnTo>
                              <a:pt x="674" y="304"/>
                            </a:lnTo>
                            <a:lnTo>
                              <a:pt x="688" y="304"/>
                            </a:lnTo>
                            <a:lnTo>
                              <a:pt x="674" y="317"/>
                            </a:lnTo>
                            <a:lnTo>
                              <a:pt x="688" y="317"/>
                            </a:lnTo>
                            <a:lnTo>
                              <a:pt x="701" y="304"/>
                            </a:lnTo>
                            <a:lnTo>
                              <a:pt x="719" y="299"/>
                            </a:lnTo>
                            <a:lnTo>
                              <a:pt x="719" y="295"/>
                            </a:lnTo>
                            <a:lnTo>
                              <a:pt x="741" y="281"/>
                            </a:lnTo>
                            <a:lnTo>
                              <a:pt x="746" y="281"/>
                            </a:lnTo>
                            <a:lnTo>
                              <a:pt x="759" y="263"/>
                            </a:lnTo>
                            <a:lnTo>
                              <a:pt x="764" y="259"/>
                            </a:lnTo>
                            <a:lnTo>
                              <a:pt x="781" y="268"/>
                            </a:lnTo>
                            <a:lnTo>
                              <a:pt x="781" y="254"/>
                            </a:lnTo>
                            <a:lnTo>
                              <a:pt x="795" y="241"/>
                            </a:lnTo>
                            <a:lnTo>
                              <a:pt x="804" y="232"/>
                            </a:lnTo>
                            <a:lnTo>
                              <a:pt x="813" y="246"/>
                            </a:lnTo>
                            <a:lnTo>
                              <a:pt x="808" y="237"/>
                            </a:lnTo>
                            <a:lnTo>
                              <a:pt x="817" y="228"/>
                            </a:lnTo>
                            <a:lnTo>
                              <a:pt x="822" y="223"/>
                            </a:lnTo>
                            <a:lnTo>
                              <a:pt x="817" y="201"/>
                            </a:lnTo>
                            <a:lnTo>
                              <a:pt x="826" y="192"/>
                            </a:lnTo>
                            <a:lnTo>
                              <a:pt x="844" y="192"/>
                            </a:lnTo>
                            <a:lnTo>
                              <a:pt x="875" y="143"/>
                            </a:lnTo>
                            <a:lnTo>
                              <a:pt x="871" y="129"/>
                            </a:lnTo>
                            <a:lnTo>
                              <a:pt x="862" y="125"/>
                            </a:lnTo>
                            <a:lnTo>
                              <a:pt x="839" y="143"/>
                            </a:lnTo>
                            <a:lnTo>
                              <a:pt x="817" y="134"/>
                            </a:lnTo>
                            <a:lnTo>
                              <a:pt x="813" y="116"/>
                            </a:lnTo>
                            <a:lnTo>
                              <a:pt x="795" y="103"/>
                            </a:lnTo>
                            <a:lnTo>
                              <a:pt x="786" y="103"/>
                            </a:lnTo>
                            <a:lnTo>
                              <a:pt x="781" y="98"/>
                            </a:lnTo>
                            <a:lnTo>
                              <a:pt x="768" y="98"/>
                            </a:lnTo>
                            <a:lnTo>
                              <a:pt x="764" y="76"/>
                            </a:lnTo>
                            <a:lnTo>
                              <a:pt x="741" y="18"/>
                            </a:lnTo>
                            <a:lnTo>
                              <a:pt x="714" y="4"/>
                            </a:lnTo>
                            <a:lnTo>
                              <a:pt x="701" y="0"/>
                            </a:lnTo>
                            <a:lnTo>
                              <a:pt x="674" y="4"/>
                            </a:lnTo>
                            <a:lnTo>
                              <a:pt x="661" y="22"/>
                            </a:lnTo>
                            <a:lnTo>
                              <a:pt x="661" y="27"/>
                            </a:lnTo>
                            <a:lnTo>
                              <a:pt x="670" y="27"/>
                            </a:lnTo>
                            <a:lnTo>
                              <a:pt x="670" y="40"/>
                            </a:lnTo>
                            <a:lnTo>
                              <a:pt x="643" y="76"/>
                            </a:lnTo>
                            <a:lnTo>
                              <a:pt x="652" y="85"/>
                            </a:lnTo>
                            <a:lnTo>
                              <a:pt x="638" y="89"/>
                            </a:lnTo>
                            <a:lnTo>
                              <a:pt x="625" y="103"/>
                            </a:lnTo>
                            <a:lnTo>
                              <a:pt x="612" y="94"/>
                            </a:lnTo>
                            <a:lnTo>
                              <a:pt x="607" y="111"/>
                            </a:lnTo>
                            <a:lnTo>
                              <a:pt x="594" y="129"/>
                            </a:lnTo>
                            <a:lnTo>
                              <a:pt x="598" y="138"/>
                            </a:lnTo>
                            <a:lnTo>
                              <a:pt x="612" y="134"/>
                            </a:lnTo>
                            <a:lnTo>
                              <a:pt x="621" y="138"/>
                            </a:lnTo>
                            <a:lnTo>
                              <a:pt x="638" y="129"/>
                            </a:lnTo>
                            <a:lnTo>
                              <a:pt x="647" y="147"/>
                            </a:lnTo>
                            <a:lnTo>
                              <a:pt x="661" y="147"/>
                            </a:lnTo>
                            <a:lnTo>
                              <a:pt x="656" y="156"/>
                            </a:lnTo>
                            <a:lnTo>
                              <a:pt x="643" y="165"/>
                            </a:lnTo>
                            <a:lnTo>
                              <a:pt x="621" y="161"/>
                            </a:lnTo>
                            <a:lnTo>
                              <a:pt x="598" y="183"/>
                            </a:lnTo>
                            <a:lnTo>
                              <a:pt x="585" y="179"/>
                            </a:lnTo>
                            <a:lnTo>
                              <a:pt x="571" y="196"/>
                            </a:lnTo>
                            <a:lnTo>
                              <a:pt x="563" y="196"/>
                            </a:lnTo>
                            <a:lnTo>
                              <a:pt x="554" y="187"/>
                            </a:lnTo>
                            <a:lnTo>
                              <a:pt x="545" y="187"/>
                            </a:lnTo>
                            <a:lnTo>
                              <a:pt x="536" y="201"/>
                            </a:lnTo>
                            <a:lnTo>
                              <a:pt x="549" y="219"/>
                            </a:lnTo>
                            <a:lnTo>
                              <a:pt x="531" y="228"/>
                            </a:lnTo>
                            <a:lnTo>
                              <a:pt x="522" y="241"/>
                            </a:lnTo>
                            <a:lnTo>
                              <a:pt x="496" y="241"/>
                            </a:lnTo>
                            <a:lnTo>
                              <a:pt x="464" y="250"/>
                            </a:lnTo>
                            <a:lnTo>
                              <a:pt x="455" y="263"/>
                            </a:lnTo>
                            <a:lnTo>
                              <a:pt x="415" y="250"/>
                            </a:lnTo>
                            <a:lnTo>
                              <a:pt x="406" y="241"/>
                            </a:lnTo>
                            <a:lnTo>
                              <a:pt x="326" y="237"/>
                            </a:lnTo>
                            <a:lnTo>
                              <a:pt x="308" y="205"/>
                            </a:lnTo>
                            <a:lnTo>
                              <a:pt x="286" y="192"/>
                            </a:lnTo>
                            <a:lnTo>
                              <a:pt x="250" y="187"/>
                            </a:lnTo>
                            <a:lnTo>
                              <a:pt x="250" y="147"/>
                            </a:lnTo>
                            <a:lnTo>
                              <a:pt x="228" y="129"/>
                            </a:lnTo>
                            <a:lnTo>
                              <a:pt x="210" y="120"/>
                            </a:lnTo>
                            <a:lnTo>
                              <a:pt x="205" y="107"/>
                            </a:lnTo>
                            <a:lnTo>
                              <a:pt x="196" y="107"/>
                            </a:lnTo>
                            <a:lnTo>
                              <a:pt x="192" y="107"/>
                            </a:lnTo>
                            <a:lnTo>
                              <a:pt x="183" y="120"/>
                            </a:lnTo>
                            <a:lnTo>
                              <a:pt x="174" y="129"/>
                            </a:lnTo>
                            <a:lnTo>
                              <a:pt x="174" y="147"/>
                            </a:lnTo>
                            <a:lnTo>
                              <a:pt x="161" y="156"/>
                            </a:lnTo>
                            <a:lnTo>
                              <a:pt x="134" y="152"/>
                            </a:lnTo>
                            <a:lnTo>
                              <a:pt x="120" y="183"/>
                            </a:lnTo>
                            <a:lnTo>
                              <a:pt x="125" y="192"/>
                            </a:lnTo>
                            <a:lnTo>
                              <a:pt x="89" y="192"/>
                            </a:lnTo>
                            <a:lnTo>
                              <a:pt x="89" y="201"/>
                            </a:lnTo>
                            <a:lnTo>
                              <a:pt x="98" y="205"/>
                            </a:lnTo>
                            <a:lnTo>
                              <a:pt x="102" y="228"/>
                            </a:lnTo>
                            <a:lnTo>
                              <a:pt x="94" y="254"/>
                            </a:lnTo>
                            <a:lnTo>
                              <a:pt x="94" y="259"/>
                            </a:lnTo>
                            <a:lnTo>
                              <a:pt x="80" y="263"/>
                            </a:lnTo>
                            <a:lnTo>
                              <a:pt x="62" y="277"/>
                            </a:lnTo>
                            <a:lnTo>
                              <a:pt x="44" y="277"/>
                            </a:lnTo>
                            <a:lnTo>
                              <a:pt x="35" y="290"/>
                            </a:lnTo>
                            <a:lnTo>
                              <a:pt x="27" y="281"/>
                            </a:lnTo>
                            <a:lnTo>
                              <a:pt x="18" y="281"/>
                            </a:lnTo>
                            <a:lnTo>
                              <a:pt x="13" y="290"/>
                            </a:lnTo>
                            <a:lnTo>
                              <a:pt x="0" y="295"/>
                            </a:lnTo>
                            <a:lnTo>
                              <a:pt x="0" y="304"/>
                            </a:lnTo>
                            <a:close/>
                            <a:moveTo>
                              <a:pt x="504" y="639"/>
                            </a:moveTo>
                            <a:lnTo>
                              <a:pt x="509" y="643"/>
                            </a:lnTo>
                            <a:lnTo>
                              <a:pt x="504" y="648"/>
                            </a:lnTo>
                            <a:lnTo>
                              <a:pt x="504" y="657"/>
                            </a:lnTo>
                            <a:lnTo>
                              <a:pt x="513" y="661"/>
                            </a:lnTo>
                            <a:lnTo>
                              <a:pt x="518" y="657"/>
                            </a:lnTo>
                            <a:lnTo>
                              <a:pt x="531" y="652"/>
                            </a:lnTo>
                            <a:lnTo>
                              <a:pt x="536" y="639"/>
                            </a:lnTo>
                            <a:lnTo>
                              <a:pt x="531" y="634"/>
                            </a:lnTo>
                            <a:lnTo>
                              <a:pt x="527" y="634"/>
                            </a:lnTo>
                            <a:lnTo>
                              <a:pt x="518" y="639"/>
                            </a:lnTo>
                            <a:lnTo>
                              <a:pt x="513" y="634"/>
                            </a:lnTo>
                            <a:lnTo>
                              <a:pt x="504" y="639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19" name="Freeform 129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399" y="2271"/>
                        <a:ext cx="26" cy="56"/>
                      </a:xfrm>
                      <a:custGeom>
                        <a:avLst/>
                        <a:gdLst>
                          <a:gd name="T0" fmla="*/ 13 w 27"/>
                          <a:gd name="T1" fmla="*/ 0 h 59"/>
                          <a:gd name="T2" fmla="*/ 13 w 27"/>
                          <a:gd name="T3" fmla="*/ 5 h 59"/>
                          <a:gd name="T4" fmla="*/ 13 w 27"/>
                          <a:gd name="T5" fmla="*/ 9 h 59"/>
                          <a:gd name="T6" fmla="*/ 9 w 27"/>
                          <a:gd name="T7" fmla="*/ 9 h 59"/>
                          <a:gd name="T8" fmla="*/ 0 w 27"/>
                          <a:gd name="T9" fmla="*/ 9 h 59"/>
                          <a:gd name="T10" fmla="*/ 4 w 27"/>
                          <a:gd name="T11" fmla="*/ 9 h 59"/>
                          <a:gd name="T12" fmla="*/ 9 w 27"/>
                          <a:gd name="T13" fmla="*/ 9 h 59"/>
                          <a:gd name="T14" fmla="*/ 13 w 27"/>
                          <a:gd name="T15" fmla="*/ 12 h 59"/>
                          <a:gd name="T16" fmla="*/ 13 w 27"/>
                          <a:gd name="T17" fmla="*/ 12 h 59"/>
                          <a:gd name="T18" fmla="*/ 13 w 27"/>
                          <a:gd name="T19" fmla="*/ 9 h 59"/>
                          <a:gd name="T20" fmla="*/ 13 w 27"/>
                          <a:gd name="T21" fmla="*/ 9 h 59"/>
                          <a:gd name="T22" fmla="*/ 13 w 27"/>
                          <a:gd name="T23" fmla="*/ 9 h 59"/>
                          <a:gd name="T24" fmla="*/ 13 w 27"/>
                          <a:gd name="T25" fmla="*/ 9 h 59"/>
                          <a:gd name="T26" fmla="*/ 13 w 27"/>
                          <a:gd name="T27" fmla="*/ 5 h 59"/>
                          <a:gd name="T28" fmla="*/ 13 w 27"/>
                          <a:gd name="T29" fmla="*/ 0 h 59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w 27"/>
                          <a:gd name="T46" fmla="*/ 0 h 59"/>
                          <a:gd name="T47" fmla="*/ 27 w 27"/>
                          <a:gd name="T48" fmla="*/ 59 h 59"/>
                        </a:gdLst>
                        <a:ahLst/>
                        <a:cxnLst>
                          <a:cxn ang="T30">
                            <a:pos x="T0" y="T1"/>
                          </a:cxn>
                          <a:cxn ang="T31">
                            <a:pos x="T2" y="T3"/>
                          </a:cxn>
                          <a:cxn ang="T32">
                            <a:pos x="T4" y="T5"/>
                          </a:cxn>
                          <a:cxn ang="T33">
                            <a:pos x="T6" y="T7"/>
                          </a:cxn>
                          <a:cxn ang="T34">
                            <a:pos x="T8" y="T9"/>
                          </a:cxn>
                          <a:cxn ang="T35">
                            <a:pos x="T10" y="T11"/>
                          </a:cxn>
                          <a:cxn ang="T36">
                            <a:pos x="T12" y="T13"/>
                          </a:cxn>
                          <a:cxn ang="T37">
                            <a:pos x="T14" y="T15"/>
                          </a:cxn>
                          <a:cxn ang="T38">
                            <a:pos x="T16" y="T17"/>
                          </a:cxn>
                          <a:cxn ang="T39">
                            <a:pos x="T18" y="T19"/>
                          </a:cxn>
                          <a:cxn ang="T40">
                            <a:pos x="T20" y="T21"/>
                          </a:cxn>
                          <a:cxn ang="T41">
                            <a:pos x="T22" y="T23"/>
                          </a:cxn>
                          <a:cxn ang="T42">
                            <a:pos x="T24" y="T25"/>
                          </a:cxn>
                          <a:cxn ang="T43">
                            <a:pos x="T26" y="T27"/>
                          </a:cxn>
                          <a:cxn ang="T44">
                            <a:pos x="T28" y="T29"/>
                          </a:cxn>
                        </a:cxnLst>
                        <a:rect l="T45" t="T46" r="T47" b="T48"/>
                        <a:pathLst>
                          <a:path w="27" h="59">
                            <a:moveTo>
                              <a:pt x="22" y="0"/>
                            </a:moveTo>
                            <a:lnTo>
                              <a:pt x="13" y="5"/>
                            </a:lnTo>
                            <a:lnTo>
                              <a:pt x="13" y="14"/>
                            </a:lnTo>
                            <a:lnTo>
                              <a:pt x="9" y="14"/>
                            </a:lnTo>
                            <a:lnTo>
                              <a:pt x="0" y="32"/>
                            </a:lnTo>
                            <a:lnTo>
                              <a:pt x="4" y="45"/>
                            </a:lnTo>
                            <a:lnTo>
                              <a:pt x="9" y="45"/>
                            </a:lnTo>
                            <a:lnTo>
                              <a:pt x="13" y="59"/>
                            </a:lnTo>
                            <a:lnTo>
                              <a:pt x="18" y="59"/>
                            </a:lnTo>
                            <a:lnTo>
                              <a:pt x="18" y="45"/>
                            </a:lnTo>
                            <a:lnTo>
                              <a:pt x="22" y="36"/>
                            </a:lnTo>
                            <a:lnTo>
                              <a:pt x="22" y="18"/>
                            </a:lnTo>
                            <a:lnTo>
                              <a:pt x="27" y="14"/>
                            </a:lnTo>
                            <a:lnTo>
                              <a:pt x="27" y="5"/>
                            </a:lnTo>
                            <a:lnTo>
                              <a:pt x="22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0" name="Freeform 130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319" y="1968"/>
                        <a:ext cx="97" cy="46"/>
                      </a:xfrm>
                      <a:custGeom>
                        <a:avLst/>
                        <a:gdLst>
                          <a:gd name="T0" fmla="*/ 0 w 103"/>
                          <a:gd name="T1" fmla="*/ 0 h 49"/>
                          <a:gd name="T2" fmla="*/ 8 w 103"/>
                          <a:gd name="T3" fmla="*/ 8 h 49"/>
                          <a:gd name="T4" fmla="*/ 8 w 103"/>
                          <a:gd name="T5" fmla="*/ 8 h 49"/>
                          <a:gd name="T6" fmla="*/ 8 w 103"/>
                          <a:gd name="T7" fmla="*/ 8 h 49"/>
                          <a:gd name="T8" fmla="*/ 8 w 103"/>
                          <a:gd name="T9" fmla="*/ 8 h 49"/>
                          <a:gd name="T10" fmla="*/ 8 w 103"/>
                          <a:gd name="T11" fmla="*/ 8 h 49"/>
                          <a:gd name="T12" fmla="*/ 8 w 103"/>
                          <a:gd name="T13" fmla="*/ 8 h 49"/>
                          <a:gd name="T14" fmla="*/ 8 w 103"/>
                          <a:gd name="T15" fmla="*/ 8 h 49"/>
                          <a:gd name="T16" fmla="*/ 10 w 103"/>
                          <a:gd name="T17" fmla="*/ 8 h 49"/>
                          <a:gd name="T18" fmla="*/ 12 w 103"/>
                          <a:gd name="T19" fmla="*/ 8 h 49"/>
                          <a:gd name="T20" fmla="*/ 13 w 103"/>
                          <a:gd name="T21" fmla="*/ 8 h 49"/>
                          <a:gd name="T22" fmla="*/ 15 w 103"/>
                          <a:gd name="T23" fmla="*/ 8 h 49"/>
                          <a:gd name="T24" fmla="*/ 16 w 103"/>
                          <a:gd name="T25" fmla="*/ 8 h 49"/>
                          <a:gd name="T26" fmla="*/ 17 w 103"/>
                          <a:gd name="T27" fmla="*/ 8 h 49"/>
                          <a:gd name="T28" fmla="*/ 18 w 103"/>
                          <a:gd name="T29" fmla="*/ 8 h 49"/>
                          <a:gd name="T30" fmla="*/ 16 w 103"/>
                          <a:gd name="T31" fmla="*/ 8 h 49"/>
                          <a:gd name="T32" fmla="*/ 16 w 103"/>
                          <a:gd name="T33" fmla="*/ 8 h 49"/>
                          <a:gd name="T34" fmla="*/ 16 w 103"/>
                          <a:gd name="T35" fmla="*/ 8 h 49"/>
                          <a:gd name="T36" fmla="*/ 16 w 103"/>
                          <a:gd name="T37" fmla="*/ 8 h 49"/>
                          <a:gd name="T38" fmla="*/ 15 w 103"/>
                          <a:gd name="T39" fmla="*/ 8 h 49"/>
                          <a:gd name="T40" fmla="*/ 16 w 103"/>
                          <a:gd name="T41" fmla="*/ 8 h 49"/>
                          <a:gd name="T42" fmla="*/ 13 w 103"/>
                          <a:gd name="T43" fmla="*/ 8 h 49"/>
                          <a:gd name="T44" fmla="*/ 13 w 103"/>
                          <a:gd name="T45" fmla="*/ 8 h 49"/>
                          <a:gd name="T46" fmla="*/ 11 w 103"/>
                          <a:gd name="T47" fmla="*/ 8 h 49"/>
                          <a:gd name="T48" fmla="*/ 11 w 103"/>
                          <a:gd name="T49" fmla="*/ 8 h 49"/>
                          <a:gd name="T50" fmla="*/ 10 w 103"/>
                          <a:gd name="T51" fmla="*/ 8 h 49"/>
                          <a:gd name="T52" fmla="*/ 8 w 103"/>
                          <a:gd name="T53" fmla="*/ 8 h 49"/>
                          <a:gd name="T54" fmla="*/ 8 w 103"/>
                          <a:gd name="T55" fmla="*/ 8 h 49"/>
                          <a:gd name="T56" fmla="*/ 8 w 103"/>
                          <a:gd name="T57" fmla="*/ 8 h 49"/>
                          <a:gd name="T58" fmla="*/ 8 w 103"/>
                          <a:gd name="T59" fmla="*/ 4 h 49"/>
                          <a:gd name="T60" fmla="*/ 8 w 103"/>
                          <a:gd name="T61" fmla="*/ 4 h 49"/>
                          <a:gd name="T62" fmla="*/ 8 w 103"/>
                          <a:gd name="T63" fmla="*/ 0 h 49"/>
                          <a:gd name="T64" fmla="*/ 5 w 103"/>
                          <a:gd name="T65" fmla="*/ 0 h 49"/>
                          <a:gd name="T66" fmla="*/ 0 w 103"/>
                          <a:gd name="T67" fmla="*/ 0 h 49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w 103"/>
                          <a:gd name="T103" fmla="*/ 0 h 49"/>
                          <a:gd name="T104" fmla="*/ 103 w 103"/>
                          <a:gd name="T105" fmla="*/ 49 h 49"/>
                        </a:gdLst>
                        <a:ahLst/>
                        <a:cxnLst>
                          <a:cxn ang="T68">
                            <a:pos x="T0" y="T1"/>
                          </a:cxn>
                          <a:cxn ang="T69">
                            <a:pos x="T2" y="T3"/>
                          </a:cxn>
                          <a:cxn ang="T70">
                            <a:pos x="T4" y="T5"/>
                          </a:cxn>
                          <a:cxn ang="T71">
                            <a:pos x="T6" y="T7"/>
                          </a:cxn>
                          <a:cxn ang="T72">
                            <a:pos x="T8" y="T9"/>
                          </a:cxn>
                          <a:cxn ang="T73">
                            <a:pos x="T10" y="T11"/>
                          </a:cxn>
                          <a:cxn ang="T74">
                            <a:pos x="T12" y="T13"/>
                          </a:cxn>
                          <a:cxn ang="T75">
                            <a:pos x="T14" y="T15"/>
                          </a:cxn>
                          <a:cxn ang="T76">
                            <a:pos x="T16" y="T17"/>
                          </a:cxn>
                          <a:cxn ang="T77">
                            <a:pos x="T18" y="T19"/>
                          </a:cxn>
                          <a:cxn ang="T78">
                            <a:pos x="T20" y="T21"/>
                          </a:cxn>
                          <a:cxn ang="T79">
                            <a:pos x="T22" y="T23"/>
                          </a:cxn>
                          <a:cxn ang="T80">
                            <a:pos x="T24" y="T25"/>
                          </a:cxn>
                          <a:cxn ang="T81">
                            <a:pos x="T26" y="T27"/>
                          </a:cxn>
                          <a:cxn ang="T82">
                            <a:pos x="T28" y="T29"/>
                          </a:cxn>
                          <a:cxn ang="T83">
                            <a:pos x="T30" y="T31"/>
                          </a:cxn>
                          <a:cxn ang="T84">
                            <a:pos x="T32" y="T33"/>
                          </a:cxn>
                          <a:cxn ang="T85">
                            <a:pos x="T34" y="T35"/>
                          </a:cxn>
                          <a:cxn ang="T86">
                            <a:pos x="T36" y="T37"/>
                          </a:cxn>
                          <a:cxn ang="T87">
                            <a:pos x="T38" y="T39"/>
                          </a:cxn>
                          <a:cxn ang="T88">
                            <a:pos x="T40" y="T41"/>
                          </a:cxn>
                          <a:cxn ang="T89">
                            <a:pos x="T42" y="T43"/>
                          </a:cxn>
                          <a:cxn ang="T90">
                            <a:pos x="T44" y="T45"/>
                          </a:cxn>
                          <a:cxn ang="T91">
                            <a:pos x="T46" y="T47"/>
                          </a:cxn>
                          <a:cxn ang="T92">
                            <a:pos x="T48" y="T49"/>
                          </a:cxn>
                          <a:cxn ang="T93">
                            <a:pos x="T50" y="T51"/>
                          </a:cxn>
                          <a:cxn ang="T94">
                            <a:pos x="T52" y="T53"/>
                          </a:cxn>
                          <a:cxn ang="T95">
                            <a:pos x="T54" y="T55"/>
                          </a:cxn>
                          <a:cxn ang="T96">
                            <a:pos x="T56" y="T57"/>
                          </a:cxn>
                          <a:cxn ang="T97">
                            <a:pos x="T58" y="T59"/>
                          </a:cxn>
                          <a:cxn ang="T98">
                            <a:pos x="T60" y="T61"/>
                          </a:cxn>
                          <a:cxn ang="T99">
                            <a:pos x="T62" y="T63"/>
                          </a:cxn>
                          <a:cxn ang="T100">
                            <a:pos x="T64" y="T65"/>
                          </a:cxn>
                          <a:cxn ang="T101">
                            <a:pos x="T66" y="T67"/>
                          </a:cxn>
                        </a:cxnLst>
                        <a:rect l="T102" t="T103" r="T104" b="T105"/>
                        <a:pathLst>
                          <a:path w="103" h="49">
                            <a:moveTo>
                              <a:pt x="0" y="0"/>
                            </a:moveTo>
                            <a:lnTo>
                              <a:pt x="18" y="9"/>
                            </a:lnTo>
                            <a:lnTo>
                              <a:pt x="23" y="18"/>
                            </a:lnTo>
                            <a:lnTo>
                              <a:pt x="23" y="31"/>
                            </a:lnTo>
                            <a:lnTo>
                              <a:pt x="18" y="35"/>
                            </a:lnTo>
                            <a:lnTo>
                              <a:pt x="40" y="40"/>
                            </a:lnTo>
                            <a:lnTo>
                              <a:pt x="49" y="44"/>
                            </a:lnTo>
                            <a:lnTo>
                              <a:pt x="58" y="49"/>
                            </a:lnTo>
                            <a:lnTo>
                              <a:pt x="63" y="44"/>
                            </a:lnTo>
                            <a:lnTo>
                              <a:pt x="72" y="49"/>
                            </a:lnTo>
                            <a:lnTo>
                              <a:pt x="76" y="44"/>
                            </a:lnTo>
                            <a:lnTo>
                              <a:pt x="85" y="49"/>
                            </a:lnTo>
                            <a:lnTo>
                              <a:pt x="94" y="44"/>
                            </a:lnTo>
                            <a:lnTo>
                              <a:pt x="99" y="49"/>
                            </a:lnTo>
                            <a:lnTo>
                              <a:pt x="103" y="44"/>
                            </a:lnTo>
                            <a:lnTo>
                              <a:pt x="94" y="40"/>
                            </a:lnTo>
                            <a:lnTo>
                              <a:pt x="90" y="35"/>
                            </a:lnTo>
                            <a:lnTo>
                              <a:pt x="94" y="26"/>
                            </a:lnTo>
                            <a:lnTo>
                              <a:pt x="85" y="22"/>
                            </a:lnTo>
                            <a:lnTo>
                              <a:pt x="90" y="18"/>
                            </a:lnTo>
                            <a:lnTo>
                              <a:pt x="76" y="18"/>
                            </a:lnTo>
                            <a:lnTo>
                              <a:pt x="76" y="13"/>
                            </a:lnTo>
                            <a:lnTo>
                              <a:pt x="67" y="13"/>
                            </a:lnTo>
                            <a:lnTo>
                              <a:pt x="67" y="18"/>
                            </a:lnTo>
                            <a:lnTo>
                              <a:pt x="63" y="13"/>
                            </a:lnTo>
                            <a:lnTo>
                              <a:pt x="58" y="18"/>
                            </a:lnTo>
                            <a:lnTo>
                              <a:pt x="54" y="9"/>
                            </a:lnTo>
                            <a:lnTo>
                              <a:pt x="49" y="13"/>
                            </a:lnTo>
                            <a:lnTo>
                              <a:pt x="45" y="4"/>
                            </a:lnTo>
                            <a:lnTo>
                              <a:pt x="27" y="4"/>
                            </a:lnTo>
                            <a:lnTo>
                              <a:pt x="18" y="0"/>
                            </a:lnTo>
                            <a:lnTo>
                              <a:pt x="5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1" name="Freeform 131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736" y="2445"/>
                        <a:ext cx="1" cy="8"/>
                      </a:xfrm>
                      <a:custGeom>
                        <a:avLst/>
                        <a:gdLst>
                          <a:gd name="T0" fmla="*/ 0 w 1"/>
                          <a:gd name="T1" fmla="*/ 0 h 9"/>
                          <a:gd name="T2" fmla="*/ 0 w 1"/>
                          <a:gd name="T3" fmla="*/ 4 h 9"/>
                          <a:gd name="T4" fmla="*/ 0 w 1"/>
                          <a:gd name="T5" fmla="*/ 4 h 9"/>
                          <a:gd name="T6" fmla="*/ 0 w 1"/>
                          <a:gd name="T7" fmla="*/ 0 h 9"/>
                          <a:gd name="T8" fmla="*/ 0 w 1"/>
                          <a:gd name="T9" fmla="*/ 0 h 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"/>
                          <a:gd name="T16" fmla="*/ 0 h 9"/>
                          <a:gd name="T17" fmla="*/ 1 w 1"/>
                          <a:gd name="T18" fmla="*/ 9 h 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" h="9">
                            <a:moveTo>
                              <a:pt x="0" y="0"/>
                            </a:moveTo>
                            <a:lnTo>
                              <a:pt x="0" y="4"/>
                            </a:lnTo>
                            <a:lnTo>
                              <a:pt x="0" y="9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2" name="Freeform 132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314" y="2314"/>
                        <a:ext cx="9" cy="8"/>
                      </a:xfrm>
                      <a:custGeom>
                        <a:avLst/>
                        <a:gdLst>
                          <a:gd name="T0" fmla="*/ 0 w 9"/>
                          <a:gd name="T1" fmla="*/ 4 h 9"/>
                          <a:gd name="T2" fmla="*/ 9 w 9"/>
                          <a:gd name="T3" fmla="*/ 0 h 9"/>
                          <a:gd name="T4" fmla="*/ 5 w 9"/>
                          <a:gd name="T5" fmla="*/ 4 h 9"/>
                          <a:gd name="T6" fmla="*/ 0 w 9"/>
                          <a:gd name="T7" fmla="*/ 4 h 9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  <a:gd name="T12" fmla="*/ 0 w 9"/>
                          <a:gd name="T13" fmla="*/ 0 h 9"/>
                          <a:gd name="T14" fmla="*/ 9 w 9"/>
                          <a:gd name="T15" fmla="*/ 9 h 9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T12" t="T13" r="T14" b="T15"/>
                        <a:pathLst>
                          <a:path w="9" h="9">
                            <a:moveTo>
                              <a:pt x="0" y="5"/>
                            </a:moveTo>
                            <a:lnTo>
                              <a:pt x="9" y="0"/>
                            </a:lnTo>
                            <a:lnTo>
                              <a:pt x="5" y="9"/>
                            </a:lnTo>
                            <a:lnTo>
                              <a:pt x="0" y="5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3" name="Freeform 133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703" y="2095"/>
                        <a:ext cx="383" cy="431"/>
                      </a:xfrm>
                      <a:custGeom>
                        <a:avLst/>
                        <a:gdLst>
                          <a:gd name="T0" fmla="*/ 8 w 406"/>
                          <a:gd name="T1" fmla="*/ 41 h 456"/>
                          <a:gd name="T2" fmla="*/ 8 w 406"/>
                          <a:gd name="T3" fmla="*/ 43 h 456"/>
                          <a:gd name="T4" fmla="*/ 8 w 406"/>
                          <a:gd name="T5" fmla="*/ 48 h 456"/>
                          <a:gd name="T6" fmla="*/ 12 w 406"/>
                          <a:gd name="T7" fmla="*/ 43 h 456"/>
                          <a:gd name="T8" fmla="*/ 12 w 406"/>
                          <a:gd name="T9" fmla="*/ 51 h 456"/>
                          <a:gd name="T10" fmla="*/ 17 w 406"/>
                          <a:gd name="T11" fmla="*/ 66 h 456"/>
                          <a:gd name="T12" fmla="*/ 20 w 406"/>
                          <a:gd name="T13" fmla="*/ 79 h 456"/>
                          <a:gd name="T14" fmla="*/ 25 w 406"/>
                          <a:gd name="T15" fmla="*/ 83 h 456"/>
                          <a:gd name="T16" fmla="*/ 28 w 406"/>
                          <a:gd name="T17" fmla="*/ 80 h 456"/>
                          <a:gd name="T18" fmla="*/ 30 w 406"/>
                          <a:gd name="T19" fmla="*/ 78 h 456"/>
                          <a:gd name="T20" fmla="*/ 31 w 406"/>
                          <a:gd name="T21" fmla="*/ 63 h 456"/>
                          <a:gd name="T22" fmla="*/ 36 w 406"/>
                          <a:gd name="T23" fmla="*/ 60 h 456"/>
                          <a:gd name="T24" fmla="*/ 41 w 406"/>
                          <a:gd name="T25" fmla="*/ 52 h 456"/>
                          <a:gd name="T26" fmla="*/ 44 w 406"/>
                          <a:gd name="T27" fmla="*/ 51 h 456"/>
                          <a:gd name="T28" fmla="*/ 49 w 406"/>
                          <a:gd name="T29" fmla="*/ 45 h 456"/>
                          <a:gd name="T30" fmla="*/ 53 w 406"/>
                          <a:gd name="T31" fmla="*/ 45 h 456"/>
                          <a:gd name="T32" fmla="*/ 50 w 406"/>
                          <a:gd name="T33" fmla="*/ 38 h 456"/>
                          <a:gd name="T34" fmla="*/ 49 w 406"/>
                          <a:gd name="T35" fmla="*/ 35 h 456"/>
                          <a:gd name="T36" fmla="*/ 54 w 406"/>
                          <a:gd name="T37" fmla="*/ 35 h 456"/>
                          <a:gd name="T38" fmla="*/ 60 w 406"/>
                          <a:gd name="T39" fmla="*/ 39 h 456"/>
                          <a:gd name="T40" fmla="*/ 59 w 406"/>
                          <a:gd name="T41" fmla="*/ 41 h 456"/>
                          <a:gd name="T42" fmla="*/ 60 w 406"/>
                          <a:gd name="T43" fmla="*/ 44 h 456"/>
                          <a:gd name="T44" fmla="*/ 61 w 406"/>
                          <a:gd name="T45" fmla="*/ 43 h 456"/>
                          <a:gd name="T46" fmla="*/ 63 w 406"/>
                          <a:gd name="T47" fmla="*/ 39 h 456"/>
                          <a:gd name="T48" fmla="*/ 67 w 406"/>
                          <a:gd name="T49" fmla="*/ 30 h 456"/>
                          <a:gd name="T50" fmla="*/ 71 w 406"/>
                          <a:gd name="T51" fmla="*/ 27 h 456"/>
                          <a:gd name="T52" fmla="*/ 66 w 406"/>
                          <a:gd name="T53" fmla="*/ 25 h 456"/>
                          <a:gd name="T54" fmla="*/ 60 w 406"/>
                          <a:gd name="T55" fmla="*/ 26 h 456"/>
                          <a:gd name="T56" fmla="*/ 55 w 406"/>
                          <a:gd name="T57" fmla="*/ 31 h 456"/>
                          <a:gd name="T58" fmla="*/ 52 w 406"/>
                          <a:gd name="T59" fmla="*/ 32 h 456"/>
                          <a:gd name="T60" fmla="*/ 52 w 406"/>
                          <a:gd name="T61" fmla="*/ 27 h 456"/>
                          <a:gd name="T62" fmla="*/ 50 w 406"/>
                          <a:gd name="T63" fmla="*/ 32 h 456"/>
                          <a:gd name="T64" fmla="*/ 42 w 406"/>
                          <a:gd name="T65" fmla="*/ 31 h 456"/>
                          <a:gd name="T66" fmla="*/ 39 w 406"/>
                          <a:gd name="T67" fmla="*/ 30 h 456"/>
                          <a:gd name="T68" fmla="*/ 31 w 406"/>
                          <a:gd name="T69" fmla="*/ 25 h 456"/>
                          <a:gd name="T70" fmla="*/ 31 w 406"/>
                          <a:gd name="T71" fmla="*/ 21 h 456"/>
                          <a:gd name="T72" fmla="*/ 25 w 406"/>
                          <a:gd name="T73" fmla="*/ 14 h 456"/>
                          <a:gd name="T74" fmla="*/ 25 w 406"/>
                          <a:gd name="T75" fmla="*/ 9 h 456"/>
                          <a:gd name="T76" fmla="*/ 22 w 406"/>
                          <a:gd name="T77" fmla="*/ 9 h 456"/>
                          <a:gd name="T78" fmla="*/ 14 w 406"/>
                          <a:gd name="T79" fmla="*/ 9 h 456"/>
                          <a:gd name="T80" fmla="*/ 18 w 406"/>
                          <a:gd name="T81" fmla="*/ 17 h 456"/>
                          <a:gd name="T82" fmla="*/ 9 w 406"/>
                          <a:gd name="T83" fmla="*/ 25 h 456"/>
                          <a:gd name="T84" fmla="*/ 8 w 406"/>
                          <a:gd name="T85" fmla="*/ 27 h 456"/>
                          <a:gd name="T86" fmla="*/ 8 w 406"/>
                          <a:gd name="T87" fmla="*/ 32 h 456"/>
                          <a:gd name="T88" fmla="*/ 8 w 406"/>
                          <a:gd name="T89" fmla="*/ 39 h 456"/>
                          <a:gd name="T90" fmla="*/ 0 w 406"/>
                          <a:gd name="T91" fmla="*/ 41 h 45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w 406"/>
                          <a:gd name="T139" fmla="*/ 0 h 456"/>
                          <a:gd name="T140" fmla="*/ 406 w 406"/>
                          <a:gd name="T141" fmla="*/ 456 h 456"/>
                        </a:gdLst>
                        <a:ahLst/>
                        <a:cxnLst>
                          <a:cxn ang="T92">
                            <a:pos x="T0" y="T1"/>
                          </a:cxn>
                          <a:cxn ang="T93">
                            <a:pos x="T2" y="T3"/>
                          </a:cxn>
                          <a:cxn ang="T94">
                            <a:pos x="T4" y="T5"/>
                          </a:cxn>
                          <a:cxn ang="T95">
                            <a:pos x="T6" y="T7"/>
                          </a:cxn>
                          <a:cxn ang="T96">
                            <a:pos x="T8" y="T9"/>
                          </a:cxn>
                          <a:cxn ang="T97">
                            <a:pos x="T10" y="T11"/>
                          </a:cxn>
                          <a:cxn ang="T98">
                            <a:pos x="T12" y="T13"/>
                          </a:cxn>
                          <a:cxn ang="T99">
                            <a:pos x="T14" y="T15"/>
                          </a:cxn>
                          <a:cxn ang="T100">
                            <a:pos x="T16" y="T17"/>
                          </a:cxn>
                          <a:cxn ang="T101">
                            <a:pos x="T18" y="T19"/>
                          </a:cxn>
                          <a:cxn ang="T102">
                            <a:pos x="T20" y="T21"/>
                          </a:cxn>
                          <a:cxn ang="T103">
                            <a:pos x="T22" y="T23"/>
                          </a:cxn>
                          <a:cxn ang="T104">
                            <a:pos x="T24" y="T25"/>
                          </a:cxn>
                          <a:cxn ang="T105">
                            <a:pos x="T26" y="T27"/>
                          </a:cxn>
                          <a:cxn ang="T106">
                            <a:pos x="T28" y="T29"/>
                          </a:cxn>
                          <a:cxn ang="T107">
                            <a:pos x="T30" y="T31"/>
                          </a:cxn>
                          <a:cxn ang="T108">
                            <a:pos x="T32" y="T33"/>
                          </a:cxn>
                          <a:cxn ang="T109">
                            <a:pos x="T34" y="T35"/>
                          </a:cxn>
                          <a:cxn ang="T110">
                            <a:pos x="T36" y="T37"/>
                          </a:cxn>
                          <a:cxn ang="T111">
                            <a:pos x="T38" y="T39"/>
                          </a:cxn>
                          <a:cxn ang="T112">
                            <a:pos x="T40" y="T41"/>
                          </a:cxn>
                          <a:cxn ang="T113">
                            <a:pos x="T42" y="T43"/>
                          </a:cxn>
                          <a:cxn ang="T114">
                            <a:pos x="T44" y="T45"/>
                          </a:cxn>
                          <a:cxn ang="T115">
                            <a:pos x="T46" y="T47"/>
                          </a:cxn>
                          <a:cxn ang="T116">
                            <a:pos x="T48" y="T49"/>
                          </a:cxn>
                          <a:cxn ang="T117">
                            <a:pos x="T50" y="T51"/>
                          </a:cxn>
                          <a:cxn ang="T118">
                            <a:pos x="T52" y="T53"/>
                          </a:cxn>
                          <a:cxn ang="T119">
                            <a:pos x="T54" y="T55"/>
                          </a:cxn>
                          <a:cxn ang="T120">
                            <a:pos x="T56" y="T57"/>
                          </a:cxn>
                          <a:cxn ang="T121">
                            <a:pos x="T58" y="T59"/>
                          </a:cxn>
                          <a:cxn ang="T122">
                            <a:pos x="T60" y="T61"/>
                          </a:cxn>
                          <a:cxn ang="T123">
                            <a:pos x="T62" y="T63"/>
                          </a:cxn>
                          <a:cxn ang="T124">
                            <a:pos x="T64" y="T65"/>
                          </a:cxn>
                          <a:cxn ang="T125">
                            <a:pos x="T66" y="T67"/>
                          </a:cxn>
                          <a:cxn ang="T126">
                            <a:pos x="T68" y="T69"/>
                          </a:cxn>
                          <a:cxn ang="T127">
                            <a:pos x="T70" y="T71"/>
                          </a:cxn>
                          <a:cxn ang="T128">
                            <a:pos x="T72" y="T73"/>
                          </a:cxn>
                          <a:cxn ang="T129">
                            <a:pos x="T74" y="T75"/>
                          </a:cxn>
                          <a:cxn ang="T130">
                            <a:pos x="T76" y="T77"/>
                          </a:cxn>
                          <a:cxn ang="T131">
                            <a:pos x="T78" y="T79"/>
                          </a:cxn>
                          <a:cxn ang="T132">
                            <a:pos x="T80" y="T81"/>
                          </a:cxn>
                          <a:cxn ang="T133">
                            <a:pos x="T82" y="T83"/>
                          </a:cxn>
                          <a:cxn ang="T134">
                            <a:pos x="T84" y="T85"/>
                          </a:cxn>
                          <a:cxn ang="T135">
                            <a:pos x="T86" y="T87"/>
                          </a:cxn>
                          <a:cxn ang="T136">
                            <a:pos x="T88" y="T89"/>
                          </a:cxn>
                          <a:cxn ang="T137">
                            <a:pos x="T90" y="T91"/>
                          </a:cxn>
                        </a:cxnLst>
                        <a:rect l="T138" t="T139" r="T140" b="T141"/>
                        <a:pathLst>
                          <a:path w="406" h="456">
                            <a:moveTo>
                              <a:pt x="0" y="219"/>
                            </a:moveTo>
                            <a:lnTo>
                              <a:pt x="13" y="232"/>
                            </a:lnTo>
                            <a:lnTo>
                              <a:pt x="22" y="223"/>
                            </a:lnTo>
                            <a:lnTo>
                              <a:pt x="36" y="223"/>
                            </a:lnTo>
                            <a:lnTo>
                              <a:pt x="27" y="237"/>
                            </a:lnTo>
                            <a:lnTo>
                              <a:pt x="9" y="237"/>
                            </a:lnTo>
                            <a:lnTo>
                              <a:pt x="22" y="259"/>
                            </a:lnTo>
                            <a:lnTo>
                              <a:pt x="40" y="268"/>
                            </a:lnTo>
                            <a:lnTo>
                              <a:pt x="53" y="259"/>
                            </a:lnTo>
                            <a:lnTo>
                              <a:pt x="58" y="241"/>
                            </a:lnTo>
                            <a:lnTo>
                              <a:pt x="58" y="237"/>
                            </a:lnTo>
                            <a:lnTo>
                              <a:pt x="67" y="237"/>
                            </a:lnTo>
                            <a:lnTo>
                              <a:pt x="62" y="254"/>
                            </a:lnTo>
                            <a:lnTo>
                              <a:pt x="67" y="259"/>
                            </a:lnTo>
                            <a:lnTo>
                              <a:pt x="67" y="272"/>
                            </a:lnTo>
                            <a:lnTo>
                              <a:pt x="67" y="304"/>
                            </a:lnTo>
                            <a:lnTo>
                              <a:pt x="71" y="317"/>
                            </a:lnTo>
                            <a:lnTo>
                              <a:pt x="89" y="357"/>
                            </a:lnTo>
                            <a:lnTo>
                              <a:pt x="94" y="380"/>
                            </a:lnTo>
                            <a:lnTo>
                              <a:pt x="111" y="406"/>
                            </a:lnTo>
                            <a:lnTo>
                              <a:pt x="111" y="429"/>
                            </a:lnTo>
                            <a:lnTo>
                              <a:pt x="116" y="438"/>
                            </a:lnTo>
                            <a:lnTo>
                              <a:pt x="134" y="456"/>
                            </a:lnTo>
                            <a:lnTo>
                              <a:pt x="147" y="451"/>
                            </a:lnTo>
                            <a:lnTo>
                              <a:pt x="147" y="438"/>
                            </a:lnTo>
                            <a:lnTo>
                              <a:pt x="161" y="442"/>
                            </a:lnTo>
                            <a:lnTo>
                              <a:pt x="161" y="438"/>
                            </a:lnTo>
                            <a:lnTo>
                              <a:pt x="156" y="438"/>
                            </a:lnTo>
                            <a:lnTo>
                              <a:pt x="161" y="420"/>
                            </a:lnTo>
                            <a:lnTo>
                              <a:pt x="170" y="420"/>
                            </a:lnTo>
                            <a:lnTo>
                              <a:pt x="170" y="397"/>
                            </a:lnTo>
                            <a:lnTo>
                              <a:pt x="174" y="380"/>
                            </a:lnTo>
                            <a:lnTo>
                              <a:pt x="174" y="344"/>
                            </a:lnTo>
                            <a:lnTo>
                              <a:pt x="174" y="339"/>
                            </a:lnTo>
                            <a:lnTo>
                              <a:pt x="187" y="335"/>
                            </a:lnTo>
                            <a:lnTo>
                              <a:pt x="201" y="326"/>
                            </a:lnTo>
                            <a:lnTo>
                              <a:pt x="201" y="317"/>
                            </a:lnTo>
                            <a:lnTo>
                              <a:pt x="237" y="290"/>
                            </a:lnTo>
                            <a:lnTo>
                              <a:pt x="237" y="281"/>
                            </a:lnTo>
                            <a:lnTo>
                              <a:pt x="241" y="277"/>
                            </a:lnTo>
                            <a:lnTo>
                              <a:pt x="245" y="281"/>
                            </a:lnTo>
                            <a:lnTo>
                              <a:pt x="254" y="277"/>
                            </a:lnTo>
                            <a:lnTo>
                              <a:pt x="268" y="263"/>
                            </a:lnTo>
                            <a:lnTo>
                              <a:pt x="263" y="259"/>
                            </a:lnTo>
                            <a:lnTo>
                              <a:pt x="277" y="250"/>
                            </a:lnTo>
                            <a:lnTo>
                              <a:pt x="281" y="237"/>
                            </a:lnTo>
                            <a:lnTo>
                              <a:pt x="286" y="250"/>
                            </a:lnTo>
                            <a:lnTo>
                              <a:pt x="304" y="246"/>
                            </a:lnTo>
                            <a:lnTo>
                              <a:pt x="290" y="214"/>
                            </a:lnTo>
                            <a:lnTo>
                              <a:pt x="290" y="205"/>
                            </a:lnTo>
                            <a:lnTo>
                              <a:pt x="286" y="201"/>
                            </a:lnTo>
                            <a:lnTo>
                              <a:pt x="290" y="196"/>
                            </a:lnTo>
                            <a:lnTo>
                              <a:pt x="295" y="192"/>
                            </a:lnTo>
                            <a:lnTo>
                              <a:pt x="281" y="187"/>
                            </a:lnTo>
                            <a:lnTo>
                              <a:pt x="286" y="174"/>
                            </a:lnTo>
                            <a:lnTo>
                              <a:pt x="290" y="170"/>
                            </a:lnTo>
                            <a:lnTo>
                              <a:pt x="308" y="183"/>
                            </a:lnTo>
                            <a:lnTo>
                              <a:pt x="312" y="187"/>
                            </a:lnTo>
                            <a:lnTo>
                              <a:pt x="348" y="192"/>
                            </a:lnTo>
                            <a:lnTo>
                              <a:pt x="348" y="205"/>
                            </a:lnTo>
                            <a:lnTo>
                              <a:pt x="335" y="214"/>
                            </a:lnTo>
                            <a:lnTo>
                              <a:pt x="330" y="223"/>
                            </a:lnTo>
                            <a:lnTo>
                              <a:pt x="339" y="223"/>
                            </a:lnTo>
                            <a:lnTo>
                              <a:pt x="339" y="214"/>
                            </a:lnTo>
                            <a:lnTo>
                              <a:pt x="344" y="214"/>
                            </a:lnTo>
                            <a:lnTo>
                              <a:pt x="348" y="241"/>
                            </a:lnTo>
                            <a:lnTo>
                              <a:pt x="348" y="250"/>
                            </a:lnTo>
                            <a:lnTo>
                              <a:pt x="353" y="246"/>
                            </a:lnTo>
                            <a:lnTo>
                              <a:pt x="353" y="232"/>
                            </a:lnTo>
                            <a:lnTo>
                              <a:pt x="357" y="232"/>
                            </a:lnTo>
                            <a:lnTo>
                              <a:pt x="357" y="210"/>
                            </a:lnTo>
                            <a:lnTo>
                              <a:pt x="366" y="205"/>
                            </a:lnTo>
                            <a:lnTo>
                              <a:pt x="375" y="192"/>
                            </a:lnTo>
                            <a:lnTo>
                              <a:pt x="375" y="183"/>
                            </a:lnTo>
                            <a:lnTo>
                              <a:pt x="388" y="161"/>
                            </a:lnTo>
                            <a:lnTo>
                              <a:pt x="402" y="156"/>
                            </a:lnTo>
                            <a:lnTo>
                              <a:pt x="406" y="156"/>
                            </a:lnTo>
                            <a:lnTo>
                              <a:pt x="406" y="147"/>
                            </a:lnTo>
                            <a:lnTo>
                              <a:pt x="406" y="138"/>
                            </a:lnTo>
                            <a:lnTo>
                              <a:pt x="393" y="134"/>
                            </a:lnTo>
                            <a:lnTo>
                              <a:pt x="379" y="138"/>
                            </a:lnTo>
                            <a:lnTo>
                              <a:pt x="379" y="129"/>
                            </a:lnTo>
                            <a:lnTo>
                              <a:pt x="366" y="129"/>
                            </a:lnTo>
                            <a:lnTo>
                              <a:pt x="348" y="143"/>
                            </a:lnTo>
                            <a:lnTo>
                              <a:pt x="335" y="147"/>
                            </a:lnTo>
                            <a:lnTo>
                              <a:pt x="335" y="165"/>
                            </a:lnTo>
                            <a:lnTo>
                              <a:pt x="317" y="165"/>
                            </a:lnTo>
                            <a:lnTo>
                              <a:pt x="312" y="170"/>
                            </a:lnTo>
                            <a:lnTo>
                              <a:pt x="299" y="170"/>
                            </a:lnTo>
                            <a:lnTo>
                              <a:pt x="295" y="170"/>
                            </a:lnTo>
                            <a:lnTo>
                              <a:pt x="295" y="165"/>
                            </a:lnTo>
                            <a:lnTo>
                              <a:pt x="290" y="156"/>
                            </a:lnTo>
                            <a:lnTo>
                              <a:pt x="295" y="147"/>
                            </a:lnTo>
                            <a:lnTo>
                              <a:pt x="295" y="143"/>
                            </a:lnTo>
                            <a:lnTo>
                              <a:pt x="286" y="152"/>
                            </a:lnTo>
                            <a:lnTo>
                              <a:pt x="286" y="170"/>
                            </a:lnTo>
                            <a:lnTo>
                              <a:pt x="277" y="174"/>
                            </a:lnTo>
                            <a:lnTo>
                              <a:pt x="245" y="170"/>
                            </a:lnTo>
                            <a:lnTo>
                              <a:pt x="245" y="165"/>
                            </a:lnTo>
                            <a:lnTo>
                              <a:pt x="237" y="165"/>
                            </a:lnTo>
                            <a:lnTo>
                              <a:pt x="228" y="156"/>
                            </a:lnTo>
                            <a:lnTo>
                              <a:pt x="219" y="161"/>
                            </a:lnTo>
                            <a:lnTo>
                              <a:pt x="205" y="156"/>
                            </a:lnTo>
                            <a:lnTo>
                              <a:pt x="178" y="143"/>
                            </a:lnTo>
                            <a:lnTo>
                              <a:pt x="178" y="134"/>
                            </a:lnTo>
                            <a:lnTo>
                              <a:pt x="170" y="134"/>
                            </a:lnTo>
                            <a:lnTo>
                              <a:pt x="170" y="116"/>
                            </a:lnTo>
                            <a:lnTo>
                              <a:pt x="178" y="107"/>
                            </a:lnTo>
                            <a:lnTo>
                              <a:pt x="165" y="94"/>
                            </a:lnTo>
                            <a:lnTo>
                              <a:pt x="156" y="98"/>
                            </a:lnTo>
                            <a:lnTo>
                              <a:pt x="147" y="71"/>
                            </a:lnTo>
                            <a:lnTo>
                              <a:pt x="156" y="49"/>
                            </a:lnTo>
                            <a:lnTo>
                              <a:pt x="156" y="35"/>
                            </a:lnTo>
                            <a:lnTo>
                              <a:pt x="147" y="22"/>
                            </a:lnTo>
                            <a:lnTo>
                              <a:pt x="147" y="4"/>
                            </a:lnTo>
                            <a:lnTo>
                              <a:pt x="129" y="0"/>
                            </a:lnTo>
                            <a:lnTo>
                              <a:pt x="125" y="31"/>
                            </a:lnTo>
                            <a:lnTo>
                              <a:pt x="111" y="27"/>
                            </a:lnTo>
                            <a:lnTo>
                              <a:pt x="80" y="27"/>
                            </a:lnTo>
                            <a:lnTo>
                              <a:pt x="76" y="44"/>
                            </a:lnTo>
                            <a:lnTo>
                              <a:pt x="80" y="58"/>
                            </a:lnTo>
                            <a:lnTo>
                              <a:pt x="103" y="71"/>
                            </a:lnTo>
                            <a:lnTo>
                              <a:pt x="94" y="85"/>
                            </a:lnTo>
                            <a:lnTo>
                              <a:pt x="85" y="103"/>
                            </a:lnTo>
                            <a:lnTo>
                              <a:pt x="76" y="125"/>
                            </a:lnTo>
                            <a:lnTo>
                              <a:pt x="58" y="134"/>
                            </a:lnTo>
                            <a:lnTo>
                              <a:pt x="53" y="143"/>
                            </a:lnTo>
                            <a:lnTo>
                              <a:pt x="36" y="152"/>
                            </a:lnTo>
                            <a:lnTo>
                              <a:pt x="27" y="147"/>
                            </a:lnTo>
                            <a:lnTo>
                              <a:pt x="18" y="161"/>
                            </a:lnTo>
                            <a:lnTo>
                              <a:pt x="13" y="170"/>
                            </a:lnTo>
                            <a:lnTo>
                              <a:pt x="27" y="170"/>
                            </a:lnTo>
                            <a:lnTo>
                              <a:pt x="22" y="178"/>
                            </a:lnTo>
                            <a:lnTo>
                              <a:pt x="36" y="183"/>
                            </a:lnTo>
                            <a:lnTo>
                              <a:pt x="44" y="205"/>
                            </a:lnTo>
                            <a:lnTo>
                              <a:pt x="31" y="205"/>
                            </a:lnTo>
                            <a:lnTo>
                              <a:pt x="4" y="210"/>
                            </a:lnTo>
                            <a:lnTo>
                              <a:pt x="0" y="219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4" name="Freeform 134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4066" y="2554"/>
                        <a:ext cx="620" cy="232"/>
                      </a:xfrm>
                      <a:custGeom>
                        <a:avLst/>
                        <a:gdLst>
                          <a:gd name="T0" fmla="*/ 8 w 657"/>
                          <a:gd name="T1" fmla="*/ 8 h 246"/>
                          <a:gd name="T2" fmla="*/ 16 w 657"/>
                          <a:gd name="T3" fmla="*/ 22 h 246"/>
                          <a:gd name="T4" fmla="*/ 25 w 657"/>
                          <a:gd name="T5" fmla="*/ 27 h 246"/>
                          <a:gd name="T6" fmla="*/ 24 w 657"/>
                          <a:gd name="T7" fmla="*/ 19 h 246"/>
                          <a:gd name="T8" fmla="*/ 21 w 657"/>
                          <a:gd name="T9" fmla="*/ 14 h 246"/>
                          <a:gd name="T10" fmla="*/ 15 w 657"/>
                          <a:gd name="T11" fmla="*/ 8 h 246"/>
                          <a:gd name="T12" fmla="*/ 8 w 657"/>
                          <a:gd name="T13" fmla="*/ 8 h 246"/>
                          <a:gd name="T14" fmla="*/ 8 w 657"/>
                          <a:gd name="T15" fmla="*/ 14 h 246"/>
                          <a:gd name="T16" fmla="*/ 8 w 657"/>
                          <a:gd name="T17" fmla="*/ 21 h 246"/>
                          <a:gd name="T18" fmla="*/ 13 w 657"/>
                          <a:gd name="T19" fmla="*/ 22 h 246"/>
                          <a:gd name="T20" fmla="*/ 14 w 657"/>
                          <a:gd name="T21" fmla="*/ 22 h 246"/>
                          <a:gd name="T22" fmla="*/ 29 w 657"/>
                          <a:gd name="T23" fmla="*/ 23 h 246"/>
                          <a:gd name="T24" fmla="*/ 26 w 657"/>
                          <a:gd name="T25" fmla="*/ 31 h 246"/>
                          <a:gd name="T26" fmla="*/ 34 w 657"/>
                          <a:gd name="T27" fmla="*/ 34 h 246"/>
                          <a:gd name="T28" fmla="*/ 49 w 657"/>
                          <a:gd name="T29" fmla="*/ 33 h 246"/>
                          <a:gd name="T30" fmla="*/ 44 w 657"/>
                          <a:gd name="T31" fmla="*/ 33 h 246"/>
                          <a:gd name="T32" fmla="*/ 35 w 657"/>
                          <a:gd name="T33" fmla="*/ 30 h 246"/>
                          <a:gd name="T34" fmla="*/ 31 w 657"/>
                          <a:gd name="T35" fmla="*/ 23 h 246"/>
                          <a:gd name="T36" fmla="*/ 33 w 657"/>
                          <a:gd name="T37" fmla="*/ 8 h 246"/>
                          <a:gd name="T38" fmla="*/ 36 w 657"/>
                          <a:gd name="T39" fmla="*/ 8 h 246"/>
                          <a:gd name="T40" fmla="*/ 38 w 657"/>
                          <a:gd name="T41" fmla="*/ 18 h 246"/>
                          <a:gd name="T42" fmla="*/ 45 w 657"/>
                          <a:gd name="T43" fmla="*/ 23 h 246"/>
                          <a:gd name="T44" fmla="*/ 53 w 657"/>
                          <a:gd name="T45" fmla="*/ 23 h 246"/>
                          <a:gd name="T46" fmla="*/ 60 w 657"/>
                          <a:gd name="T47" fmla="*/ 11 h 246"/>
                          <a:gd name="T48" fmla="*/ 53 w 657"/>
                          <a:gd name="T49" fmla="*/ 8 h 246"/>
                          <a:gd name="T50" fmla="*/ 40 w 657"/>
                          <a:gd name="T51" fmla="*/ 12 h 246"/>
                          <a:gd name="T52" fmla="*/ 51 w 657"/>
                          <a:gd name="T53" fmla="*/ 35 h 246"/>
                          <a:gd name="T54" fmla="*/ 53 w 657"/>
                          <a:gd name="T55" fmla="*/ 37 h 246"/>
                          <a:gd name="T56" fmla="*/ 60 w 657"/>
                          <a:gd name="T57" fmla="*/ 37 h 246"/>
                          <a:gd name="T58" fmla="*/ 73 w 657"/>
                          <a:gd name="T59" fmla="*/ 36 h 246"/>
                          <a:gd name="T60" fmla="*/ 62 w 657"/>
                          <a:gd name="T61" fmla="*/ 37 h 246"/>
                          <a:gd name="T62" fmla="*/ 59 w 657"/>
                          <a:gd name="T63" fmla="*/ 38 h 246"/>
                          <a:gd name="T64" fmla="*/ 65 w 657"/>
                          <a:gd name="T65" fmla="*/ 11 h 246"/>
                          <a:gd name="T66" fmla="*/ 59 w 657"/>
                          <a:gd name="T67" fmla="*/ 21 h 246"/>
                          <a:gd name="T68" fmla="*/ 64 w 657"/>
                          <a:gd name="T69" fmla="*/ 29 h 246"/>
                          <a:gd name="T70" fmla="*/ 67 w 657"/>
                          <a:gd name="T71" fmla="*/ 27 h 246"/>
                          <a:gd name="T72" fmla="*/ 70 w 657"/>
                          <a:gd name="T73" fmla="*/ 29 h 246"/>
                          <a:gd name="T74" fmla="*/ 65 w 657"/>
                          <a:gd name="T75" fmla="*/ 20 h 246"/>
                          <a:gd name="T76" fmla="*/ 67 w 657"/>
                          <a:gd name="T77" fmla="*/ 18 h 246"/>
                          <a:gd name="T78" fmla="*/ 76 w 657"/>
                          <a:gd name="T79" fmla="*/ 10 h 246"/>
                          <a:gd name="T80" fmla="*/ 76 w 657"/>
                          <a:gd name="T81" fmla="*/ 37 h 246"/>
                          <a:gd name="T82" fmla="*/ 74 w 657"/>
                          <a:gd name="T83" fmla="*/ 35 h 246"/>
                          <a:gd name="T84" fmla="*/ 71 w 657"/>
                          <a:gd name="T85" fmla="*/ 42 h 246"/>
                          <a:gd name="T86" fmla="*/ 78 w 657"/>
                          <a:gd name="T87" fmla="*/ 24 h 246"/>
                          <a:gd name="T88" fmla="*/ 84 w 657"/>
                          <a:gd name="T89" fmla="*/ 14 h 246"/>
                          <a:gd name="T90" fmla="*/ 82 w 657"/>
                          <a:gd name="T91" fmla="*/ 8 h 246"/>
                          <a:gd name="T92" fmla="*/ 82 w 657"/>
                          <a:gd name="T93" fmla="*/ 14 h 246"/>
                          <a:gd name="T94" fmla="*/ 82 w 657"/>
                          <a:gd name="T95" fmla="*/ 18 h 246"/>
                          <a:gd name="T96" fmla="*/ 89 w 657"/>
                          <a:gd name="T97" fmla="*/ 22 h 246"/>
                          <a:gd name="T98" fmla="*/ 88 w 657"/>
                          <a:gd name="T99" fmla="*/ 23 h 246"/>
                          <a:gd name="T100" fmla="*/ 89 w 657"/>
                          <a:gd name="T101" fmla="*/ 36 h 246"/>
                          <a:gd name="T102" fmla="*/ 99 w 657"/>
                          <a:gd name="T103" fmla="*/ 29 h 246"/>
                          <a:gd name="T104" fmla="*/ 99 w 657"/>
                          <a:gd name="T105" fmla="*/ 27 h 246"/>
                          <a:gd name="T106" fmla="*/ 103 w 657"/>
                          <a:gd name="T107" fmla="*/ 21 h 246"/>
                          <a:gd name="T108" fmla="*/ 97 w 657"/>
                          <a:gd name="T109" fmla="*/ 17 h 246"/>
                          <a:gd name="T110" fmla="*/ 89 w 657"/>
                          <a:gd name="T111" fmla="*/ 19 h 246"/>
                          <a:gd name="T112" fmla="*/ 94 w 657"/>
                          <a:gd name="T113" fmla="*/ 22 h 246"/>
                          <a:gd name="T114" fmla="*/ 96 w 657"/>
                          <a:gd name="T115" fmla="*/ 25 h 246"/>
                          <a:gd name="T116" fmla="*/ 109 w 657"/>
                          <a:gd name="T117" fmla="*/ 34 h 246"/>
                          <a:gd name="T118" fmla="*/ 114 w 657"/>
                          <a:gd name="T119" fmla="*/ 37 h 24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60000 65536"/>
                          <a:gd name="T178" fmla="*/ 0 60000 65536"/>
                          <a:gd name="T179" fmla="*/ 0 60000 65536"/>
                          <a:gd name="T180" fmla="*/ 0 w 657"/>
                          <a:gd name="T181" fmla="*/ 0 h 246"/>
                          <a:gd name="T182" fmla="*/ 657 w 657"/>
                          <a:gd name="T183" fmla="*/ 246 h 246"/>
                        </a:gdLst>
                        <a:ahLst/>
                        <a:cxnLst>
                          <a:cxn ang="T120">
                            <a:pos x="T0" y="T1"/>
                          </a:cxn>
                          <a:cxn ang="T121">
                            <a:pos x="T2" y="T3"/>
                          </a:cxn>
                          <a:cxn ang="T122">
                            <a:pos x="T4" y="T5"/>
                          </a:cxn>
                          <a:cxn ang="T123">
                            <a:pos x="T6" y="T7"/>
                          </a:cxn>
                          <a:cxn ang="T124">
                            <a:pos x="T8" y="T9"/>
                          </a:cxn>
                          <a:cxn ang="T125">
                            <a:pos x="T10" y="T11"/>
                          </a:cxn>
                          <a:cxn ang="T126">
                            <a:pos x="T12" y="T13"/>
                          </a:cxn>
                          <a:cxn ang="T127">
                            <a:pos x="T14" y="T15"/>
                          </a:cxn>
                          <a:cxn ang="T128">
                            <a:pos x="T16" y="T17"/>
                          </a:cxn>
                          <a:cxn ang="T129">
                            <a:pos x="T18" y="T19"/>
                          </a:cxn>
                          <a:cxn ang="T130">
                            <a:pos x="T20" y="T21"/>
                          </a:cxn>
                          <a:cxn ang="T131">
                            <a:pos x="T22" y="T23"/>
                          </a:cxn>
                          <a:cxn ang="T132">
                            <a:pos x="T24" y="T25"/>
                          </a:cxn>
                          <a:cxn ang="T133">
                            <a:pos x="T26" y="T27"/>
                          </a:cxn>
                          <a:cxn ang="T134">
                            <a:pos x="T28" y="T29"/>
                          </a:cxn>
                          <a:cxn ang="T135">
                            <a:pos x="T30" y="T31"/>
                          </a:cxn>
                          <a:cxn ang="T136">
                            <a:pos x="T32" y="T33"/>
                          </a:cxn>
                          <a:cxn ang="T137">
                            <a:pos x="T34" y="T35"/>
                          </a:cxn>
                          <a:cxn ang="T138">
                            <a:pos x="T36" y="T37"/>
                          </a:cxn>
                          <a:cxn ang="T139">
                            <a:pos x="T38" y="T39"/>
                          </a:cxn>
                          <a:cxn ang="T140">
                            <a:pos x="T40" y="T41"/>
                          </a:cxn>
                          <a:cxn ang="T141">
                            <a:pos x="T42" y="T43"/>
                          </a:cxn>
                          <a:cxn ang="T142">
                            <a:pos x="T44" y="T45"/>
                          </a:cxn>
                          <a:cxn ang="T143">
                            <a:pos x="T46" y="T47"/>
                          </a:cxn>
                          <a:cxn ang="T144">
                            <a:pos x="T48" y="T49"/>
                          </a:cxn>
                          <a:cxn ang="T145">
                            <a:pos x="T50" y="T51"/>
                          </a:cxn>
                          <a:cxn ang="T146">
                            <a:pos x="T52" y="T53"/>
                          </a:cxn>
                          <a:cxn ang="T147">
                            <a:pos x="T54" y="T55"/>
                          </a:cxn>
                          <a:cxn ang="T148">
                            <a:pos x="T56" y="T57"/>
                          </a:cxn>
                          <a:cxn ang="T149">
                            <a:pos x="T58" y="T59"/>
                          </a:cxn>
                          <a:cxn ang="T150">
                            <a:pos x="T60" y="T61"/>
                          </a:cxn>
                          <a:cxn ang="T151">
                            <a:pos x="T62" y="T63"/>
                          </a:cxn>
                          <a:cxn ang="T152">
                            <a:pos x="T64" y="T65"/>
                          </a:cxn>
                          <a:cxn ang="T153">
                            <a:pos x="T66" y="T67"/>
                          </a:cxn>
                          <a:cxn ang="T154">
                            <a:pos x="T68" y="T69"/>
                          </a:cxn>
                          <a:cxn ang="T155">
                            <a:pos x="T70" y="T71"/>
                          </a:cxn>
                          <a:cxn ang="T156">
                            <a:pos x="T72" y="T73"/>
                          </a:cxn>
                          <a:cxn ang="T157">
                            <a:pos x="T74" y="T75"/>
                          </a:cxn>
                          <a:cxn ang="T158">
                            <a:pos x="T76" y="T77"/>
                          </a:cxn>
                          <a:cxn ang="T159">
                            <a:pos x="T78" y="T79"/>
                          </a:cxn>
                          <a:cxn ang="T160">
                            <a:pos x="T80" y="T81"/>
                          </a:cxn>
                          <a:cxn ang="T161">
                            <a:pos x="T82" y="T83"/>
                          </a:cxn>
                          <a:cxn ang="T162">
                            <a:pos x="T84" y="T85"/>
                          </a:cxn>
                          <a:cxn ang="T163">
                            <a:pos x="T86" y="T87"/>
                          </a:cxn>
                          <a:cxn ang="T164">
                            <a:pos x="T88" y="T89"/>
                          </a:cxn>
                          <a:cxn ang="T165">
                            <a:pos x="T90" y="T91"/>
                          </a:cxn>
                          <a:cxn ang="T166">
                            <a:pos x="T92" y="T93"/>
                          </a:cxn>
                          <a:cxn ang="T167">
                            <a:pos x="T94" y="T95"/>
                          </a:cxn>
                          <a:cxn ang="T168">
                            <a:pos x="T96" y="T97"/>
                          </a:cxn>
                          <a:cxn ang="T169">
                            <a:pos x="T98" y="T99"/>
                          </a:cxn>
                          <a:cxn ang="T170">
                            <a:pos x="T100" y="T101"/>
                          </a:cxn>
                          <a:cxn ang="T171">
                            <a:pos x="T102" y="T103"/>
                          </a:cxn>
                          <a:cxn ang="T172">
                            <a:pos x="T104" y="T105"/>
                          </a:cxn>
                          <a:cxn ang="T173">
                            <a:pos x="T106" y="T107"/>
                          </a:cxn>
                          <a:cxn ang="T174">
                            <a:pos x="T108" y="T109"/>
                          </a:cxn>
                          <a:cxn ang="T175">
                            <a:pos x="T110" y="T111"/>
                          </a:cxn>
                          <a:cxn ang="T176">
                            <a:pos x="T112" y="T113"/>
                          </a:cxn>
                          <a:cxn ang="T177">
                            <a:pos x="T114" y="T115"/>
                          </a:cxn>
                          <a:cxn ang="T178">
                            <a:pos x="T116" y="T117"/>
                          </a:cxn>
                          <a:cxn ang="T179">
                            <a:pos x="T118" y="T119"/>
                          </a:cxn>
                        </a:cxnLst>
                        <a:rect l="T180" t="T181" r="T182" b="T183"/>
                        <a:pathLst>
                          <a:path w="657" h="246">
                            <a:moveTo>
                              <a:pt x="0" y="4"/>
                            </a:moveTo>
                            <a:lnTo>
                              <a:pt x="0" y="9"/>
                            </a:lnTo>
                            <a:lnTo>
                              <a:pt x="4" y="18"/>
                            </a:lnTo>
                            <a:lnTo>
                              <a:pt x="22" y="31"/>
                            </a:lnTo>
                            <a:lnTo>
                              <a:pt x="36" y="53"/>
                            </a:lnTo>
                            <a:lnTo>
                              <a:pt x="45" y="53"/>
                            </a:lnTo>
                            <a:lnTo>
                              <a:pt x="54" y="58"/>
                            </a:lnTo>
                            <a:lnTo>
                              <a:pt x="49" y="62"/>
                            </a:lnTo>
                            <a:lnTo>
                              <a:pt x="58" y="85"/>
                            </a:lnTo>
                            <a:lnTo>
                              <a:pt x="62" y="85"/>
                            </a:lnTo>
                            <a:lnTo>
                              <a:pt x="85" y="112"/>
                            </a:lnTo>
                            <a:lnTo>
                              <a:pt x="85" y="125"/>
                            </a:lnTo>
                            <a:lnTo>
                              <a:pt x="107" y="156"/>
                            </a:lnTo>
                            <a:lnTo>
                              <a:pt x="121" y="161"/>
                            </a:lnTo>
                            <a:lnTo>
                              <a:pt x="134" y="179"/>
                            </a:lnTo>
                            <a:lnTo>
                              <a:pt x="129" y="165"/>
                            </a:lnTo>
                            <a:lnTo>
                              <a:pt x="147" y="174"/>
                            </a:lnTo>
                            <a:lnTo>
                              <a:pt x="147" y="161"/>
                            </a:lnTo>
                            <a:lnTo>
                              <a:pt x="152" y="174"/>
                            </a:lnTo>
                            <a:lnTo>
                              <a:pt x="156" y="134"/>
                            </a:lnTo>
                            <a:lnTo>
                              <a:pt x="147" y="120"/>
                            </a:lnTo>
                            <a:lnTo>
                              <a:pt x="138" y="116"/>
                            </a:lnTo>
                            <a:lnTo>
                              <a:pt x="138" y="120"/>
                            </a:lnTo>
                            <a:lnTo>
                              <a:pt x="134" y="103"/>
                            </a:lnTo>
                            <a:lnTo>
                              <a:pt x="116" y="98"/>
                            </a:lnTo>
                            <a:lnTo>
                              <a:pt x="121" y="94"/>
                            </a:lnTo>
                            <a:lnTo>
                              <a:pt x="121" y="89"/>
                            </a:lnTo>
                            <a:lnTo>
                              <a:pt x="125" y="85"/>
                            </a:lnTo>
                            <a:lnTo>
                              <a:pt x="125" y="80"/>
                            </a:lnTo>
                            <a:lnTo>
                              <a:pt x="116" y="76"/>
                            </a:lnTo>
                            <a:lnTo>
                              <a:pt x="112" y="80"/>
                            </a:lnTo>
                            <a:lnTo>
                              <a:pt x="116" y="71"/>
                            </a:lnTo>
                            <a:lnTo>
                              <a:pt x="103" y="62"/>
                            </a:lnTo>
                            <a:lnTo>
                              <a:pt x="98" y="62"/>
                            </a:lnTo>
                            <a:lnTo>
                              <a:pt x="98" y="53"/>
                            </a:lnTo>
                            <a:lnTo>
                              <a:pt x="80" y="53"/>
                            </a:lnTo>
                            <a:lnTo>
                              <a:pt x="71" y="45"/>
                            </a:lnTo>
                            <a:lnTo>
                              <a:pt x="67" y="49"/>
                            </a:lnTo>
                            <a:lnTo>
                              <a:pt x="67" y="40"/>
                            </a:lnTo>
                            <a:lnTo>
                              <a:pt x="36" y="4"/>
                            </a:lnTo>
                            <a:lnTo>
                              <a:pt x="27" y="4"/>
                            </a:lnTo>
                            <a:lnTo>
                              <a:pt x="18" y="9"/>
                            </a:lnTo>
                            <a:lnTo>
                              <a:pt x="4" y="0"/>
                            </a:lnTo>
                            <a:lnTo>
                              <a:pt x="0" y="4"/>
                            </a:lnTo>
                            <a:close/>
                            <a:moveTo>
                              <a:pt x="31" y="62"/>
                            </a:moveTo>
                            <a:lnTo>
                              <a:pt x="22" y="67"/>
                            </a:lnTo>
                            <a:lnTo>
                              <a:pt x="36" y="80"/>
                            </a:lnTo>
                            <a:lnTo>
                              <a:pt x="40" y="80"/>
                            </a:lnTo>
                            <a:lnTo>
                              <a:pt x="40" y="71"/>
                            </a:lnTo>
                            <a:lnTo>
                              <a:pt x="31" y="62"/>
                            </a:lnTo>
                            <a:close/>
                            <a:moveTo>
                              <a:pt x="54" y="98"/>
                            </a:moveTo>
                            <a:lnTo>
                              <a:pt x="49" y="103"/>
                            </a:lnTo>
                            <a:lnTo>
                              <a:pt x="49" y="107"/>
                            </a:lnTo>
                            <a:lnTo>
                              <a:pt x="54" y="116"/>
                            </a:lnTo>
                            <a:lnTo>
                              <a:pt x="62" y="112"/>
                            </a:lnTo>
                            <a:lnTo>
                              <a:pt x="54" y="98"/>
                            </a:lnTo>
                            <a:close/>
                            <a:moveTo>
                              <a:pt x="67" y="116"/>
                            </a:moveTo>
                            <a:lnTo>
                              <a:pt x="62" y="116"/>
                            </a:lnTo>
                            <a:lnTo>
                              <a:pt x="67" y="125"/>
                            </a:lnTo>
                            <a:lnTo>
                              <a:pt x="71" y="125"/>
                            </a:lnTo>
                            <a:lnTo>
                              <a:pt x="71" y="129"/>
                            </a:lnTo>
                            <a:lnTo>
                              <a:pt x="76" y="129"/>
                            </a:lnTo>
                            <a:lnTo>
                              <a:pt x="80" y="138"/>
                            </a:lnTo>
                            <a:lnTo>
                              <a:pt x="80" y="134"/>
                            </a:lnTo>
                            <a:lnTo>
                              <a:pt x="76" y="129"/>
                            </a:lnTo>
                            <a:lnTo>
                              <a:pt x="76" y="125"/>
                            </a:lnTo>
                            <a:lnTo>
                              <a:pt x="67" y="116"/>
                            </a:lnTo>
                            <a:close/>
                            <a:moveTo>
                              <a:pt x="147" y="107"/>
                            </a:moveTo>
                            <a:lnTo>
                              <a:pt x="147" y="116"/>
                            </a:lnTo>
                            <a:lnTo>
                              <a:pt x="152" y="116"/>
                            </a:lnTo>
                            <a:lnTo>
                              <a:pt x="156" y="129"/>
                            </a:lnTo>
                            <a:lnTo>
                              <a:pt x="165" y="129"/>
                            </a:lnTo>
                            <a:lnTo>
                              <a:pt x="165" y="120"/>
                            </a:lnTo>
                            <a:lnTo>
                              <a:pt x="161" y="120"/>
                            </a:lnTo>
                            <a:lnTo>
                              <a:pt x="152" y="107"/>
                            </a:lnTo>
                            <a:lnTo>
                              <a:pt x="147" y="107"/>
                            </a:lnTo>
                            <a:close/>
                            <a:moveTo>
                              <a:pt x="152" y="179"/>
                            </a:moveTo>
                            <a:lnTo>
                              <a:pt x="143" y="179"/>
                            </a:lnTo>
                            <a:lnTo>
                              <a:pt x="143" y="188"/>
                            </a:lnTo>
                            <a:lnTo>
                              <a:pt x="165" y="188"/>
                            </a:lnTo>
                            <a:lnTo>
                              <a:pt x="161" y="192"/>
                            </a:lnTo>
                            <a:lnTo>
                              <a:pt x="188" y="201"/>
                            </a:lnTo>
                            <a:lnTo>
                              <a:pt x="192" y="196"/>
                            </a:lnTo>
                            <a:lnTo>
                              <a:pt x="250" y="210"/>
                            </a:lnTo>
                            <a:lnTo>
                              <a:pt x="259" y="205"/>
                            </a:lnTo>
                            <a:lnTo>
                              <a:pt x="272" y="210"/>
                            </a:lnTo>
                            <a:lnTo>
                              <a:pt x="281" y="210"/>
                            </a:lnTo>
                            <a:lnTo>
                              <a:pt x="277" y="205"/>
                            </a:lnTo>
                            <a:lnTo>
                              <a:pt x="277" y="192"/>
                            </a:lnTo>
                            <a:lnTo>
                              <a:pt x="259" y="192"/>
                            </a:lnTo>
                            <a:lnTo>
                              <a:pt x="255" y="188"/>
                            </a:lnTo>
                            <a:lnTo>
                              <a:pt x="263" y="192"/>
                            </a:lnTo>
                            <a:lnTo>
                              <a:pt x="277" y="188"/>
                            </a:lnTo>
                            <a:lnTo>
                              <a:pt x="277" y="183"/>
                            </a:lnTo>
                            <a:lnTo>
                              <a:pt x="255" y="188"/>
                            </a:lnTo>
                            <a:lnTo>
                              <a:pt x="237" y="174"/>
                            </a:lnTo>
                            <a:lnTo>
                              <a:pt x="228" y="174"/>
                            </a:lnTo>
                            <a:lnTo>
                              <a:pt x="219" y="188"/>
                            </a:lnTo>
                            <a:lnTo>
                              <a:pt x="205" y="183"/>
                            </a:lnTo>
                            <a:lnTo>
                              <a:pt x="196" y="183"/>
                            </a:lnTo>
                            <a:lnTo>
                              <a:pt x="196" y="174"/>
                            </a:lnTo>
                            <a:lnTo>
                              <a:pt x="179" y="170"/>
                            </a:lnTo>
                            <a:lnTo>
                              <a:pt x="156" y="170"/>
                            </a:lnTo>
                            <a:lnTo>
                              <a:pt x="156" y="179"/>
                            </a:lnTo>
                            <a:lnTo>
                              <a:pt x="152" y="179"/>
                            </a:lnTo>
                            <a:close/>
                            <a:moveTo>
                              <a:pt x="170" y="125"/>
                            </a:moveTo>
                            <a:lnTo>
                              <a:pt x="174" y="129"/>
                            </a:lnTo>
                            <a:lnTo>
                              <a:pt x="179" y="138"/>
                            </a:lnTo>
                            <a:lnTo>
                              <a:pt x="188" y="134"/>
                            </a:lnTo>
                            <a:lnTo>
                              <a:pt x="188" y="125"/>
                            </a:lnTo>
                            <a:lnTo>
                              <a:pt x="183" y="120"/>
                            </a:lnTo>
                            <a:lnTo>
                              <a:pt x="170" y="125"/>
                            </a:lnTo>
                            <a:close/>
                            <a:moveTo>
                              <a:pt x="183" y="22"/>
                            </a:moveTo>
                            <a:lnTo>
                              <a:pt x="183" y="31"/>
                            </a:lnTo>
                            <a:lnTo>
                              <a:pt x="192" y="27"/>
                            </a:lnTo>
                            <a:lnTo>
                              <a:pt x="188" y="18"/>
                            </a:lnTo>
                            <a:lnTo>
                              <a:pt x="183" y="22"/>
                            </a:lnTo>
                            <a:close/>
                            <a:moveTo>
                              <a:pt x="205" y="53"/>
                            </a:moveTo>
                            <a:lnTo>
                              <a:pt x="201" y="53"/>
                            </a:lnTo>
                            <a:lnTo>
                              <a:pt x="196" y="71"/>
                            </a:lnTo>
                            <a:lnTo>
                              <a:pt x="196" y="80"/>
                            </a:lnTo>
                            <a:lnTo>
                              <a:pt x="201" y="85"/>
                            </a:lnTo>
                            <a:lnTo>
                              <a:pt x="201" y="94"/>
                            </a:lnTo>
                            <a:lnTo>
                              <a:pt x="205" y="107"/>
                            </a:lnTo>
                            <a:lnTo>
                              <a:pt x="214" y="98"/>
                            </a:lnTo>
                            <a:lnTo>
                              <a:pt x="214" y="103"/>
                            </a:lnTo>
                            <a:lnTo>
                              <a:pt x="214" y="112"/>
                            </a:lnTo>
                            <a:lnTo>
                              <a:pt x="214" y="134"/>
                            </a:lnTo>
                            <a:lnTo>
                              <a:pt x="241" y="129"/>
                            </a:lnTo>
                            <a:lnTo>
                              <a:pt x="241" y="138"/>
                            </a:lnTo>
                            <a:lnTo>
                              <a:pt x="259" y="129"/>
                            </a:lnTo>
                            <a:lnTo>
                              <a:pt x="277" y="138"/>
                            </a:lnTo>
                            <a:lnTo>
                              <a:pt x="281" y="147"/>
                            </a:lnTo>
                            <a:lnTo>
                              <a:pt x="295" y="134"/>
                            </a:lnTo>
                            <a:lnTo>
                              <a:pt x="299" y="143"/>
                            </a:lnTo>
                            <a:lnTo>
                              <a:pt x="304" y="138"/>
                            </a:lnTo>
                            <a:lnTo>
                              <a:pt x="304" y="129"/>
                            </a:lnTo>
                            <a:lnTo>
                              <a:pt x="304" y="116"/>
                            </a:lnTo>
                            <a:lnTo>
                              <a:pt x="304" y="112"/>
                            </a:lnTo>
                            <a:lnTo>
                              <a:pt x="322" y="94"/>
                            </a:lnTo>
                            <a:lnTo>
                              <a:pt x="322" y="85"/>
                            </a:lnTo>
                            <a:lnTo>
                              <a:pt x="326" y="71"/>
                            </a:lnTo>
                            <a:lnTo>
                              <a:pt x="344" y="67"/>
                            </a:lnTo>
                            <a:lnTo>
                              <a:pt x="322" y="53"/>
                            </a:lnTo>
                            <a:lnTo>
                              <a:pt x="326" y="49"/>
                            </a:lnTo>
                            <a:lnTo>
                              <a:pt x="322" y="36"/>
                            </a:lnTo>
                            <a:lnTo>
                              <a:pt x="326" y="27"/>
                            </a:lnTo>
                            <a:lnTo>
                              <a:pt x="322" y="18"/>
                            </a:lnTo>
                            <a:lnTo>
                              <a:pt x="304" y="18"/>
                            </a:lnTo>
                            <a:lnTo>
                              <a:pt x="295" y="22"/>
                            </a:lnTo>
                            <a:lnTo>
                              <a:pt x="281" y="49"/>
                            </a:lnTo>
                            <a:lnTo>
                              <a:pt x="277" y="62"/>
                            </a:lnTo>
                            <a:lnTo>
                              <a:pt x="255" y="62"/>
                            </a:lnTo>
                            <a:lnTo>
                              <a:pt x="246" y="71"/>
                            </a:lnTo>
                            <a:lnTo>
                              <a:pt x="228" y="71"/>
                            </a:lnTo>
                            <a:lnTo>
                              <a:pt x="210" y="58"/>
                            </a:lnTo>
                            <a:lnTo>
                              <a:pt x="205" y="53"/>
                            </a:lnTo>
                            <a:close/>
                            <a:moveTo>
                              <a:pt x="281" y="205"/>
                            </a:moveTo>
                            <a:lnTo>
                              <a:pt x="290" y="214"/>
                            </a:lnTo>
                            <a:lnTo>
                              <a:pt x="295" y="210"/>
                            </a:lnTo>
                            <a:lnTo>
                              <a:pt x="290" y="201"/>
                            </a:lnTo>
                            <a:lnTo>
                              <a:pt x="281" y="205"/>
                            </a:lnTo>
                            <a:close/>
                            <a:moveTo>
                              <a:pt x="304" y="201"/>
                            </a:moveTo>
                            <a:lnTo>
                              <a:pt x="299" y="205"/>
                            </a:lnTo>
                            <a:lnTo>
                              <a:pt x="299" y="210"/>
                            </a:lnTo>
                            <a:lnTo>
                              <a:pt x="299" y="214"/>
                            </a:lnTo>
                            <a:lnTo>
                              <a:pt x="304" y="210"/>
                            </a:lnTo>
                            <a:lnTo>
                              <a:pt x="313" y="205"/>
                            </a:lnTo>
                            <a:lnTo>
                              <a:pt x="304" y="201"/>
                            </a:lnTo>
                            <a:close/>
                            <a:moveTo>
                              <a:pt x="313" y="205"/>
                            </a:moveTo>
                            <a:lnTo>
                              <a:pt x="308" y="214"/>
                            </a:lnTo>
                            <a:lnTo>
                              <a:pt x="339" y="214"/>
                            </a:lnTo>
                            <a:lnTo>
                              <a:pt x="344" y="210"/>
                            </a:lnTo>
                            <a:lnTo>
                              <a:pt x="353" y="210"/>
                            </a:lnTo>
                            <a:lnTo>
                              <a:pt x="362" y="214"/>
                            </a:lnTo>
                            <a:lnTo>
                              <a:pt x="397" y="210"/>
                            </a:lnTo>
                            <a:lnTo>
                              <a:pt x="402" y="210"/>
                            </a:lnTo>
                            <a:lnTo>
                              <a:pt x="411" y="205"/>
                            </a:lnTo>
                            <a:lnTo>
                              <a:pt x="402" y="205"/>
                            </a:lnTo>
                            <a:lnTo>
                              <a:pt x="393" y="201"/>
                            </a:lnTo>
                            <a:lnTo>
                              <a:pt x="384" y="205"/>
                            </a:lnTo>
                            <a:lnTo>
                              <a:pt x="371" y="205"/>
                            </a:lnTo>
                            <a:lnTo>
                              <a:pt x="362" y="205"/>
                            </a:lnTo>
                            <a:lnTo>
                              <a:pt x="353" y="210"/>
                            </a:lnTo>
                            <a:lnTo>
                              <a:pt x="344" y="205"/>
                            </a:lnTo>
                            <a:lnTo>
                              <a:pt x="339" y="201"/>
                            </a:lnTo>
                            <a:lnTo>
                              <a:pt x="326" y="201"/>
                            </a:lnTo>
                            <a:lnTo>
                              <a:pt x="326" y="210"/>
                            </a:lnTo>
                            <a:lnTo>
                              <a:pt x="313" y="205"/>
                            </a:lnTo>
                            <a:close/>
                            <a:moveTo>
                              <a:pt x="339" y="219"/>
                            </a:moveTo>
                            <a:lnTo>
                              <a:pt x="362" y="237"/>
                            </a:lnTo>
                            <a:lnTo>
                              <a:pt x="371" y="232"/>
                            </a:lnTo>
                            <a:lnTo>
                              <a:pt x="357" y="219"/>
                            </a:lnTo>
                            <a:lnTo>
                              <a:pt x="348" y="219"/>
                            </a:lnTo>
                            <a:lnTo>
                              <a:pt x="339" y="219"/>
                            </a:lnTo>
                            <a:close/>
                            <a:moveTo>
                              <a:pt x="366" y="67"/>
                            </a:moveTo>
                            <a:lnTo>
                              <a:pt x="366" y="71"/>
                            </a:lnTo>
                            <a:lnTo>
                              <a:pt x="357" y="76"/>
                            </a:lnTo>
                            <a:lnTo>
                              <a:pt x="353" y="85"/>
                            </a:lnTo>
                            <a:lnTo>
                              <a:pt x="344" y="89"/>
                            </a:lnTo>
                            <a:lnTo>
                              <a:pt x="348" y="94"/>
                            </a:lnTo>
                            <a:lnTo>
                              <a:pt x="339" y="120"/>
                            </a:lnTo>
                            <a:lnTo>
                              <a:pt x="339" y="138"/>
                            </a:lnTo>
                            <a:lnTo>
                              <a:pt x="348" y="134"/>
                            </a:lnTo>
                            <a:lnTo>
                              <a:pt x="353" y="143"/>
                            </a:lnTo>
                            <a:lnTo>
                              <a:pt x="348" y="165"/>
                            </a:lnTo>
                            <a:lnTo>
                              <a:pt x="353" y="170"/>
                            </a:lnTo>
                            <a:lnTo>
                              <a:pt x="362" y="165"/>
                            </a:lnTo>
                            <a:lnTo>
                              <a:pt x="362" y="125"/>
                            </a:lnTo>
                            <a:lnTo>
                              <a:pt x="371" y="125"/>
                            </a:lnTo>
                            <a:lnTo>
                              <a:pt x="366" y="138"/>
                            </a:lnTo>
                            <a:lnTo>
                              <a:pt x="375" y="143"/>
                            </a:lnTo>
                            <a:lnTo>
                              <a:pt x="375" y="152"/>
                            </a:lnTo>
                            <a:lnTo>
                              <a:pt x="380" y="156"/>
                            </a:lnTo>
                            <a:lnTo>
                              <a:pt x="384" y="152"/>
                            </a:lnTo>
                            <a:lnTo>
                              <a:pt x="393" y="152"/>
                            </a:lnTo>
                            <a:lnTo>
                              <a:pt x="384" y="156"/>
                            </a:lnTo>
                            <a:lnTo>
                              <a:pt x="389" y="165"/>
                            </a:lnTo>
                            <a:lnTo>
                              <a:pt x="393" y="170"/>
                            </a:lnTo>
                            <a:lnTo>
                              <a:pt x="397" y="165"/>
                            </a:lnTo>
                            <a:lnTo>
                              <a:pt x="397" y="156"/>
                            </a:lnTo>
                            <a:lnTo>
                              <a:pt x="397" y="147"/>
                            </a:lnTo>
                            <a:lnTo>
                              <a:pt x="389" y="138"/>
                            </a:lnTo>
                            <a:lnTo>
                              <a:pt x="389" y="129"/>
                            </a:lnTo>
                            <a:lnTo>
                              <a:pt x="380" y="120"/>
                            </a:lnTo>
                            <a:lnTo>
                              <a:pt x="371" y="112"/>
                            </a:lnTo>
                            <a:lnTo>
                              <a:pt x="380" y="112"/>
                            </a:lnTo>
                            <a:lnTo>
                              <a:pt x="397" y="98"/>
                            </a:lnTo>
                            <a:lnTo>
                              <a:pt x="402" y="103"/>
                            </a:lnTo>
                            <a:lnTo>
                              <a:pt x="406" y="94"/>
                            </a:lnTo>
                            <a:lnTo>
                              <a:pt x="393" y="94"/>
                            </a:lnTo>
                            <a:lnTo>
                              <a:pt x="380" y="98"/>
                            </a:lnTo>
                            <a:lnTo>
                              <a:pt x="366" y="103"/>
                            </a:lnTo>
                            <a:lnTo>
                              <a:pt x="357" y="94"/>
                            </a:lnTo>
                            <a:lnTo>
                              <a:pt x="362" y="80"/>
                            </a:lnTo>
                            <a:lnTo>
                              <a:pt x="402" y="85"/>
                            </a:lnTo>
                            <a:lnTo>
                              <a:pt x="420" y="76"/>
                            </a:lnTo>
                            <a:lnTo>
                              <a:pt x="433" y="62"/>
                            </a:lnTo>
                            <a:lnTo>
                              <a:pt x="429" y="53"/>
                            </a:lnTo>
                            <a:lnTo>
                              <a:pt x="411" y="71"/>
                            </a:lnTo>
                            <a:lnTo>
                              <a:pt x="366" y="67"/>
                            </a:lnTo>
                            <a:close/>
                            <a:moveTo>
                              <a:pt x="420" y="201"/>
                            </a:moveTo>
                            <a:lnTo>
                              <a:pt x="415" y="210"/>
                            </a:lnTo>
                            <a:lnTo>
                              <a:pt x="433" y="210"/>
                            </a:lnTo>
                            <a:lnTo>
                              <a:pt x="442" y="201"/>
                            </a:lnTo>
                            <a:lnTo>
                              <a:pt x="451" y="201"/>
                            </a:lnTo>
                            <a:lnTo>
                              <a:pt x="456" y="196"/>
                            </a:lnTo>
                            <a:lnTo>
                              <a:pt x="442" y="196"/>
                            </a:lnTo>
                            <a:lnTo>
                              <a:pt x="433" y="205"/>
                            </a:lnTo>
                            <a:lnTo>
                              <a:pt x="420" y="201"/>
                            </a:lnTo>
                            <a:close/>
                            <a:moveTo>
                              <a:pt x="424" y="219"/>
                            </a:moveTo>
                            <a:lnTo>
                              <a:pt x="411" y="219"/>
                            </a:lnTo>
                            <a:lnTo>
                              <a:pt x="402" y="232"/>
                            </a:lnTo>
                            <a:lnTo>
                              <a:pt x="402" y="237"/>
                            </a:lnTo>
                            <a:lnTo>
                              <a:pt x="393" y="246"/>
                            </a:lnTo>
                            <a:lnTo>
                              <a:pt x="402" y="246"/>
                            </a:lnTo>
                            <a:lnTo>
                              <a:pt x="406" y="237"/>
                            </a:lnTo>
                            <a:lnTo>
                              <a:pt x="420" y="232"/>
                            </a:lnTo>
                            <a:lnTo>
                              <a:pt x="424" y="228"/>
                            </a:lnTo>
                            <a:lnTo>
                              <a:pt x="424" y="219"/>
                            </a:lnTo>
                            <a:close/>
                            <a:moveTo>
                              <a:pt x="438" y="129"/>
                            </a:moveTo>
                            <a:lnTo>
                              <a:pt x="447" y="143"/>
                            </a:lnTo>
                            <a:lnTo>
                              <a:pt x="456" y="134"/>
                            </a:lnTo>
                            <a:lnTo>
                              <a:pt x="451" y="129"/>
                            </a:lnTo>
                            <a:lnTo>
                              <a:pt x="438" y="129"/>
                            </a:lnTo>
                            <a:close/>
                            <a:moveTo>
                              <a:pt x="469" y="80"/>
                            </a:moveTo>
                            <a:lnTo>
                              <a:pt x="487" y="80"/>
                            </a:lnTo>
                            <a:lnTo>
                              <a:pt x="482" y="76"/>
                            </a:lnTo>
                            <a:lnTo>
                              <a:pt x="469" y="71"/>
                            </a:lnTo>
                            <a:lnTo>
                              <a:pt x="482" y="62"/>
                            </a:lnTo>
                            <a:lnTo>
                              <a:pt x="478" y="58"/>
                            </a:lnTo>
                            <a:lnTo>
                              <a:pt x="464" y="71"/>
                            </a:lnTo>
                            <a:lnTo>
                              <a:pt x="469" y="62"/>
                            </a:lnTo>
                            <a:lnTo>
                              <a:pt x="469" y="53"/>
                            </a:lnTo>
                            <a:lnTo>
                              <a:pt x="478" y="49"/>
                            </a:lnTo>
                            <a:lnTo>
                              <a:pt x="478" y="45"/>
                            </a:lnTo>
                            <a:lnTo>
                              <a:pt x="464" y="49"/>
                            </a:lnTo>
                            <a:lnTo>
                              <a:pt x="460" y="67"/>
                            </a:lnTo>
                            <a:lnTo>
                              <a:pt x="460" y="76"/>
                            </a:lnTo>
                            <a:lnTo>
                              <a:pt x="464" y="76"/>
                            </a:lnTo>
                            <a:lnTo>
                              <a:pt x="464" y="89"/>
                            </a:lnTo>
                            <a:lnTo>
                              <a:pt x="469" y="98"/>
                            </a:lnTo>
                            <a:lnTo>
                              <a:pt x="460" y="94"/>
                            </a:lnTo>
                            <a:lnTo>
                              <a:pt x="456" y="98"/>
                            </a:lnTo>
                            <a:lnTo>
                              <a:pt x="460" y="103"/>
                            </a:lnTo>
                            <a:lnTo>
                              <a:pt x="469" y="98"/>
                            </a:lnTo>
                            <a:lnTo>
                              <a:pt x="473" y="107"/>
                            </a:lnTo>
                            <a:lnTo>
                              <a:pt x="478" y="107"/>
                            </a:lnTo>
                            <a:lnTo>
                              <a:pt x="473" y="98"/>
                            </a:lnTo>
                            <a:lnTo>
                              <a:pt x="469" y="89"/>
                            </a:lnTo>
                            <a:lnTo>
                              <a:pt x="469" y="80"/>
                            </a:lnTo>
                            <a:close/>
                            <a:moveTo>
                              <a:pt x="505" y="125"/>
                            </a:moveTo>
                            <a:lnTo>
                              <a:pt x="491" y="125"/>
                            </a:lnTo>
                            <a:lnTo>
                              <a:pt x="469" y="125"/>
                            </a:lnTo>
                            <a:lnTo>
                              <a:pt x="464" y="134"/>
                            </a:lnTo>
                            <a:lnTo>
                              <a:pt x="478" y="138"/>
                            </a:lnTo>
                            <a:lnTo>
                              <a:pt x="482" y="134"/>
                            </a:lnTo>
                            <a:lnTo>
                              <a:pt x="500" y="134"/>
                            </a:lnTo>
                            <a:lnTo>
                              <a:pt x="514" y="138"/>
                            </a:lnTo>
                            <a:lnTo>
                              <a:pt x="505" y="125"/>
                            </a:lnTo>
                            <a:close/>
                            <a:moveTo>
                              <a:pt x="523" y="188"/>
                            </a:moveTo>
                            <a:lnTo>
                              <a:pt x="518" y="188"/>
                            </a:lnTo>
                            <a:lnTo>
                              <a:pt x="514" y="201"/>
                            </a:lnTo>
                            <a:lnTo>
                              <a:pt x="509" y="205"/>
                            </a:lnTo>
                            <a:lnTo>
                              <a:pt x="509" y="210"/>
                            </a:lnTo>
                            <a:lnTo>
                              <a:pt x="518" y="205"/>
                            </a:lnTo>
                            <a:lnTo>
                              <a:pt x="514" y="201"/>
                            </a:lnTo>
                            <a:lnTo>
                              <a:pt x="523" y="188"/>
                            </a:lnTo>
                            <a:close/>
                            <a:moveTo>
                              <a:pt x="563" y="161"/>
                            </a:moveTo>
                            <a:lnTo>
                              <a:pt x="563" y="170"/>
                            </a:lnTo>
                            <a:lnTo>
                              <a:pt x="558" y="174"/>
                            </a:lnTo>
                            <a:lnTo>
                              <a:pt x="554" y="188"/>
                            </a:lnTo>
                            <a:lnTo>
                              <a:pt x="563" y="188"/>
                            </a:lnTo>
                            <a:lnTo>
                              <a:pt x="567" y="179"/>
                            </a:lnTo>
                            <a:lnTo>
                              <a:pt x="567" y="165"/>
                            </a:lnTo>
                            <a:lnTo>
                              <a:pt x="563" y="161"/>
                            </a:lnTo>
                            <a:close/>
                            <a:moveTo>
                              <a:pt x="657" y="125"/>
                            </a:moveTo>
                            <a:lnTo>
                              <a:pt x="630" y="116"/>
                            </a:lnTo>
                            <a:lnTo>
                              <a:pt x="612" y="107"/>
                            </a:lnTo>
                            <a:lnTo>
                              <a:pt x="603" y="112"/>
                            </a:lnTo>
                            <a:lnTo>
                              <a:pt x="603" y="116"/>
                            </a:lnTo>
                            <a:lnTo>
                              <a:pt x="590" y="120"/>
                            </a:lnTo>
                            <a:lnTo>
                              <a:pt x="581" y="134"/>
                            </a:lnTo>
                            <a:lnTo>
                              <a:pt x="572" y="134"/>
                            </a:lnTo>
                            <a:lnTo>
                              <a:pt x="563" y="116"/>
                            </a:lnTo>
                            <a:lnTo>
                              <a:pt x="558" y="120"/>
                            </a:lnTo>
                            <a:lnTo>
                              <a:pt x="558" y="103"/>
                            </a:lnTo>
                            <a:lnTo>
                              <a:pt x="554" y="94"/>
                            </a:lnTo>
                            <a:lnTo>
                              <a:pt x="531" y="89"/>
                            </a:lnTo>
                            <a:lnTo>
                              <a:pt x="527" y="89"/>
                            </a:lnTo>
                            <a:lnTo>
                              <a:pt x="509" y="103"/>
                            </a:lnTo>
                            <a:lnTo>
                              <a:pt x="509" y="98"/>
                            </a:lnTo>
                            <a:lnTo>
                              <a:pt x="500" y="98"/>
                            </a:lnTo>
                            <a:lnTo>
                              <a:pt x="509" y="107"/>
                            </a:lnTo>
                            <a:lnTo>
                              <a:pt x="518" y="107"/>
                            </a:lnTo>
                            <a:lnTo>
                              <a:pt x="523" y="116"/>
                            </a:lnTo>
                            <a:lnTo>
                              <a:pt x="549" y="112"/>
                            </a:lnTo>
                            <a:lnTo>
                              <a:pt x="554" y="120"/>
                            </a:lnTo>
                            <a:lnTo>
                              <a:pt x="540" y="120"/>
                            </a:lnTo>
                            <a:lnTo>
                              <a:pt x="536" y="125"/>
                            </a:lnTo>
                            <a:lnTo>
                              <a:pt x="527" y="120"/>
                            </a:lnTo>
                            <a:lnTo>
                              <a:pt x="523" y="129"/>
                            </a:lnTo>
                            <a:lnTo>
                              <a:pt x="536" y="129"/>
                            </a:lnTo>
                            <a:lnTo>
                              <a:pt x="536" y="138"/>
                            </a:lnTo>
                            <a:lnTo>
                              <a:pt x="540" y="147"/>
                            </a:lnTo>
                            <a:lnTo>
                              <a:pt x="545" y="147"/>
                            </a:lnTo>
                            <a:lnTo>
                              <a:pt x="549" y="129"/>
                            </a:lnTo>
                            <a:lnTo>
                              <a:pt x="554" y="138"/>
                            </a:lnTo>
                            <a:lnTo>
                              <a:pt x="612" y="165"/>
                            </a:lnTo>
                            <a:lnTo>
                              <a:pt x="621" y="188"/>
                            </a:lnTo>
                            <a:lnTo>
                              <a:pt x="625" y="192"/>
                            </a:lnTo>
                            <a:lnTo>
                              <a:pt x="625" y="196"/>
                            </a:lnTo>
                            <a:lnTo>
                              <a:pt x="621" y="192"/>
                            </a:lnTo>
                            <a:lnTo>
                              <a:pt x="607" y="210"/>
                            </a:lnTo>
                            <a:lnTo>
                              <a:pt x="625" y="210"/>
                            </a:lnTo>
                            <a:lnTo>
                              <a:pt x="630" y="201"/>
                            </a:lnTo>
                            <a:lnTo>
                              <a:pt x="643" y="201"/>
                            </a:lnTo>
                            <a:lnTo>
                              <a:pt x="652" y="214"/>
                            </a:lnTo>
                            <a:lnTo>
                              <a:pt x="657" y="214"/>
                            </a:lnTo>
                            <a:lnTo>
                              <a:pt x="657" y="125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5" name="Freeform 135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373" y="2040"/>
                        <a:ext cx="262" cy="236"/>
                      </a:xfrm>
                      <a:custGeom>
                        <a:avLst/>
                        <a:gdLst>
                          <a:gd name="T0" fmla="*/ 0 w 277"/>
                          <a:gd name="T1" fmla="*/ 8 h 250"/>
                          <a:gd name="T2" fmla="*/ 9 w 277"/>
                          <a:gd name="T3" fmla="*/ 8 h 250"/>
                          <a:gd name="T4" fmla="*/ 9 w 277"/>
                          <a:gd name="T5" fmla="*/ 13 h 250"/>
                          <a:gd name="T6" fmla="*/ 9 w 277"/>
                          <a:gd name="T7" fmla="*/ 15 h 250"/>
                          <a:gd name="T8" fmla="*/ 9 w 277"/>
                          <a:gd name="T9" fmla="*/ 22 h 250"/>
                          <a:gd name="T10" fmla="*/ 9 w 277"/>
                          <a:gd name="T11" fmla="*/ 26 h 250"/>
                          <a:gd name="T12" fmla="*/ 12 w 277"/>
                          <a:gd name="T13" fmla="*/ 30 h 250"/>
                          <a:gd name="T14" fmla="*/ 14 w 277"/>
                          <a:gd name="T15" fmla="*/ 30 h 250"/>
                          <a:gd name="T16" fmla="*/ 18 w 277"/>
                          <a:gd name="T17" fmla="*/ 30 h 250"/>
                          <a:gd name="T18" fmla="*/ 20 w 277"/>
                          <a:gd name="T19" fmla="*/ 34 h 250"/>
                          <a:gd name="T20" fmla="*/ 21 w 277"/>
                          <a:gd name="T21" fmla="*/ 36 h 250"/>
                          <a:gd name="T22" fmla="*/ 23 w 277"/>
                          <a:gd name="T23" fmla="*/ 38 h 250"/>
                          <a:gd name="T24" fmla="*/ 30 w 277"/>
                          <a:gd name="T25" fmla="*/ 40 h 250"/>
                          <a:gd name="T26" fmla="*/ 30 w 277"/>
                          <a:gd name="T27" fmla="*/ 40 h 250"/>
                          <a:gd name="T28" fmla="*/ 32 w 277"/>
                          <a:gd name="T29" fmla="*/ 40 h 250"/>
                          <a:gd name="T30" fmla="*/ 36 w 277"/>
                          <a:gd name="T31" fmla="*/ 40 h 250"/>
                          <a:gd name="T32" fmla="*/ 37 w 277"/>
                          <a:gd name="T33" fmla="*/ 42 h 250"/>
                          <a:gd name="T34" fmla="*/ 42 w 277"/>
                          <a:gd name="T35" fmla="*/ 44 h 250"/>
                          <a:gd name="T36" fmla="*/ 48 w 277"/>
                          <a:gd name="T37" fmla="*/ 43 h 250"/>
                          <a:gd name="T38" fmla="*/ 49 w 277"/>
                          <a:gd name="T39" fmla="*/ 40 h 250"/>
                          <a:gd name="T40" fmla="*/ 52 w 277"/>
                          <a:gd name="T41" fmla="*/ 38 h 250"/>
                          <a:gd name="T42" fmla="*/ 51 w 277"/>
                          <a:gd name="T43" fmla="*/ 36 h 250"/>
                          <a:gd name="T44" fmla="*/ 45 w 277"/>
                          <a:gd name="T45" fmla="*/ 32 h 250"/>
                          <a:gd name="T46" fmla="*/ 46 w 277"/>
                          <a:gd name="T47" fmla="*/ 28 h 250"/>
                          <a:gd name="T48" fmla="*/ 47 w 277"/>
                          <a:gd name="T49" fmla="*/ 25 h 250"/>
                          <a:gd name="T50" fmla="*/ 45 w 277"/>
                          <a:gd name="T51" fmla="*/ 20 h 250"/>
                          <a:gd name="T52" fmla="*/ 46 w 277"/>
                          <a:gd name="T53" fmla="*/ 13 h 250"/>
                          <a:gd name="T54" fmla="*/ 44 w 277"/>
                          <a:gd name="T55" fmla="*/ 8 h 250"/>
                          <a:gd name="T56" fmla="*/ 38 w 277"/>
                          <a:gd name="T57" fmla="*/ 8 h 250"/>
                          <a:gd name="T58" fmla="*/ 34 w 277"/>
                          <a:gd name="T59" fmla="*/ 8 h 250"/>
                          <a:gd name="T60" fmla="*/ 30 w 277"/>
                          <a:gd name="T61" fmla="*/ 8 h 250"/>
                          <a:gd name="T62" fmla="*/ 28 w 277"/>
                          <a:gd name="T63" fmla="*/ 8 h 250"/>
                          <a:gd name="T64" fmla="*/ 26 w 277"/>
                          <a:gd name="T65" fmla="*/ 8 h 250"/>
                          <a:gd name="T66" fmla="*/ 19 w 277"/>
                          <a:gd name="T67" fmla="*/ 8 h 250"/>
                          <a:gd name="T68" fmla="*/ 15 w 277"/>
                          <a:gd name="T69" fmla="*/ 8 h 250"/>
                          <a:gd name="T70" fmla="*/ 12 w 277"/>
                          <a:gd name="T71" fmla="*/ 8 h 250"/>
                          <a:gd name="T72" fmla="*/ 10 w 277"/>
                          <a:gd name="T73" fmla="*/ 0 h 250"/>
                          <a:gd name="T74" fmla="*/ 9 w 277"/>
                          <a:gd name="T75" fmla="*/ 8 h 250"/>
                          <a:gd name="T76" fmla="*/ 9 w 277"/>
                          <a:gd name="T77" fmla="*/ 8 h 250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w 277"/>
                          <a:gd name="T118" fmla="*/ 0 h 250"/>
                          <a:gd name="T119" fmla="*/ 277 w 277"/>
                          <a:gd name="T120" fmla="*/ 250 h 250"/>
                        </a:gdLst>
                        <a:ahLst/>
                        <a:cxnLst>
                          <a:cxn ang="T78">
                            <a:pos x="T0" y="T1"/>
                          </a:cxn>
                          <a:cxn ang="T79">
                            <a:pos x="T2" y="T3"/>
                          </a:cxn>
                          <a:cxn ang="T80">
                            <a:pos x="T4" y="T5"/>
                          </a:cxn>
                          <a:cxn ang="T81">
                            <a:pos x="T6" y="T7"/>
                          </a:cxn>
                          <a:cxn ang="T82">
                            <a:pos x="T8" y="T9"/>
                          </a:cxn>
                          <a:cxn ang="T83">
                            <a:pos x="T10" y="T11"/>
                          </a:cxn>
                          <a:cxn ang="T84">
                            <a:pos x="T12" y="T13"/>
                          </a:cxn>
                          <a:cxn ang="T85">
                            <a:pos x="T14" y="T15"/>
                          </a:cxn>
                          <a:cxn ang="T86">
                            <a:pos x="T16" y="T17"/>
                          </a:cxn>
                          <a:cxn ang="T87">
                            <a:pos x="T18" y="T19"/>
                          </a:cxn>
                          <a:cxn ang="T88">
                            <a:pos x="T20" y="T21"/>
                          </a:cxn>
                          <a:cxn ang="T89">
                            <a:pos x="T22" y="T23"/>
                          </a:cxn>
                          <a:cxn ang="T90">
                            <a:pos x="T24" y="T25"/>
                          </a:cxn>
                          <a:cxn ang="T91">
                            <a:pos x="T26" y="T27"/>
                          </a:cxn>
                          <a:cxn ang="T92">
                            <a:pos x="T28" y="T29"/>
                          </a:cxn>
                          <a:cxn ang="T93">
                            <a:pos x="T30" y="T31"/>
                          </a:cxn>
                          <a:cxn ang="T94">
                            <a:pos x="T32" y="T33"/>
                          </a:cxn>
                          <a:cxn ang="T95">
                            <a:pos x="T34" y="T35"/>
                          </a:cxn>
                          <a:cxn ang="T96">
                            <a:pos x="T36" y="T37"/>
                          </a:cxn>
                          <a:cxn ang="T97">
                            <a:pos x="T38" y="T39"/>
                          </a:cxn>
                          <a:cxn ang="T98">
                            <a:pos x="T40" y="T41"/>
                          </a:cxn>
                          <a:cxn ang="T99">
                            <a:pos x="T42" y="T43"/>
                          </a:cxn>
                          <a:cxn ang="T100">
                            <a:pos x="T44" y="T45"/>
                          </a:cxn>
                          <a:cxn ang="T101">
                            <a:pos x="T46" y="T47"/>
                          </a:cxn>
                          <a:cxn ang="T102">
                            <a:pos x="T48" y="T49"/>
                          </a:cxn>
                          <a:cxn ang="T103">
                            <a:pos x="T50" y="T51"/>
                          </a:cxn>
                          <a:cxn ang="T104">
                            <a:pos x="T52" y="T53"/>
                          </a:cxn>
                          <a:cxn ang="T105">
                            <a:pos x="T54" y="T55"/>
                          </a:cxn>
                          <a:cxn ang="T106">
                            <a:pos x="T56" y="T57"/>
                          </a:cxn>
                          <a:cxn ang="T107">
                            <a:pos x="T58" y="T59"/>
                          </a:cxn>
                          <a:cxn ang="T108">
                            <a:pos x="T60" y="T61"/>
                          </a:cxn>
                          <a:cxn ang="T109">
                            <a:pos x="T62" y="T63"/>
                          </a:cxn>
                          <a:cxn ang="T110">
                            <a:pos x="T64" y="T65"/>
                          </a:cxn>
                          <a:cxn ang="T111">
                            <a:pos x="T66" y="T67"/>
                          </a:cxn>
                          <a:cxn ang="T112">
                            <a:pos x="T68" y="T69"/>
                          </a:cxn>
                          <a:cxn ang="T113">
                            <a:pos x="T70" y="T71"/>
                          </a:cxn>
                          <a:cxn ang="T114">
                            <a:pos x="T72" y="T73"/>
                          </a:cxn>
                          <a:cxn ang="T115">
                            <a:pos x="T74" y="T75"/>
                          </a:cxn>
                          <a:cxn ang="T116">
                            <a:pos x="T76" y="T77"/>
                          </a:cxn>
                        </a:cxnLst>
                        <a:rect l="T117" t="T118" r="T119" b="T120"/>
                        <a:pathLst>
                          <a:path w="277" h="250">
                            <a:moveTo>
                              <a:pt x="9" y="0"/>
                            </a:moveTo>
                            <a:lnTo>
                              <a:pt x="0" y="9"/>
                            </a:lnTo>
                            <a:lnTo>
                              <a:pt x="5" y="35"/>
                            </a:lnTo>
                            <a:lnTo>
                              <a:pt x="14" y="40"/>
                            </a:lnTo>
                            <a:lnTo>
                              <a:pt x="14" y="44"/>
                            </a:lnTo>
                            <a:lnTo>
                              <a:pt x="23" y="71"/>
                            </a:lnTo>
                            <a:lnTo>
                              <a:pt x="32" y="71"/>
                            </a:lnTo>
                            <a:lnTo>
                              <a:pt x="32" y="80"/>
                            </a:lnTo>
                            <a:lnTo>
                              <a:pt x="23" y="98"/>
                            </a:lnTo>
                            <a:lnTo>
                              <a:pt x="32" y="120"/>
                            </a:lnTo>
                            <a:lnTo>
                              <a:pt x="54" y="138"/>
                            </a:lnTo>
                            <a:lnTo>
                              <a:pt x="54" y="152"/>
                            </a:lnTo>
                            <a:lnTo>
                              <a:pt x="58" y="156"/>
                            </a:lnTo>
                            <a:lnTo>
                              <a:pt x="63" y="165"/>
                            </a:lnTo>
                            <a:lnTo>
                              <a:pt x="67" y="169"/>
                            </a:lnTo>
                            <a:lnTo>
                              <a:pt x="72" y="165"/>
                            </a:lnTo>
                            <a:lnTo>
                              <a:pt x="81" y="169"/>
                            </a:lnTo>
                            <a:lnTo>
                              <a:pt x="90" y="165"/>
                            </a:lnTo>
                            <a:lnTo>
                              <a:pt x="103" y="187"/>
                            </a:lnTo>
                            <a:lnTo>
                              <a:pt x="99" y="187"/>
                            </a:lnTo>
                            <a:lnTo>
                              <a:pt x="103" y="192"/>
                            </a:lnTo>
                            <a:lnTo>
                              <a:pt x="108" y="201"/>
                            </a:lnTo>
                            <a:lnTo>
                              <a:pt x="121" y="210"/>
                            </a:lnTo>
                            <a:lnTo>
                              <a:pt x="121" y="214"/>
                            </a:lnTo>
                            <a:lnTo>
                              <a:pt x="139" y="223"/>
                            </a:lnTo>
                            <a:lnTo>
                              <a:pt x="157" y="228"/>
                            </a:lnTo>
                            <a:lnTo>
                              <a:pt x="161" y="223"/>
                            </a:lnTo>
                            <a:lnTo>
                              <a:pt x="161" y="228"/>
                            </a:lnTo>
                            <a:lnTo>
                              <a:pt x="179" y="219"/>
                            </a:lnTo>
                            <a:lnTo>
                              <a:pt x="170" y="219"/>
                            </a:lnTo>
                            <a:lnTo>
                              <a:pt x="175" y="214"/>
                            </a:lnTo>
                            <a:lnTo>
                              <a:pt x="188" y="219"/>
                            </a:lnTo>
                            <a:lnTo>
                              <a:pt x="188" y="223"/>
                            </a:lnTo>
                            <a:lnTo>
                              <a:pt x="192" y="241"/>
                            </a:lnTo>
                            <a:lnTo>
                              <a:pt x="206" y="245"/>
                            </a:lnTo>
                            <a:lnTo>
                              <a:pt x="224" y="250"/>
                            </a:lnTo>
                            <a:lnTo>
                              <a:pt x="251" y="250"/>
                            </a:lnTo>
                            <a:lnTo>
                              <a:pt x="255" y="245"/>
                            </a:lnTo>
                            <a:lnTo>
                              <a:pt x="255" y="236"/>
                            </a:lnTo>
                            <a:lnTo>
                              <a:pt x="264" y="228"/>
                            </a:lnTo>
                            <a:lnTo>
                              <a:pt x="277" y="223"/>
                            </a:lnTo>
                            <a:lnTo>
                              <a:pt x="277" y="214"/>
                            </a:lnTo>
                            <a:lnTo>
                              <a:pt x="268" y="214"/>
                            </a:lnTo>
                            <a:lnTo>
                              <a:pt x="268" y="201"/>
                            </a:lnTo>
                            <a:lnTo>
                              <a:pt x="255" y="196"/>
                            </a:lnTo>
                            <a:lnTo>
                              <a:pt x="242" y="178"/>
                            </a:lnTo>
                            <a:lnTo>
                              <a:pt x="242" y="174"/>
                            </a:lnTo>
                            <a:lnTo>
                              <a:pt x="246" y="161"/>
                            </a:lnTo>
                            <a:lnTo>
                              <a:pt x="255" y="156"/>
                            </a:lnTo>
                            <a:lnTo>
                              <a:pt x="251" y="143"/>
                            </a:lnTo>
                            <a:lnTo>
                              <a:pt x="242" y="143"/>
                            </a:lnTo>
                            <a:lnTo>
                              <a:pt x="242" y="107"/>
                            </a:lnTo>
                            <a:lnTo>
                              <a:pt x="237" y="98"/>
                            </a:lnTo>
                            <a:lnTo>
                              <a:pt x="246" y="71"/>
                            </a:lnTo>
                            <a:lnTo>
                              <a:pt x="246" y="53"/>
                            </a:lnTo>
                            <a:lnTo>
                              <a:pt x="233" y="53"/>
                            </a:lnTo>
                            <a:lnTo>
                              <a:pt x="219" y="35"/>
                            </a:lnTo>
                            <a:lnTo>
                              <a:pt x="197" y="31"/>
                            </a:lnTo>
                            <a:lnTo>
                              <a:pt x="188" y="22"/>
                            </a:lnTo>
                            <a:lnTo>
                              <a:pt x="179" y="31"/>
                            </a:lnTo>
                            <a:lnTo>
                              <a:pt x="166" y="31"/>
                            </a:lnTo>
                            <a:lnTo>
                              <a:pt x="157" y="40"/>
                            </a:lnTo>
                            <a:lnTo>
                              <a:pt x="148" y="44"/>
                            </a:lnTo>
                            <a:lnTo>
                              <a:pt x="148" y="53"/>
                            </a:lnTo>
                            <a:lnTo>
                              <a:pt x="139" y="53"/>
                            </a:lnTo>
                            <a:lnTo>
                              <a:pt x="139" y="49"/>
                            </a:lnTo>
                            <a:lnTo>
                              <a:pt x="108" y="58"/>
                            </a:lnTo>
                            <a:lnTo>
                              <a:pt x="94" y="53"/>
                            </a:lnTo>
                            <a:lnTo>
                              <a:pt x="90" y="44"/>
                            </a:lnTo>
                            <a:lnTo>
                              <a:pt x="76" y="40"/>
                            </a:lnTo>
                            <a:lnTo>
                              <a:pt x="76" y="26"/>
                            </a:lnTo>
                            <a:lnTo>
                              <a:pt x="63" y="18"/>
                            </a:lnTo>
                            <a:lnTo>
                              <a:pt x="63" y="4"/>
                            </a:lnTo>
                            <a:lnTo>
                              <a:pt x="58" y="0"/>
                            </a:lnTo>
                            <a:lnTo>
                              <a:pt x="36" y="13"/>
                            </a:lnTo>
                            <a:lnTo>
                              <a:pt x="36" y="18"/>
                            </a:lnTo>
                            <a:lnTo>
                              <a:pt x="32" y="18"/>
                            </a:lnTo>
                            <a:lnTo>
                              <a:pt x="27" y="13"/>
                            </a:lnTo>
                            <a:lnTo>
                              <a:pt x="9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6" name="Freeform 136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302" y="2081"/>
                        <a:ext cx="131" cy="135"/>
                      </a:xfrm>
                      <a:custGeom>
                        <a:avLst/>
                        <a:gdLst>
                          <a:gd name="T0" fmla="*/ 0 w 139"/>
                          <a:gd name="T1" fmla="*/ 13 h 143"/>
                          <a:gd name="T2" fmla="*/ 8 w 139"/>
                          <a:gd name="T3" fmla="*/ 17 h 143"/>
                          <a:gd name="T4" fmla="*/ 8 w 139"/>
                          <a:gd name="T5" fmla="*/ 18 h 143"/>
                          <a:gd name="T6" fmla="*/ 10 w 139"/>
                          <a:gd name="T7" fmla="*/ 22 h 143"/>
                          <a:gd name="T8" fmla="*/ 10 w 139"/>
                          <a:gd name="T9" fmla="*/ 23 h 143"/>
                          <a:gd name="T10" fmla="*/ 13 w 139"/>
                          <a:gd name="T11" fmla="*/ 23 h 143"/>
                          <a:gd name="T12" fmla="*/ 13 w 139"/>
                          <a:gd name="T13" fmla="*/ 25 h 143"/>
                          <a:gd name="T14" fmla="*/ 15 w 139"/>
                          <a:gd name="T15" fmla="*/ 25 h 143"/>
                          <a:gd name="T16" fmla="*/ 20 w 139"/>
                          <a:gd name="T17" fmla="*/ 25 h 143"/>
                          <a:gd name="T18" fmla="*/ 21 w 139"/>
                          <a:gd name="T19" fmla="*/ 25 h 143"/>
                          <a:gd name="T20" fmla="*/ 21 w 139"/>
                          <a:gd name="T21" fmla="*/ 24 h 143"/>
                          <a:gd name="T22" fmla="*/ 23 w 139"/>
                          <a:gd name="T23" fmla="*/ 23 h 143"/>
                          <a:gd name="T24" fmla="*/ 23 w 139"/>
                          <a:gd name="T25" fmla="*/ 23 h 143"/>
                          <a:gd name="T26" fmla="*/ 24 w 139"/>
                          <a:gd name="T27" fmla="*/ 23 h 143"/>
                          <a:gd name="T28" fmla="*/ 24 w 139"/>
                          <a:gd name="T29" fmla="*/ 22 h 143"/>
                          <a:gd name="T30" fmla="*/ 23 w 139"/>
                          <a:gd name="T31" fmla="*/ 21 h 143"/>
                          <a:gd name="T32" fmla="*/ 23 w 139"/>
                          <a:gd name="T33" fmla="*/ 20 h 143"/>
                          <a:gd name="T34" fmla="*/ 23 w 139"/>
                          <a:gd name="T35" fmla="*/ 18 h 143"/>
                          <a:gd name="T36" fmla="*/ 19 w 139"/>
                          <a:gd name="T37" fmla="*/ 14 h 143"/>
                          <a:gd name="T38" fmla="*/ 18 w 139"/>
                          <a:gd name="T39" fmla="*/ 8 h 143"/>
                          <a:gd name="T40" fmla="*/ 19 w 139"/>
                          <a:gd name="T41" fmla="*/ 8 h 143"/>
                          <a:gd name="T42" fmla="*/ 19 w 139"/>
                          <a:gd name="T43" fmla="*/ 8 h 143"/>
                          <a:gd name="T44" fmla="*/ 18 w 139"/>
                          <a:gd name="T45" fmla="*/ 8 h 143"/>
                          <a:gd name="T46" fmla="*/ 16 w 139"/>
                          <a:gd name="T47" fmla="*/ 0 h 143"/>
                          <a:gd name="T48" fmla="*/ 15 w 139"/>
                          <a:gd name="T49" fmla="*/ 5 h 143"/>
                          <a:gd name="T50" fmla="*/ 10 w 139"/>
                          <a:gd name="T51" fmla="*/ 0 h 143"/>
                          <a:gd name="T52" fmla="*/ 9 w 139"/>
                          <a:gd name="T53" fmla="*/ 5 h 143"/>
                          <a:gd name="T54" fmla="*/ 8 w 139"/>
                          <a:gd name="T55" fmla="*/ 8 h 143"/>
                          <a:gd name="T56" fmla="*/ 8 w 139"/>
                          <a:gd name="T57" fmla="*/ 8 h 143"/>
                          <a:gd name="T58" fmla="*/ 8 w 139"/>
                          <a:gd name="T59" fmla="*/ 8 h 143"/>
                          <a:gd name="T60" fmla="*/ 0 w 139"/>
                          <a:gd name="T61" fmla="*/ 13 h 143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w 139"/>
                          <a:gd name="T94" fmla="*/ 0 h 143"/>
                          <a:gd name="T95" fmla="*/ 139 w 139"/>
                          <a:gd name="T96" fmla="*/ 143 h 143"/>
                        </a:gdLst>
                        <a:ahLst/>
                        <a:cxnLst>
                          <a:cxn ang="T62">
                            <a:pos x="T0" y="T1"/>
                          </a:cxn>
                          <a:cxn ang="T63">
                            <a:pos x="T2" y="T3"/>
                          </a:cxn>
                          <a:cxn ang="T64">
                            <a:pos x="T4" y="T5"/>
                          </a:cxn>
                          <a:cxn ang="T65">
                            <a:pos x="T6" y="T7"/>
                          </a:cxn>
                          <a:cxn ang="T66">
                            <a:pos x="T8" y="T9"/>
                          </a:cxn>
                          <a:cxn ang="T67">
                            <a:pos x="T10" y="T11"/>
                          </a:cxn>
                          <a:cxn ang="T68">
                            <a:pos x="T12" y="T13"/>
                          </a:cxn>
                          <a:cxn ang="T69">
                            <a:pos x="T14" y="T15"/>
                          </a:cxn>
                          <a:cxn ang="T70">
                            <a:pos x="T16" y="T17"/>
                          </a:cxn>
                          <a:cxn ang="T71">
                            <a:pos x="T18" y="T19"/>
                          </a:cxn>
                          <a:cxn ang="T72">
                            <a:pos x="T20" y="T21"/>
                          </a:cxn>
                          <a:cxn ang="T73">
                            <a:pos x="T22" y="T23"/>
                          </a:cxn>
                          <a:cxn ang="T74">
                            <a:pos x="T24" y="T25"/>
                          </a:cxn>
                          <a:cxn ang="T75">
                            <a:pos x="T26" y="T27"/>
                          </a:cxn>
                          <a:cxn ang="T76">
                            <a:pos x="T28" y="T29"/>
                          </a:cxn>
                          <a:cxn ang="T77">
                            <a:pos x="T30" y="T31"/>
                          </a:cxn>
                          <a:cxn ang="T78">
                            <a:pos x="T32" y="T33"/>
                          </a:cxn>
                          <a:cxn ang="T79">
                            <a:pos x="T34" y="T35"/>
                          </a:cxn>
                          <a:cxn ang="T80">
                            <a:pos x="T36" y="T37"/>
                          </a:cxn>
                          <a:cxn ang="T81">
                            <a:pos x="T38" y="T39"/>
                          </a:cxn>
                          <a:cxn ang="T82">
                            <a:pos x="T40" y="T41"/>
                          </a:cxn>
                          <a:cxn ang="T83">
                            <a:pos x="T42" y="T43"/>
                          </a:cxn>
                          <a:cxn ang="T84">
                            <a:pos x="T44" y="T45"/>
                          </a:cxn>
                          <a:cxn ang="T85">
                            <a:pos x="T46" y="T47"/>
                          </a:cxn>
                          <a:cxn ang="T86">
                            <a:pos x="T48" y="T49"/>
                          </a:cxn>
                          <a:cxn ang="T87">
                            <a:pos x="T50" y="T51"/>
                          </a:cxn>
                          <a:cxn ang="T88">
                            <a:pos x="T52" y="T53"/>
                          </a:cxn>
                          <a:cxn ang="T89">
                            <a:pos x="T54" y="T55"/>
                          </a:cxn>
                          <a:cxn ang="T90">
                            <a:pos x="T56" y="T57"/>
                          </a:cxn>
                          <a:cxn ang="T91">
                            <a:pos x="T58" y="T59"/>
                          </a:cxn>
                          <a:cxn ang="T92">
                            <a:pos x="T60" y="T61"/>
                          </a:cxn>
                        </a:cxnLst>
                        <a:rect l="T93" t="T94" r="T95" b="T96"/>
                        <a:pathLst>
                          <a:path w="139" h="143">
                            <a:moveTo>
                              <a:pt x="0" y="72"/>
                            </a:moveTo>
                            <a:lnTo>
                              <a:pt x="9" y="90"/>
                            </a:lnTo>
                            <a:lnTo>
                              <a:pt x="32" y="94"/>
                            </a:lnTo>
                            <a:lnTo>
                              <a:pt x="63" y="117"/>
                            </a:lnTo>
                            <a:lnTo>
                              <a:pt x="63" y="125"/>
                            </a:lnTo>
                            <a:lnTo>
                              <a:pt x="72" y="125"/>
                            </a:lnTo>
                            <a:lnTo>
                              <a:pt x="72" y="139"/>
                            </a:lnTo>
                            <a:lnTo>
                              <a:pt x="85" y="143"/>
                            </a:lnTo>
                            <a:lnTo>
                              <a:pt x="112" y="143"/>
                            </a:lnTo>
                            <a:lnTo>
                              <a:pt x="121" y="139"/>
                            </a:lnTo>
                            <a:lnTo>
                              <a:pt x="121" y="130"/>
                            </a:lnTo>
                            <a:lnTo>
                              <a:pt x="134" y="125"/>
                            </a:lnTo>
                            <a:lnTo>
                              <a:pt x="139" y="125"/>
                            </a:lnTo>
                            <a:lnTo>
                              <a:pt x="139" y="121"/>
                            </a:lnTo>
                            <a:lnTo>
                              <a:pt x="134" y="112"/>
                            </a:lnTo>
                            <a:lnTo>
                              <a:pt x="130" y="108"/>
                            </a:lnTo>
                            <a:lnTo>
                              <a:pt x="130" y="94"/>
                            </a:lnTo>
                            <a:lnTo>
                              <a:pt x="108" y="76"/>
                            </a:lnTo>
                            <a:lnTo>
                              <a:pt x="99" y="54"/>
                            </a:lnTo>
                            <a:lnTo>
                              <a:pt x="108" y="36"/>
                            </a:lnTo>
                            <a:lnTo>
                              <a:pt x="108" y="27"/>
                            </a:lnTo>
                            <a:lnTo>
                              <a:pt x="99" y="27"/>
                            </a:lnTo>
                            <a:lnTo>
                              <a:pt x="90" y="0"/>
                            </a:lnTo>
                            <a:lnTo>
                              <a:pt x="81" y="5"/>
                            </a:lnTo>
                            <a:lnTo>
                              <a:pt x="63" y="0"/>
                            </a:lnTo>
                            <a:lnTo>
                              <a:pt x="58" y="5"/>
                            </a:lnTo>
                            <a:lnTo>
                              <a:pt x="54" y="9"/>
                            </a:lnTo>
                            <a:lnTo>
                              <a:pt x="41" y="18"/>
                            </a:lnTo>
                            <a:lnTo>
                              <a:pt x="36" y="45"/>
                            </a:lnTo>
                            <a:lnTo>
                              <a:pt x="0" y="72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7" name="Freeform 137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243" y="2145"/>
                        <a:ext cx="21" cy="63"/>
                      </a:xfrm>
                      <a:custGeom>
                        <a:avLst/>
                        <a:gdLst>
                          <a:gd name="T0" fmla="*/ 0 w 22"/>
                          <a:gd name="T1" fmla="*/ 8 h 67"/>
                          <a:gd name="T2" fmla="*/ 4 w 22"/>
                          <a:gd name="T3" fmla="*/ 8 h 67"/>
                          <a:gd name="T4" fmla="*/ 0 w 22"/>
                          <a:gd name="T5" fmla="*/ 8 h 67"/>
                          <a:gd name="T6" fmla="*/ 9 w 22"/>
                          <a:gd name="T7" fmla="*/ 10 h 67"/>
                          <a:gd name="T8" fmla="*/ 11 w 22"/>
                          <a:gd name="T9" fmla="*/ 9 h 67"/>
                          <a:gd name="T10" fmla="*/ 11 w 22"/>
                          <a:gd name="T11" fmla="*/ 8 h 67"/>
                          <a:gd name="T12" fmla="*/ 11 w 22"/>
                          <a:gd name="T13" fmla="*/ 8 h 67"/>
                          <a:gd name="T14" fmla="*/ 11 w 22"/>
                          <a:gd name="T15" fmla="*/ 8 h 67"/>
                          <a:gd name="T16" fmla="*/ 11 w 22"/>
                          <a:gd name="T17" fmla="*/ 8 h 67"/>
                          <a:gd name="T18" fmla="*/ 11 w 22"/>
                          <a:gd name="T19" fmla="*/ 8 h 67"/>
                          <a:gd name="T20" fmla="*/ 11 w 22"/>
                          <a:gd name="T21" fmla="*/ 0 h 67"/>
                          <a:gd name="T22" fmla="*/ 11 w 22"/>
                          <a:gd name="T23" fmla="*/ 5 h 67"/>
                          <a:gd name="T24" fmla="*/ 9 w 22"/>
                          <a:gd name="T25" fmla="*/ 5 h 67"/>
                          <a:gd name="T26" fmla="*/ 4 w 22"/>
                          <a:gd name="T27" fmla="*/ 5 h 67"/>
                          <a:gd name="T28" fmla="*/ 4 w 22"/>
                          <a:gd name="T29" fmla="*/ 8 h 67"/>
                          <a:gd name="T30" fmla="*/ 0 w 22"/>
                          <a:gd name="T31" fmla="*/ 8 h 67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w 22"/>
                          <a:gd name="T49" fmla="*/ 0 h 67"/>
                          <a:gd name="T50" fmla="*/ 22 w 22"/>
                          <a:gd name="T51" fmla="*/ 67 h 67"/>
                        </a:gdLst>
                        <a:ahLst/>
                        <a:cxnLst>
                          <a:cxn ang="T32">
                            <a:pos x="T0" y="T1"/>
                          </a:cxn>
                          <a:cxn ang="T33">
                            <a:pos x="T2" y="T3"/>
                          </a:cxn>
                          <a:cxn ang="T34">
                            <a:pos x="T4" y="T5"/>
                          </a:cxn>
                          <a:cxn ang="T35">
                            <a:pos x="T6" y="T7"/>
                          </a:cxn>
                          <a:cxn ang="T36">
                            <a:pos x="T8" y="T9"/>
                          </a:cxn>
                          <a:cxn ang="T37">
                            <a:pos x="T10" y="T11"/>
                          </a:cxn>
                          <a:cxn ang="T38">
                            <a:pos x="T12" y="T13"/>
                          </a:cxn>
                          <a:cxn ang="T39">
                            <a:pos x="T14" y="T15"/>
                          </a:cxn>
                          <a:cxn ang="T40">
                            <a:pos x="T16" y="T17"/>
                          </a:cxn>
                          <a:cxn ang="T41">
                            <a:pos x="T18" y="T19"/>
                          </a:cxn>
                          <a:cxn ang="T42">
                            <a:pos x="T20" y="T21"/>
                          </a:cxn>
                          <a:cxn ang="T43">
                            <a:pos x="T22" y="T23"/>
                          </a:cxn>
                          <a:cxn ang="T44">
                            <a:pos x="T24" y="T25"/>
                          </a:cxn>
                          <a:cxn ang="T45">
                            <a:pos x="T26" y="T27"/>
                          </a:cxn>
                          <a:cxn ang="T46">
                            <a:pos x="T28" y="T29"/>
                          </a:cxn>
                          <a:cxn ang="T47">
                            <a:pos x="T30" y="T31"/>
                          </a:cxn>
                        </a:cxnLst>
                        <a:rect l="T48" t="T49" r="T50" b="T51"/>
                        <a:pathLst>
                          <a:path w="22" h="67">
                            <a:moveTo>
                              <a:pt x="0" y="32"/>
                            </a:moveTo>
                            <a:lnTo>
                              <a:pt x="4" y="36"/>
                            </a:lnTo>
                            <a:lnTo>
                              <a:pt x="0" y="45"/>
                            </a:lnTo>
                            <a:lnTo>
                              <a:pt x="9" y="67"/>
                            </a:lnTo>
                            <a:lnTo>
                              <a:pt x="13" y="63"/>
                            </a:lnTo>
                            <a:lnTo>
                              <a:pt x="18" y="41"/>
                            </a:lnTo>
                            <a:lnTo>
                              <a:pt x="18" y="27"/>
                            </a:lnTo>
                            <a:lnTo>
                              <a:pt x="13" y="23"/>
                            </a:lnTo>
                            <a:lnTo>
                              <a:pt x="22" y="14"/>
                            </a:lnTo>
                            <a:lnTo>
                              <a:pt x="22" y="0"/>
                            </a:lnTo>
                            <a:lnTo>
                              <a:pt x="13" y="5"/>
                            </a:lnTo>
                            <a:lnTo>
                              <a:pt x="9" y="5"/>
                            </a:lnTo>
                            <a:lnTo>
                              <a:pt x="4" y="5"/>
                            </a:lnTo>
                            <a:lnTo>
                              <a:pt x="4" y="9"/>
                            </a:lnTo>
                            <a:lnTo>
                              <a:pt x="0" y="32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8" name="Freeform 138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4445" y="1929"/>
                        <a:ext cx="299" cy="359"/>
                      </a:xfrm>
                      <a:custGeom>
                        <a:avLst/>
                        <a:gdLst>
                          <a:gd name="T0" fmla="*/ 0 w 317"/>
                          <a:gd name="T1" fmla="*/ 69 h 380"/>
                          <a:gd name="T2" fmla="*/ 8 w 317"/>
                          <a:gd name="T3" fmla="*/ 69 h 380"/>
                          <a:gd name="T4" fmla="*/ 8 w 317"/>
                          <a:gd name="T5" fmla="*/ 69 h 380"/>
                          <a:gd name="T6" fmla="*/ 8 w 317"/>
                          <a:gd name="T7" fmla="*/ 69 h 380"/>
                          <a:gd name="T8" fmla="*/ 8 w 317"/>
                          <a:gd name="T9" fmla="*/ 67 h 380"/>
                          <a:gd name="T10" fmla="*/ 9 w 317"/>
                          <a:gd name="T11" fmla="*/ 63 h 380"/>
                          <a:gd name="T12" fmla="*/ 13 w 317"/>
                          <a:gd name="T13" fmla="*/ 61 h 380"/>
                          <a:gd name="T14" fmla="*/ 15 w 317"/>
                          <a:gd name="T15" fmla="*/ 60 h 380"/>
                          <a:gd name="T16" fmla="*/ 14 w 317"/>
                          <a:gd name="T17" fmla="*/ 58 h 380"/>
                          <a:gd name="T18" fmla="*/ 21 w 317"/>
                          <a:gd name="T19" fmla="*/ 41 h 380"/>
                          <a:gd name="T20" fmla="*/ 20 w 317"/>
                          <a:gd name="T21" fmla="*/ 41 h 380"/>
                          <a:gd name="T22" fmla="*/ 16 w 317"/>
                          <a:gd name="T23" fmla="*/ 43 h 380"/>
                          <a:gd name="T24" fmla="*/ 18 w 317"/>
                          <a:gd name="T25" fmla="*/ 46 h 380"/>
                          <a:gd name="T26" fmla="*/ 21 w 317"/>
                          <a:gd name="T27" fmla="*/ 48 h 380"/>
                          <a:gd name="T28" fmla="*/ 30 w 317"/>
                          <a:gd name="T29" fmla="*/ 35 h 380"/>
                          <a:gd name="T30" fmla="*/ 28 w 317"/>
                          <a:gd name="T31" fmla="*/ 35 h 380"/>
                          <a:gd name="T32" fmla="*/ 21 w 317"/>
                          <a:gd name="T33" fmla="*/ 37 h 380"/>
                          <a:gd name="T34" fmla="*/ 21 w 317"/>
                          <a:gd name="T35" fmla="*/ 41 h 380"/>
                          <a:gd name="T36" fmla="*/ 23 w 317"/>
                          <a:gd name="T37" fmla="*/ 39 h 380"/>
                          <a:gd name="T38" fmla="*/ 22 w 317"/>
                          <a:gd name="T39" fmla="*/ 43 h 380"/>
                          <a:gd name="T40" fmla="*/ 25 w 317"/>
                          <a:gd name="T41" fmla="*/ 41 h 380"/>
                          <a:gd name="T42" fmla="*/ 26 w 317"/>
                          <a:gd name="T43" fmla="*/ 39 h 380"/>
                          <a:gd name="T44" fmla="*/ 24 w 317"/>
                          <a:gd name="T45" fmla="*/ 41 h 380"/>
                          <a:gd name="T46" fmla="*/ 28 w 317"/>
                          <a:gd name="T47" fmla="*/ 39 h 380"/>
                          <a:gd name="T48" fmla="*/ 30 w 317"/>
                          <a:gd name="T49" fmla="*/ 39 h 380"/>
                          <a:gd name="T50" fmla="*/ 32 w 317"/>
                          <a:gd name="T51" fmla="*/ 39 h 380"/>
                          <a:gd name="T52" fmla="*/ 38 w 317"/>
                          <a:gd name="T53" fmla="*/ 37 h 380"/>
                          <a:gd name="T54" fmla="*/ 39 w 317"/>
                          <a:gd name="T55" fmla="*/ 39 h 380"/>
                          <a:gd name="T56" fmla="*/ 40 w 317"/>
                          <a:gd name="T57" fmla="*/ 37 h 380"/>
                          <a:gd name="T58" fmla="*/ 42 w 317"/>
                          <a:gd name="T59" fmla="*/ 35 h 380"/>
                          <a:gd name="T60" fmla="*/ 43 w 317"/>
                          <a:gd name="T61" fmla="*/ 31 h 380"/>
                          <a:gd name="T62" fmla="*/ 44 w 317"/>
                          <a:gd name="T63" fmla="*/ 26 h 380"/>
                          <a:gd name="T64" fmla="*/ 45 w 317"/>
                          <a:gd name="T65" fmla="*/ 25 h 380"/>
                          <a:gd name="T66" fmla="*/ 44 w 317"/>
                          <a:gd name="T67" fmla="*/ 19 h 380"/>
                          <a:gd name="T68" fmla="*/ 43 w 317"/>
                          <a:gd name="T69" fmla="*/ 17 h 380"/>
                          <a:gd name="T70" fmla="*/ 42 w 317"/>
                          <a:gd name="T71" fmla="*/ 17 h 380"/>
                          <a:gd name="T72" fmla="*/ 40 w 317"/>
                          <a:gd name="T73" fmla="*/ 22 h 380"/>
                          <a:gd name="T74" fmla="*/ 40 w 317"/>
                          <a:gd name="T75" fmla="*/ 24 h 380"/>
                          <a:gd name="T76" fmla="*/ 34 w 317"/>
                          <a:gd name="T77" fmla="*/ 29 h 380"/>
                          <a:gd name="T78" fmla="*/ 33 w 317"/>
                          <a:gd name="T79" fmla="*/ 29 h 380"/>
                          <a:gd name="T80" fmla="*/ 31 w 317"/>
                          <a:gd name="T81" fmla="*/ 34 h 380"/>
                          <a:gd name="T82" fmla="*/ 44 w 317"/>
                          <a:gd name="T83" fmla="*/ 9 h 380"/>
                          <a:gd name="T84" fmla="*/ 42 w 317"/>
                          <a:gd name="T85" fmla="*/ 9 h 380"/>
                          <a:gd name="T86" fmla="*/ 40 w 317"/>
                          <a:gd name="T87" fmla="*/ 12 h 380"/>
                          <a:gd name="T88" fmla="*/ 42 w 317"/>
                          <a:gd name="T89" fmla="*/ 16 h 380"/>
                          <a:gd name="T90" fmla="*/ 44 w 317"/>
                          <a:gd name="T91" fmla="*/ 14 h 380"/>
                          <a:gd name="T92" fmla="*/ 43 w 317"/>
                          <a:gd name="T93" fmla="*/ 10 h 380"/>
                          <a:gd name="T94" fmla="*/ 44 w 317"/>
                          <a:gd name="T95" fmla="*/ 10 h 380"/>
                          <a:gd name="T96" fmla="*/ 50 w 317"/>
                          <a:gd name="T97" fmla="*/ 14 h 380"/>
                          <a:gd name="T98" fmla="*/ 53 w 317"/>
                          <a:gd name="T99" fmla="*/ 9 h 380"/>
                          <a:gd name="T100" fmla="*/ 53 w 317"/>
                          <a:gd name="T101" fmla="*/ 9 h 380"/>
                          <a:gd name="T102" fmla="*/ 52 w 317"/>
                          <a:gd name="T103" fmla="*/ 9 h 380"/>
                          <a:gd name="T104" fmla="*/ 44 w 317"/>
                          <a:gd name="T105" fmla="*/ 5 h 380"/>
                          <a:gd name="T106" fmla="*/ 45 w 317"/>
                          <a:gd name="T107" fmla="*/ 9 h 380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w 317"/>
                          <a:gd name="T163" fmla="*/ 0 h 380"/>
                          <a:gd name="T164" fmla="*/ 317 w 317"/>
                          <a:gd name="T165" fmla="*/ 380 h 380"/>
                        </a:gdLst>
                        <a:ahLst/>
                        <a:cxnLst>
                          <a:cxn ang="T108">
                            <a:pos x="T0" y="T1"/>
                          </a:cxn>
                          <a:cxn ang="T109">
                            <a:pos x="T2" y="T3"/>
                          </a:cxn>
                          <a:cxn ang="T110">
                            <a:pos x="T4" y="T5"/>
                          </a:cxn>
                          <a:cxn ang="T111">
                            <a:pos x="T6" y="T7"/>
                          </a:cxn>
                          <a:cxn ang="T112">
                            <a:pos x="T8" y="T9"/>
                          </a:cxn>
                          <a:cxn ang="T113">
                            <a:pos x="T10" y="T11"/>
                          </a:cxn>
                          <a:cxn ang="T114">
                            <a:pos x="T12" y="T13"/>
                          </a:cxn>
                          <a:cxn ang="T115">
                            <a:pos x="T14" y="T15"/>
                          </a:cxn>
                          <a:cxn ang="T116">
                            <a:pos x="T16" y="T17"/>
                          </a:cxn>
                          <a:cxn ang="T117">
                            <a:pos x="T18" y="T19"/>
                          </a:cxn>
                          <a:cxn ang="T118">
                            <a:pos x="T20" y="T21"/>
                          </a:cxn>
                          <a:cxn ang="T119">
                            <a:pos x="T22" y="T23"/>
                          </a:cxn>
                          <a:cxn ang="T120">
                            <a:pos x="T24" y="T25"/>
                          </a:cxn>
                          <a:cxn ang="T121">
                            <a:pos x="T26" y="T27"/>
                          </a:cxn>
                          <a:cxn ang="T122">
                            <a:pos x="T28" y="T29"/>
                          </a:cxn>
                          <a:cxn ang="T123">
                            <a:pos x="T30" y="T31"/>
                          </a:cxn>
                          <a:cxn ang="T124">
                            <a:pos x="T32" y="T33"/>
                          </a:cxn>
                          <a:cxn ang="T125">
                            <a:pos x="T34" y="T35"/>
                          </a:cxn>
                          <a:cxn ang="T126">
                            <a:pos x="T36" y="T37"/>
                          </a:cxn>
                          <a:cxn ang="T127">
                            <a:pos x="T38" y="T39"/>
                          </a:cxn>
                          <a:cxn ang="T128">
                            <a:pos x="T40" y="T41"/>
                          </a:cxn>
                          <a:cxn ang="T129">
                            <a:pos x="T42" y="T43"/>
                          </a:cxn>
                          <a:cxn ang="T130">
                            <a:pos x="T44" y="T45"/>
                          </a:cxn>
                          <a:cxn ang="T131">
                            <a:pos x="T46" y="T47"/>
                          </a:cxn>
                          <a:cxn ang="T132">
                            <a:pos x="T48" y="T49"/>
                          </a:cxn>
                          <a:cxn ang="T133">
                            <a:pos x="T50" y="T51"/>
                          </a:cxn>
                          <a:cxn ang="T134">
                            <a:pos x="T52" y="T53"/>
                          </a:cxn>
                          <a:cxn ang="T135">
                            <a:pos x="T54" y="T55"/>
                          </a:cxn>
                          <a:cxn ang="T136">
                            <a:pos x="T56" y="T57"/>
                          </a:cxn>
                          <a:cxn ang="T137">
                            <a:pos x="T58" y="T59"/>
                          </a:cxn>
                          <a:cxn ang="T138">
                            <a:pos x="T60" y="T61"/>
                          </a:cxn>
                          <a:cxn ang="T139">
                            <a:pos x="T62" y="T63"/>
                          </a:cxn>
                          <a:cxn ang="T140">
                            <a:pos x="T64" y="T65"/>
                          </a:cxn>
                          <a:cxn ang="T141">
                            <a:pos x="T66" y="T67"/>
                          </a:cxn>
                          <a:cxn ang="T142">
                            <a:pos x="T68" y="T69"/>
                          </a:cxn>
                          <a:cxn ang="T143">
                            <a:pos x="T70" y="T71"/>
                          </a:cxn>
                          <a:cxn ang="T144">
                            <a:pos x="T72" y="T73"/>
                          </a:cxn>
                          <a:cxn ang="T145">
                            <a:pos x="T74" y="T75"/>
                          </a:cxn>
                          <a:cxn ang="T146">
                            <a:pos x="T76" y="T77"/>
                          </a:cxn>
                          <a:cxn ang="T147">
                            <a:pos x="T78" y="T79"/>
                          </a:cxn>
                          <a:cxn ang="T148">
                            <a:pos x="T80" y="T81"/>
                          </a:cxn>
                          <a:cxn ang="T149">
                            <a:pos x="T82" y="T83"/>
                          </a:cxn>
                          <a:cxn ang="T150">
                            <a:pos x="T84" y="T85"/>
                          </a:cxn>
                          <a:cxn ang="T151">
                            <a:pos x="T86" y="T87"/>
                          </a:cxn>
                          <a:cxn ang="T152">
                            <a:pos x="T88" y="T89"/>
                          </a:cxn>
                          <a:cxn ang="T153">
                            <a:pos x="T90" y="T91"/>
                          </a:cxn>
                          <a:cxn ang="T154">
                            <a:pos x="T92" y="T93"/>
                          </a:cxn>
                          <a:cxn ang="T155">
                            <a:pos x="T94" y="T95"/>
                          </a:cxn>
                          <a:cxn ang="T156">
                            <a:pos x="T96" y="T97"/>
                          </a:cxn>
                          <a:cxn ang="T157">
                            <a:pos x="T98" y="T99"/>
                          </a:cxn>
                          <a:cxn ang="T158">
                            <a:pos x="T100" y="T101"/>
                          </a:cxn>
                          <a:cxn ang="T159">
                            <a:pos x="T102" y="T103"/>
                          </a:cxn>
                          <a:cxn ang="T160">
                            <a:pos x="T104" y="T105"/>
                          </a:cxn>
                          <a:cxn ang="T161">
                            <a:pos x="T106" y="T107"/>
                          </a:cxn>
                        </a:cxnLst>
                        <a:rect l="T162" t="T163" r="T164" b="T165"/>
                        <a:pathLst>
                          <a:path w="317" h="380">
                            <a:moveTo>
                              <a:pt x="9" y="380"/>
                            </a:moveTo>
                            <a:lnTo>
                              <a:pt x="4" y="376"/>
                            </a:lnTo>
                            <a:lnTo>
                              <a:pt x="0" y="380"/>
                            </a:lnTo>
                            <a:lnTo>
                              <a:pt x="4" y="380"/>
                            </a:lnTo>
                            <a:lnTo>
                              <a:pt x="9" y="380"/>
                            </a:lnTo>
                            <a:lnTo>
                              <a:pt x="13" y="380"/>
                            </a:lnTo>
                            <a:lnTo>
                              <a:pt x="18" y="376"/>
                            </a:lnTo>
                            <a:lnTo>
                              <a:pt x="9" y="376"/>
                            </a:lnTo>
                            <a:lnTo>
                              <a:pt x="9" y="380"/>
                            </a:lnTo>
                            <a:close/>
                            <a:moveTo>
                              <a:pt x="27" y="367"/>
                            </a:moveTo>
                            <a:lnTo>
                              <a:pt x="22" y="371"/>
                            </a:lnTo>
                            <a:lnTo>
                              <a:pt x="27" y="376"/>
                            </a:lnTo>
                            <a:lnTo>
                              <a:pt x="31" y="380"/>
                            </a:lnTo>
                            <a:lnTo>
                              <a:pt x="31" y="376"/>
                            </a:lnTo>
                            <a:lnTo>
                              <a:pt x="27" y="367"/>
                            </a:lnTo>
                            <a:close/>
                            <a:moveTo>
                              <a:pt x="67" y="336"/>
                            </a:moveTo>
                            <a:lnTo>
                              <a:pt x="67" y="340"/>
                            </a:lnTo>
                            <a:lnTo>
                              <a:pt x="58" y="349"/>
                            </a:lnTo>
                            <a:lnTo>
                              <a:pt x="62" y="353"/>
                            </a:lnTo>
                            <a:lnTo>
                              <a:pt x="71" y="349"/>
                            </a:lnTo>
                            <a:lnTo>
                              <a:pt x="71" y="340"/>
                            </a:lnTo>
                            <a:lnTo>
                              <a:pt x="67" y="336"/>
                            </a:lnTo>
                            <a:close/>
                            <a:moveTo>
                              <a:pt x="76" y="322"/>
                            </a:moveTo>
                            <a:lnTo>
                              <a:pt x="80" y="331"/>
                            </a:lnTo>
                            <a:lnTo>
                              <a:pt x="85" y="322"/>
                            </a:lnTo>
                            <a:lnTo>
                              <a:pt x="89" y="313"/>
                            </a:lnTo>
                            <a:lnTo>
                              <a:pt x="76" y="322"/>
                            </a:lnTo>
                            <a:close/>
                            <a:moveTo>
                              <a:pt x="116" y="242"/>
                            </a:moveTo>
                            <a:lnTo>
                              <a:pt x="121" y="237"/>
                            </a:lnTo>
                            <a:lnTo>
                              <a:pt x="116" y="228"/>
                            </a:lnTo>
                            <a:lnTo>
                              <a:pt x="112" y="233"/>
                            </a:lnTo>
                            <a:lnTo>
                              <a:pt x="116" y="224"/>
                            </a:lnTo>
                            <a:lnTo>
                              <a:pt x="107" y="219"/>
                            </a:lnTo>
                            <a:lnTo>
                              <a:pt x="103" y="219"/>
                            </a:lnTo>
                            <a:lnTo>
                              <a:pt x="89" y="224"/>
                            </a:lnTo>
                            <a:lnTo>
                              <a:pt x="85" y="233"/>
                            </a:lnTo>
                            <a:lnTo>
                              <a:pt x="94" y="242"/>
                            </a:lnTo>
                            <a:lnTo>
                              <a:pt x="89" y="251"/>
                            </a:lnTo>
                            <a:lnTo>
                              <a:pt x="98" y="251"/>
                            </a:lnTo>
                            <a:lnTo>
                              <a:pt x="94" y="264"/>
                            </a:lnTo>
                            <a:lnTo>
                              <a:pt x="107" y="273"/>
                            </a:lnTo>
                            <a:lnTo>
                              <a:pt x="116" y="264"/>
                            </a:lnTo>
                            <a:lnTo>
                              <a:pt x="112" y="255"/>
                            </a:lnTo>
                            <a:lnTo>
                              <a:pt x="116" y="242"/>
                            </a:lnTo>
                            <a:close/>
                            <a:moveTo>
                              <a:pt x="174" y="193"/>
                            </a:moveTo>
                            <a:lnTo>
                              <a:pt x="170" y="188"/>
                            </a:lnTo>
                            <a:lnTo>
                              <a:pt x="170" y="184"/>
                            </a:lnTo>
                            <a:lnTo>
                              <a:pt x="161" y="188"/>
                            </a:lnTo>
                            <a:lnTo>
                              <a:pt x="143" y="193"/>
                            </a:lnTo>
                            <a:lnTo>
                              <a:pt x="134" y="188"/>
                            </a:lnTo>
                            <a:lnTo>
                              <a:pt x="116" y="202"/>
                            </a:lnTo>
                            <a:lnTo>
                              <a:pt x="107" y="206"/>
                            </a:lnTo>
                            <a:lnTo>
                              <a:pt x="107" y="215"/>
                            </a:lnTo>
                            <a:lnTo>
                              <a:pt x="112" y="219"/>
                            </a:lnTo>
                            <a:lnTo>
                              <a:pt x="116" y="215"/>
                            </a:lnTo>
                            <a:lnTo>
                              <a:pt x="121" y="219"/>
                            </a:lnTo>
                            <a:lnTo>
                              <a:pt x="129" y="215"/>
                            </a:lnTo>
                            <a:lnTo>
                              <a:pt x="129" y="224"/>
                            </a:lnTo>
                            <a:lnTo>
                              <a:pt x="125" y="228"/>
                            </a:lnTo>
                            <a:lnTo>
                              <a:pt x="125" y="233"/>
                            </a:lnTo>
                            <a:lnTo>
                              <a:pt x="138" y="237"/>
                            </a:lnTo>
                            <a:lnTo>
                              <a:pt x="138" y="228"/>
                            </a:lnTo>
                            <a:lnTo>
                              <a:pt x="143" y="224"/>
                            </a:lnTo>
                            <a:lnTo>
                              <a:pt x="152" y="228"/>
                            </a:lnTo>
                            <a:lnTo>
                              <a:pt x="161" y="219"/>
                            </a:lnTo>
                            <a:lnTo>
                              <a:pt x="152" y="215"/>
                            </a:lnTo>
                            <a:lnTo>
                              <a:pt x="143" y="215"/>
                            </a:lnTo>
                            <a:lnTo>
                              <a:pt x="143" y="219"/>
                            </a:lnTo>
                            <a:lnTo>
                              <a:pt x="134" y="219"/>
                            </a:lnTo>
                            <a:lnTo>
                              <a:pt x="134" y="210"/>
                            </a:lnTo>
                            <a:lnTo>
                              <a:pt x="161" y="206"/>
                            </a:lnTo>
                            <a:lnTo>
                              <a:pt x="161" y="210"/>
                            </a:lnTo>
                            <a:lnTo>
                              <a:pt x="161" y="215"/>
                            </a:lnTo>
                            <a:lnTo>
                              <a:pt x="165" y="210"/>
                            </a:lnTo>
                            <a:lnTo>
                              <a:pt x="170" y="215"/>
                            </a:lnTo>
                            <a:lnTo>
                              <a:pt x="170" y="219"/>
                            </a:lnTo>
                            <a:lnTo>
                              <a:pt x="179" y="228"/>
                            </a:lnTo>
                            <a:lnTo>
                              <a:pt x="183" y="215"/>
                            </a:lnTo>
                            <a:lnTo>
                              <a:pt x="192" y="210"/>
                            </a:lnTo>
                            <a:lnTo>
                              <a:pt x="210" y="206"/>
                            </a:lnTo>
                            <a:lnTo>
                              <a:pt x="214" y="197"/>
                            </a:lnTo>
                            <a:lnTo>
                              <a:pt x="223" y="197"/>
                            </a:lnTo>
                            <a:lnTo>
                              <a:pt x="219" y="206"/>
                            </a:lnTo>
                            <a:lnTo>
                              <a:pt x="223" y="210"/>
                            </a:lnTo>
                            <a:lnTo>
                              <a:pt x="228" y="202"/>
                            </a:lnTo>
                            <a:lnTo>
                              <a:pt x="228" y="193"/>
                            </a:lnTo>
                            <a:lnTo>
                              <a:pt x="232" y="197"/>
                            </a:lnTo>
                            <a:lnTo>
                              <a:pt x="237" y="202"/>
                            </a:lnTo>
                            <a:lnTo>
                              <a:pt x="246" y="197"/>
                            </a:lnTo>
                            <a:lnTo>
                              <a:pt x="246" y="188"/>
                            </a:lnTo>
                            <a:lnTo>
                              <a:pt x="250" y="184"/>
                            </a:lnTo>
                            <a:lnTo>
                              <a:pt x="246" y="179"/>
                            </a:lnTo>
                            <a:lnTo>
                              <a:pt x="250" y="170"/>
                            </a:lnTo>
                            <a:lnTo>
                              <a:pt x="255" y="161"/>
                            </a:lnTo>
                            <a:lnTo>
                              <a:pt x="250" y="148"/>
                            </a:lnTo>
                            <a:lnTo>
                              <a:pt x="255" y="139"/>
                            </a:lnTo>
                            <a:lnTo>
                              <a:pt x="259" y="148"/>
                            </a:lnTo>
                            <a:lnTo>
                              <a:pt x="259" y="143"/>
                            </a:lnTo>
                            <a:lnTo>
                              <a:pt x="259" y="135"/>
                            </a:lnTo>
                            <a:lnTo>
                              <a:pt x="263" y="130"/>
                            </a:lnTo>
                            <a:lnTo>
                              <a:pt x="263" y="99"/>
                            </a:lnTo>
                            <a:lnTo>
                              <a:pt x="255" y="94"/>
                            </a:lnTo>
                            <a:lnTo>
                              <a:pt x="255" y="81"/>
                            </a:lnTo>
                            <a:lnTo>
                              <a:pt x="250" y="76"/>
                            </a:lnTo>
                            <a:lnTo>
                              <a:pt x="250" y="85"/>
                            </a:lnTo>
                            <a:lnTo>
                              <a:pt x="250" y="90"/>
                            </a:lnTo>
                            <a:lnTo>
                              <a:pt x="246" y="90"/>
                            </a:lnTo>
                            <a:lnTo>
                              <a:pt x="241" y="85"/>
                            </a:lnTo>
                            <a:lnTo>
                              <a:pt x="232" y="94"/>
                            </a:lnTo>
                            <a:lnTo>
                              <a:pt x="237" y="99"/>
                            </a:lnTo>
                            <a:lnTo>
                              <a:pt x="228" y="112"/>
                            </a:lnTo>
                            <a:lnTo>
                              <a:pt x="241" y="117"/>
                            </a:lnTo>
                            <a:lnTo>
                              <a:pt x="237" y="126"/>
                            </a:lnTo>
                            <a:lnTo>
                              <a:pt x="232" y="130"/>
                            </a:lnTo>
                            <a:lnTo>
                              <a:pt x="210" y="161"/>
                            </a:lnTo>
                            <a:lnTo>
                              <a:pt x="192" y="170"/>
                            </a:lnTo>
                            <a:lnTo>
                              <a:pt x="192" y="161"/>
                            </a:lnTo>
                            <a:lnTo>
                              <a:pt x="196" y="157"/>
                            </a:lnTo>
                            <a:lnTo>
                              <a:pt x="188" y="161"/>
                            </a:lnTo>
                            <a:lnTo>
                              <a:pt x="188" y="170"/>
                            </a:lnTo>
                            <a:lnTo>
                              <a:pt x="179" y="179"/>
                            </a:lnTo>
                            <a:lnTo>
                              <a:pt x="179" y="184"/>
                            </a:lnTo>
                            <a:lnTo>
                              <a:pt x="174" y="188"/>
                            </a:lnTo>
                            <a:lnTo>
                              <a:pt x="174" y="193"/>
                            </a:lnTo>
                            <a:close/>
                            <a:moveTo>
                              <a:pt x="255" y="41"/>
                            </a:moveTo>
                            <a:lnTo>
                              <a:pt x="250" y="41"/>
                            </a:lnTo>
                            <a:lnTo>
                              <a:pt x="241" y="41"/>
                            </a:lnTo>
                            <a:lnTo>
                              <a:pt x="241" y="45"/>
                            </a:lnTo>
                            <a:lnTo>
                              <a:pt x="241" y="50"/>
                            </a:lnTo>
                            <a:lnTo>
                              <a:pt x="232" y="54"/>
                            </a:lnTo>
                            <a:lnTo>
                              <a:pt x="232" y="63"/>
                            </a:lnTo>
                            <a:lnTo>
                              <a:pt x="237" y="67"/>
                            </a:lnTo>
                            <a:lnTo>
                              <a:pt x="232" y="76"/>
                            </a:lnTo>
                            <a:lnTo>
                              <a:pt x="241" y="81"/>
                            </a:lnTo>
                            <a:lnTo>
                              <a:pt x="246" y="72"/>
                            </a:lnTo>
                            <a:lnTo>
                              <a:pt x="250" y="76"/>
                            </a:lnTo>
                            <a:lnTo>
                              <a:pt x="255" y="72"/>
                            </a:lnTo>
                            <a:lnTo>
                              <a:pt x="250" y="67"/>
                            </a:lnTo>
                            <a:lnTo>
                              <a:pt x="241" y="63"/>
                            </a:lnTo>
                            <a:lnTo>
                              <a:pt x="250" y="59"/>
                            </a:lnTo>
                            <a:lnTo>
                              <a:pt x="250" y="63"/>
                            </a:lnTo>
                            <a:lnTo>
                              <a:pt x="259" y="63"/>
                            </a:lnTo>
                            <a:lnTo>
                              <a:pt x="255" y="59"/>
                            </a:lnTo>
                            <a:lnTo>
                              <a:pt x="259" y="54"/>
                            </a:lnTo>
                            <a:lnTo>
                              <a:pt x="277" y="67"/>
                            </a:lnTo>
                            <a:lnTo>
                              <a:pt x="286" y="72"/>
                            </a:lnTo>
                            <a:lnTo>
                              <a:pt x="286" y="59"/>
                            </a:lnTo>
                            <a:lnTo>
                              <a:pt x="295" y="45"/>
                            </a:lnTo>
                            <a:lnTo>
                              <a:pt x="308" y="50"/>
                            </a:lnTo>
                            <a:lnTo>
                              <a:pt x="317" y="45"/>
                            </a:lnTo>
                            <a:lnTo>
                              <a:pt x="317" y="41"/>
                            </a:lnTo>
                            <a:lnTo>
                              <a:pt x="308" y="32"/>
                            </a:lnTo>
                            <a:lnTo>
                              <a:pt x="317" y="23"/>
                            </a:lnTo>
                            <a:lnTo>
                              <a:pt x="313" y="18"/>
                            </a:lnTo>
                            <a:lnTo>
                              <a:pt x="299" y="32"/>
                            </a:lnTo>
                            <a:lnTo>
                              <a:pt x="286" y="23"/>
                            </a:lnTo>
                            <a:lnTo>
                              <a:pt x="263" y="0"/>
                            </a:lnTo>
                            <a:lnTo>
                              <a:pt x="255" y="5"/>
                            </a:lnTo>
                            <a:lnTo>
                              <a:pt x="259" y="9"/>
                            </a:lnTo>
                            <a:lnTo>
                              <a:pt x="259" y="14"/>
                            </a:lnTo>
                            <a:lnTo>
                              <a:pt x="259" y="32"/>
                            </a:lnTo>
                            <a:lnTo>
                              <a:pt x="255" y="32"/>
                            </a:lnTo>
                            <a:lnTo>
                              <a:pt x="255" y="41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29" name="Freeform 139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407" y="1710"/>
                        <a:ext cx="553" cy="299"/>
                      </a:xfrm>
                      <a:custGeom>
                        <a:avLst/>
                        <a:gdLst>
                          <a:gd name="T0" fmla="*/ 9 w 585"/>
                          <a:gd name="T1" fmla="*/ 31 h 317"/>
                          <a:gd name="T2" fmla="*/ 9 w 585"/>
                          <a:gd name="T3" fmla="*/ 35 h 317"/>
                          <a:gd name="T4" fmla="*/ 9 w 585"/>
                          <a:gd name="T5" fmla="*/ 36 h 317"/>
                          <a:gd name="T6" fmla="*/ 16 w 585"/>
                          <a:gd name="T7" fmla="*/ 34 h 317"/>
                          <a:gd name="T8" fmla="*/ 15 w 585"/>
                          <a:gd name="T9" fmla="*/ 40 h 317"/>
                          <a:gd name="T10" fmla="*/ 14 w 585"/>
                          <a:gd name="T11" fmla="*/ 43 h 317"/>
                          <a:gd name="T12" fmla="*/ 13 w 585"/>
                          <a:gd name="T13" fmla="*/ 48 h 317"/>
                          <a:gd name="T14" fmla="*/ 17 w 585"/>
                          <a:gd name="T15" fmla="*/ 51 h 317"/>
                          <a:gd name="T16" fmla="*/ 22 w 585"/>
                          <a:gd name="T17" fmla="*/ 50 h 317"/>
                          <a:gd name="T18" fmla="*/ 25 w 585"/>
                          <a:gd name="T19" fmla="*/ 54 h 317"/>
                          <a:gd name="T20" fmla="*/ 35 w 585"/>
                          <a:gd name="T21" fmla="*/ 39 h 317"/>
                          <a:gd name="T22" fmla="*/ 39 w 585"/>
                          <a:gd name="T23" fmla="*/ 36 h 317"/>
                          <a:gd name="T24" fmla="*/ 41 w 585"/>
                          <a:gd name="T25" fmla="*/ 42 h 317"/>
                          <a:gd name="T26" fmla="*/ 41 w 585"/>
                          <a:gd name="T27" fmla="*/ 46 h 317"/>
                          <a:gd name="T28" fmla="*/ 51 w 585"/>
                          <a:gd name="T29" fmla="*/ 49 h 317"/>
                          <a:gd name="T30" fmla="*/ 51 w 585"/>
                          <a:gd name="T31" fmla="*/ 53 h 317"/>
                          <a:gd name="T32" fmla="*/ 59 w 585"/>
                          <a:gd name="T33" fmla="*/ 54 h 317"/>
                          <a:gd name="T34" fmla="*/ 69 w 585"/>
                          <a:gd name="T35" fmla="*/ 50 h 317"/>
                          <a:gd name="T36" fmla="*/ 74 w 585"/>
                          <a:gd name="T37" fmla="*/ 49 h 317"/>
                          <a:gd name="T38" fmla="*/ 85 w 585"/>
                          <a:gd name="T39" fmla="*/ 50 h 317"/>
                          <a:gd name="T40" fmla="*/ 88 w 585"/>
                          <a:gd name="T41" fmla="*/ 50 h 317"/>
                          <a:gd name="T42" fmla="*/ 90 w 585"/>
                          <a:gd name="T43" fmla="*/ 52 h 317"/>
                          <a:gd name="T44" fmla="*/ 88 w 585"/>
                          <a:gd name="T45" fmla="*/ 41 h 317"/>
                          <a:gd name="T46" fmla="*/ 103 w 585"/>
                          <a:gd name="T47" fmla="*/ 35 h 317"/>
                          <a:gd name="T48" fmla="*/ 108 w 585"/>
                          <a:gd name="T49" fmla="*/ 26 h 317"/>
                          <a:gd name="T50" fmla="*/ 104 w 585"/>
                          <a:gd name="T51" fmla="*/ 25 h 317"/>
                          <a:gd name="T52" fmla="*/ 97 w 585"/>
                          <a:gd name="T53" fmla="*/ 21 h 317"/>
                          <a:gd name="T54" fmla="*/ 93 w 585"/>
                          <a:gd name="T55" fmla="*/ 21 h 317"/>
                          <a:gd name="T56" fmla="*/ 90 w 585"/>
                          <a:gd name="T57" fmla="*/ 21 h 317"/>
                          <a:gd name="T58" fmla="*/ 80 w 585"/>
                          <a:gd name="T59" fmla="*/ 8 h 317"/>
                          <a:gd name="T60" fmla="*/ 74 w 585"/>
                          <a:gd name="T61" fmla="*/ 8 h 317"/>
                          <a:gd name="T62" fmla="*/ 72 w 585"/>
                          <a:gd name="T63" fmla="*/ 8 h 317"/>
                          <a:gd name="T64" fmla="*/ 66 w 585"/>
                          <a:gd name="T65" fmla="*/ 8 h 317"/>
                          <a:gd name="T66" fmla="*/ 62 w 585"/>
                          <a:gd name="T67" fmla="*/ 8 h 317"/>
                          <a:gd name="T68" fmla="*/ 57 w 585"/>
                          <a:gd name="T69" fmla="*/ 8 h 317"/>
                          <a:gd name="T70" fmla="*/ 50 w 585"/>
                          <a:gd name="T71" fmla="*/ 8 h 317"/>
                          <a:gd name="T72" fmla="*/ 43 w 585"/>
                          <a:gd name="T73" fmla="*/ 8 h 317"/>
                          <a:gd name="T74" fmla="*/ 41 w 585"/>
                          <a:gd name="T75" fmla="*/ 8 h 317"/>
                          <a:gd name="T76" fmla="*/ 39 w 585"/>
                          <a:gd name="T77" fmla="*/ 11 h 317"/>
                          <a:gd name="T78" fmla="*/ 38 w 585"/>
                          <a:gd name="T79" fmla="*/ 18 h 317"/>
                          <a:gd name="T80" fmla="*/ 40 w 585"/>
                          <a:gd name="T81" fmla="*/ 21 h 317"/>
                          <a:gd name="T82" fmla="*/ 35 w 585"/>
                          <a:gd name="T83" fmla="*/ 21 h 317"/>
                          <a:gd name="T84" fmla="*/ 29 w 585"/>
                          <a:gd name="T85" fmla="*/ 21 h 317"/>
                          <a:gd name="T86" fmla="*/ 25 w 585"/>
                          <a:gd name="T87" fmla="*/ 22 h 317"/>
                          <a:gd name="T88" fmla="*/ 22 w 585"/>
                          <a:gd name="T89" fmla="*/ 22 h 317"/>
                          <a:gd name="T90" fmla="*/ 18 w 585"/>
                          <a:gd name="T91" fmla="*/ 19 h 317"/>
                          <a:gd name="T92" fmla="*/ 14 w 585"/>
                          <a:gd name="T93" fmla="*/ 18 h 317"/>
                          <a:gd name="T94" fmla="*/ 9 w 585"/>
                          <a:gd name="T95" fmla="*/ 22 h 317"/>
                          <a:gd name="T96" fmla="*/ 9 w 585"/>
                          <a:gd name="T97" fmla="*/ 22 h 317"/>
                          <a:gd name="T98" fmla="*/ 5 w 585"/>
                          <a:gd name="T99" fmla="*/ 26 h 317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w 585"/>
                          <a:gd name="T151" fmla="*/ 0 h 317"/>
                          <a:gd name="T152" fmla="*/ 585 w 585"/>
                          <a:gd name="T153" fmla="*/ 317 h 317"/>
                        </a:gdLst>
                        <a:ahLst/>
                        <a:cxnLst>
                          <a:cxn ang="T100">
                            <a:pos x="T0" y="T1"/>
                          </a:cxn>
                          <a:cxn ang="T101">
                            <a:pos x="T2" y="T3"/>
                          </a:cxn>
                          <a:cxn ang="T102">
                            <a:pos x="T4" y="T5"/>
                          </a:cxn>
                          <a:cxn ang="T103">
                            <a:pos x="T6" y="T7"/>
                          </a:cxn>
                          <a:cxn ang="T104">
                            <a:pos x="T8" y="T9"/>
                          </a:cxn>
                          <a:cxn ang="T105">
                            <a:pos x="T10" y="T11"/>
                          </a:cxn>
                          <a:cxn ang="T106">
                            <a:pos x="T12" y="T13"/>
                          </a:cxn>
                          <a:cxn ang="T107">
                            <a:pos x="T14" y="T15"/>
                          </a:cxn>
                          <a:cxn ang="T108">
                            <a:pos x="T16" y="T17"/>
                          </a:cxn>
                          <a:cxn ang="T109">
                            <a:pos x="T18" y="T19"/>
                          </a:cxn>
                          <a:cxn ang="T110">
                            <a:pos x="T20" y="T21"/>
                          </a:cxn>
                          <a:cxn ang="T111">
                            <a:pos x="T22" y="T23"/>
                          </a:cxn>
                          <a:cxn ang="T112">
                            <a:pos x="T24" y="T25"/>
                          </a:cxn>
                          <a:cxn ang="T113">
                            <a:pos x="T26" y="T27"/>
                          </a:cxn>
                          <a:cxn ang="T114">
                            <a:pos x="T28" y="T29"/>
                          </a:cxn>
                          <a:cxn ang="T115">
                            <a:pos x="T30" y="T31"/>
                          </a:cxn>
                          <a:cxn ang="T116">
                            <a:pos x="T32" y="T33"/>
                          </a:cxn>
                          <a:cxn ang="T117">
                            <a:pos x="T34" y="T35"/>
                          </a:cxn>
                          <a:cxn ang="T118">
                            <a:pos x="T36" y="T37"/>
                          </a:cxn>
                          <a:cxn ang="T119">
                            <a:pos x="T38" y="T39"/>
                          </a:cxn>
                          <a:cxn ang="T120">
                            <a:pos x="T40" y="T41"/>
                          </a:cxn>
                          <a:cxn ang="T121">
                            <a:pos x="T42" y="T43"/>
                          </a:cxn>
                          <a:cxn ang="T122">
                            <a:pos x="T44" y="T45"/>
                          </a:cxn>
                          <a:cxn ang="T123">
                            <a:pos x="T46" y="T47"/>
                          </a:cxn>
                          <a:cxn ang="T124">
                            <a:pos x="T48" y="T49"/>
                          </a:cxn>
                          <a:cxn ang="T125">
                            <a:pos x="T50" y="T51"/>
                          </a:cxn>
                          <a:cxn ang="T126">
                            <a:pos x="T52" y="T53"/>
                          </a:cxn>
                          <a:cxn ang="T127">
                            <a:pos x="T54" y="T55"/>
                          </a:cxn>
                          <a:cxn ang="T128">
                            <a:pos x="T56" y="T57"/>
                          </a:cxn>
                          <a:cxn ang="T129">
                            <a:pos x="T58" y="T59"/>
                          </a:cxn>
                          <a:cxn ang="T130">
                            <a:pos x="T60" y="T61"/>
                          </a:cxn>
                          <a:cxn ang="T131">
                            <a:pos x="T62" y="T63"/>
                          </a:cxn>
                          <a:cxn ang="T132">
                            <a:pos x="T64" y="T65"/>
                          </a:cxn>
                          <a:cxn ang="T133">
                            <a:pos x="T66" y="T67"/>
                          </a:cxn>
                          <a:cxn ang="T134">
                            <a:pos x="T68" y="T69"/>
                          </a:cxn>
                          <a:cxn ang="T135">
                            <a:pos x="T70" y="T71"/>
                          </a:cxn>
                          <a:cxn ang="T136">
                            <a:pos x="T72" y="T73"/>
                          </a:cxn>
                          <a:cxn ang="T137">
                            <a:pos x="T74" y="T75"/>
                          </a:cxn>
                          <a:cxn ang="T138">
                            <a:pos x="T76" y="T77"/>
                          </a:cxn>
                          <a:cxn ang="T139">
                            <a:pos x="T78" y="T79"/>
                          </a:cxn>
                          <a:cxn ang="T140">
                            <a:pos x="T80" y="T81"/>
                          </a:cxn>
                          <a:cxn ang="T141">
                            <a:pos x="T82" y="T83"/>
                          </a:cxn>
                          <a:cxn ang="T142">
                            <a:pos x="T84" y="T85"/>
                          </a:cxn>
                          <a:cxn ang="T143">
                            <a:pos x="T86" y="T87"/>
                          </a:cxn>
                          <a:cxn ang="T144">
                            <a:pos x="T88" y="T89"/>
                          </a:cxn>
                          <a:cxn ang="T145">
                            <a:pos x="T90" y="T91"/>
                          </a:cxn>
                          <a:cxn ang="T146">
                            <a:pos x="T92" y="T93"/>
                          </a:cxn>
                          <a:cxn ang="T147">
                            <a:pos x="T94" y="T95"/>
                          </a:cxn>
                          <a:cxn ang="T148">
                            <a:pos x="T96" y="T97"/>
                          </a:cxn>
                          <a:cxn ang="T149">
                            <a:pos x="T98" y="T99"/>
                          </a:cxn>
                        </a:cxnLst>
                        <a:rect l="T150" t="T151" r="T152" b="T153"/>
                        <a:pathLst>
                          <a:path w="585" h="317">
                            <a:moveTo>
                              <a:pt x="5" y="156"/>
                            </a:moveTo>
                            <a:lnTo>
                              <a:pt x="0" y="170"/>
                            </a:lnTo>
                            <a:lnTo>
                              <a:pt x="9" y="174"/>
                            </a:lnTo>
                            <a:lnTo>
                              <a:pt x="9" y="179"/>
                            </a:lnTo>
                            <a:lnTo>
                              <a:pt x="13" y="188"/>
                            </a:lnTo>
                            <a:lnTo>
                              <a:pt x="13" y="179"/>
                            </a:lnTo>
                            <a:lnTo>
                              <a:pt x="22" y="183"/>
                            </a:lnTo>
                            <a:lnTo>
                              <a:pt x="31" y="197"/>
                            </a:lnTo>
                            <a:lnTo>
                              <a:pt x="36" y="201"/>
                            </a:lnTo>
                            <a:lnTo>
                              <a:pt x="31" y="201"/>
                            </a:lnTo>
                            <a:lnTo>
                              <a:pt x="27" y="206"/>
                            </a:lnTo>
                            <a:lnTo>
                              <a:pt x="36" y="206"/>
                            </a:lnTo>
                            <a:lnTo>
                              <a:pt x="49" y="201"/>
                            </a:lnTo>
                            <a:lnTo>
                              <a:pt x="67" y="192"/>
                            </a:lnTo>
                            <a:lnTo>
                              <a:pt x="81" y="192"/>
                            </a:lnTo>
                            <a:lnTo>
                              <a:pt x="103" y="201"/>
                            </a:lnTo>
                            <a:lnTo>
                              <a:pt x="98" y="224"/>
                            </a:lnTo>
                            <a:lnTo>
                              <a:pt x="98" y="232"/>
                            </a:lnTo>
                            <a:lnTo>
                              <a:pt x="76" y="232"/>
                            </a:lnTo>
                            <a:lnTo>
                              <a:pt x="67" y="232"/>
                            </a:lnTo>
                            <a:lnTo>
                              <a:pt x="67" y="241"/>
                            </a:lnTo>
                            <a:lnTo>
                              <a:pt x="72" y="241"/>
                            </a:lnTo>
                            <a:lnTo>
                              <a:pt x="72" y="250"/>
                            </a:lnTo>
                            <a:lnTo>
                              <a:pt x="54" y="250"/>
                            </a:lnTo>
                            <a:lnTo>
                              <a:pt x="54" y="255"/>
                            </a:lnTo>
                            <a:lnTo>
                              <a:pt x="63" y="255"/>
                            </a:lnTo>
                            <a:lnTo>
                              <a:pt x="67" y="277"/>
                            </a:lnTo>
                            <a:lnTo>
                              <a:pt x="76" y="277"/>
                            </a:lnTo>
                            <a:lnTo>
                              <a:pt x="81" y="286"/>
                            </a:lnTo>
                            <a:lnTo>
                              <a:pt x="89" y="286"/>
                            </a:lnTo>
                            <a:lnTo>
                              <a:pt x="85" y="295"/>
                            </a:lnTo>
                            <a:lnTo>
                              <a:pt x="89" y="304"/>
                            </a:lnTo>
                            <a:lnTo>
                              <a:pt x="89" y="299"/>
                            </a:lnTo>
                            <a:lnTo>
                              <a:pt x="98" y="295"/>
                            </a:lnTo>
                            <a:lnTo>
                              <a:pt x="112" y="291"/>
                            </a:lnTo>
                            <a:lnTo>
                              <a:pt x="121" y="299"/>
                            </a:lnTo>
                            <a:lnTo>
                              <a:pt x="125" y="308"/>
                            </a:lnTo>
                            <a:lnTo>
                              <a:pt x="130" y="313"/>
                            </a:lnTo>
                            <a:lnTo>
                              <a:pt x="134" y="313"/>
                            </a:lnTo>
                            <a:lnTo>
                              <a:pt x="134" y="241"/>
                            </a:lnTo>
                            <a:lnTo>
                              <a:pt x="174" y="228"/>
                            </a:lnTo>
                            <a:lnTo>
                              <a:pt x="174" y="219"/>
                            </a:lnTo>
                            <a:lnTo>
                              <a:pt x="183" y="224"/>
                            </a:lnTo>
                            <a:lnTo>
                              <a:pt x="183" y="210"/>
                            </a:lnTo>
                            <a:lnTo>
                              <a:pt x="192" y="215"/>
                            </a:lnTo>
                            <a:lnTo>
                              <a:pt x="197" y="206"/>
                            </a:lnTo>
                            <a:lnTo>
                              <a:pt x="210" y="206"/>
                            </a:lnTo>
                            <a:lnTo>
                              <a:pt x="219" y="206"/>
                            </a:lnTo>
                            <a:lnTo>
                              <a:pt x="210" y="224"/>
                            </a:lnTo>
                            <a:lnTo>
                              <a:pt x="215" y="237"/>
                            </a:lnTo>
                            <a:lnTo>
                              <a:pt x="223" y="241"/>
                            </a:lnTo>
                            <a:lnTo>
                              <a:pt x="215" y="246"/>
                            </a:lnTo>
                            <a:lnTo>
                              <a:pt x="215" y="255"/>
                            </a:lnTo>
                            <a:lnTo>
                              <a:pt x="223" y="268"/>
                            </a:lnTo>
                            <a:lnTo>
                              <a:pt x="255" y="268"/>
                            </a:lnTo>
                            <a:lnTo>
                              <a:pt x="259" y="264"/>
                            </a:lnTo>
                            <a:lnTo>
                              <a:pt x="268" y="273"/>
                            </a:lnTo>
                            <a:lnTo>
                              <a:pt x="273" y="282"/>
                            </a:lnTo>
                            <a:lnTo>
                              <a:pt x="277" y="282"/>
                            </a:lnTo>
                            <a:lnTo>
                              <a:pt x="277" y="295"/>
                            </a:lnTo>
                            <a:lnTo>
                              <a:pt x="273" y="295"/>
                            </a:lnTo>
                            <a:lnTo>
                              <a:pt x="273" y="304"/>
                            </a:lnTo>
                            <a:lnTo>
                              <a:pt x="286" y="304"/>
                            </a:lnTo>
                            <a:lnTo>
                              <a:pt x="286" y="313"/>
                            </a:lnTo>
                            <a:lnTo>
                              <a:pt x="317" y="317"/>
                            </a:lnTo>
                            <a:lnTo>
                              <a:pt x="322" y="313"/>
                            </a:lnTo>
                            <a:lnTo>
                              <a:pt x="340" y="295"/>
                            </a:lnTo>
                            <a:lnTo>
                              <a:pt x="353" y="291"/>
                            </a:lnTo>
                            <a:lnTo>
                              <a:pt x="357" y="286"/>
                            </a:lnTo>
                            <a:lnTo>
                              <a:pt x="371" y="286"/>
                            </a:lnTo>
                            <a:lnTo>
                              <a:pt x="384" y="295"/>
                            </a:lnTo>
                            <a:lnTo>
                              <a:pt x="389" y="295"/>
                            </a:lnTo>
                            <a:lnTo>
                              <a:pt x="389" y="282"/>
                            </a:lnTo>
                            <a:lnTo>
                              <a:pt x="393" y="282"/>
                            </a:lnTo>
                            <a:lnTo>
                              <a:pt x="407" y="286"/>
                            </a:lnTo>
                            <a:lnTo>
                              <a:pt x="411" y="291"/>
                            </a:lnTo>
                            <a:lnTo>
                              <a:pt x="429" y="286"/>
                            </a:lnTo>
                            <a:lnTo>
                              <a:pt x="460" y="291"/>
                            </a:lnTo>
                            <a:lnTo>
                              <a:pt x="469" y="286"/>
                            </a:lnTo>
                            <a:lnTo>
                              <a:pt x="474" y="286"/>
                            </a:lnTo>
                            <a:lnTo>
                              <a:pt x="469" y="291"/>
                            </a:lnTo>
                            <a:lnTo>
                              <a:pt x="474" y="291"/>
                            </a:lnTo>
                            <a:lnTo>
                              <a:pt x="474" y="295"/>
                            </a:lnTo>
                            <a:lnTo>
                              <a:pt x="483" y="295"/>
                            </a:lnTo>
                            <a:lnTo>
                              <a:pt x="483" y="299"/>
                            </a:lnTo>
                            <a:lnTo>
                              <a:pt x="491" y="273"/>
                            </a:lnTo>
                            <a:lnTo>
                              <a:pt x="487" y="250"/>
                            </a:lnTo>
                            <a:lnTo>
                              <a:pt x="478" y="246"/>
                            </a:lnTo>
                            <a:lnTo>
                              <a:pt x="478" y="237"/>
                            </a:lnTo>
                            <a:lnTo>
                              <a:pt x="514" y="237"/>
                            </a:lnTo>
                            <a:lnTo>
                              <a:pt x="509" y="228"/>
                            </a:lnTo>
                            <a:lnTo>
                              <a:pt x="523" y="197"/>
                            </a:lnTo>
                            <a:lnTo>
                              <a:pt x="550" y="201"/>
                            </a:lnTo>
                            <a:lnTo>
                              <a:pt x="563" y="192"/>
                            </a:lnTo>
                            <a:lnTo>
                              <a:pt x="563" y="174"/>
                            </a:lnTo>
                            <a:lnTo>
                              <a:pt x="572" y="165"/>
                            </a:lnTo>
                            <a:lnTo>
                              <a:pt x="581" y="152"/>
                            </a:lnTo>
                            <a:lnTo>
                              <a:pt x="585" y="152"/>
                            </a:lnTo>
                            <a:lnTo>
                              <a:pt x="585" y="148"/>
                            </a:lnTo>
                            <a:lnTo>
                              <a:pt x="563" y="143"/>
                            </a:lnTo>
                            <a:lnTo>
                              <a:pt x="554" y="143"/>
                            </a:lnTo>
                            <a:lnTo>
                              <a:pt x="550" y="130"/>
                            </a:lnTo>
                            <a:lnTo>
                              <a:pt x="545" y="134"/>
                            </a:lnTo>
                            <a:lnTo>
                              <a:pt x="532" y="116"/>
                            </a:lnTo>
                            <a:lnTo>
                              <a:pt x="523" y="112"/>
                            </a:lnTo>
                            <a:lnTo>
                              <a:pt x="518" y="112"/>
                            </a:lnTo>
                            <a:lnTo>
                              <a:pt x="514" y="116"/>
                            </a:lnTo>
                            <a:lnTo>
                              <a:pt x="509" y="121"/>
                            </a:lnTo>
                            <a:lnTo>
                              <a:pt x="500" y="116"/>
                            </a:lnTo>
                            <a:lnTo>
                              <a:pt x="500" y="107"/>
                            </a:lnTo>
                            <a:lnTo>
                              <a:pt x="491" y="107"/>
                            </a:lnTo>
                            <a:lnTo>
                              <a:pt x="487" y="112"/>
                            </a:lnTo>
                            <a:lnTo>
                              <a:pt x="483" y="116"/>
                            </a:lnTo>
                            <a:lnTo>
                              <a:pt x="451" y="63"/>
                            </a:lnTo>
                            <a:lnTo>
                              <a:pt x="433" y="40"/>
                            </a:lnTo>
                            <a:lnTo>
                              <a:pt x="438" y="31"/>
                            </a:lnTo>
                            <a:lnTo>
                              <a:pt x="433" y="27"/>
                            </a:lnTo>
                            <a:lnTo>
                              <a:pt x="424" y="31"/>
                            </a:lnTo>
                            <a:lnTo>
                              <a:pt x="416" y="36"/>
                            </a:lnTo>
                            <a:lnTo>
                              <a:pt x="411" y="40"/>
                            </a:lnTo>
                            <a:lnTo>
                              <a:pt x="402" y="49"/>
                            </a:lnTo>
                            <a:lnTo>
                              <a:pt x="393" y="45"/>
                            </a:lnTo>
                            <a:lnTo>
                              <a:pt x="384" y="49"/>
                            </a:lnTo>
                            <a:lnTo>
                              <a:pt x="384" y="45"/>
                            </a:lnTo>
                            <a:lnTo>
                              <a:pt x="389" y="40"/>
                            </a:lnTo>
                            <a:lnTo>
                              <a:pt x="375" y="36"/>
                            </a:lnTo>
                            <a:lnTo>
                              <a:pt x="371" y="40"/>
                            </a:lnTo>
                            <a:lnTo>
                              <a:pt x="371" y="31"/>
                            </a:lnTo>
                            <a:lnTo>
                              <a:pt x="357" y="36"/>
                            </a:lnTo>
                            <a:lnTo>
                              <a:pt x="353" y="31"/>
                            </a:lnTo>
                            <a:lnTo>
                              <a:pt x="353" y="22"/>
                            </a:lnTo>
                            <a:lnTo>
                              <a:pt x="349" y="9"/>
                            </a:lnTo>
                            <a:lnTo>
                              <a:pt x="340" y="9"/>
                            </a:lnTo>
                            <a:lnTo>
                              <a:pt x="322" y="5"/>
                            </a:lnTo>
                            <a:lnTo>
                              <a:pt x="317" y="9"/>
                            </a:lnTo>
                            <a:lnTo>
                              <a:pt x="313" y="0"/>
                            </a:lnTo>
                            <a:lnTo>
                              <a:pt x="308" y="18"/>
                            </a:lnTo>
                            <a:lnTo>
                              <a:pt x="304" y="13"/>
                            </a:lnTo>
                            <a:lnTo>
                              <a:pt x="299" y="18"/>
                            </a:lnTo>
                            <a:lnTo>
                              <a:pt x="277" y="22"/>
                            </a:lnTo>
                            <a:lnTo>
                              <a:pt x="268" y="22"/>
                            </a:lnTo>
                            <a:lnTo>
                              <a:pt x="264" y="27"/>
                            </a:lnTo>
                            <a:lnTo>
                              <a:pt x="264" y="22"/>
                            </a:lnTo>
                            <a:lnTo>
                              <a:pt x="246" y="31"/>
                            </a:lnTo>
                            <a:lnTo>
                              <a:pt x="237" y="36"/>
                            </a:lnTo>
                            <a:lnTo>
                              <a:pt x="215" y="36"/>
                            </a:lnTo>
                            <a:lnTo>
                              <a:pt x="210" y="40"/>
                            </a:lnTo>
                            <a:lnTo>
                              <a:pt x="206" y="49"/>
                            </a:lnTo>
                            <a:lnTo>
                              <a:pt x="219" y="49"/>
                            </a:lnTo>
                            <a:lnTo>
                              <a:pt x="210" y="54"/>
                            </a:lnTo>
                            <a:lnTo>
                              <a:pt x="219" y="54"/>
                            </a:lnTo>
                            <a:lnTo>
                              <a:pt x="223" y="63"/>
                            </a:lnTo>
                            <a:lnTo>
                              <a:pt x="210" y="63"/>
                            </a:lnTo>
                            <a:lnTo>
                              <a:pt x="201" y="67"/>
                            </a:lnTo>
                            <a:lnTo>
                              <a:pt x="206" y="76"/>
                            </a:lnTo>
                            <a:lnTo>
                              <a:pt x="192" y="85"/>
                            </a:lnTo>
                            <a:lnTo>
                              <a:pt x="201" y="94"/>
                            </a:lnTo>
                            <a:lnTo>
                              <a:pt x="206" y="103"/>
                            </a:lnTo>
                            <a:lnTo>
                              <a:pt x="215" y="103"/>
                            </a:lnTo>
                            <a:lnTo>
                              <a:pt x="215" y="112"/>
                            </a:lnTo>
                            <a:lnTo>
                              <a:pt x="215" y="116"/>
                            </a:lnTo>
                            <a:lnTo>
                              <a:pt x="201" y="121"/>
                            </a:lnTo>
                            <a:lnTo>
                              <a:pt x="192" y="112"/>
                            </a:lnTo>
                            <a:lnTo>
                              <a:pt x="183" y="125"/>
                            </a:lnTo>
                            <a:lnTo>
                              <a:pt x="183" y="116"/>
                            </a:lnTo>
                            <a:lnTo>
                              <a:pt x="179" y="112"/>
                            </a:lnTo>
                            <a:lnTo>
                              <a:pt x="174" y="107"/>
                            </a:lnTo>
                            <a:lnTo>
                              <a:pt x="165" y="107"/>
                            </a:lnTo>
                            <a:lnTo>
                              <a:pt x="156" y="112"/>
                            </a:lnTo>
                            <a:lnTo>
                              <a:pt x="152" y="107"/>
                            </a:lnTo>
                            <a:lnTo>
                              <a:pt x="143" y="107"/>
                            </a:lnTo>
                            <a:lnTo>
                              <a:pt x="139" y="116"/>
                            </a:lnTo>
                            <a:lnTo>
                              <a:pt x="134" y="121"/>
                            </a:lnTo>
                            <a:lnTo>
                              <a:pt x="125" y="116"/>
                            </a:lnTo>
                            <a:lnTo>
                              <a:pt x="121" y="116"/>
                            </a:lnTo>
                            <a:lnTo>
                              <a:pt x="121" y="121"/>
                            </a:lnTo>
                            <a:lnTo>
                              <a:pt x="116" y="121"/>
                            </a:lnTo>
                            <a:lnTo>
                              <a:pt x="112" y="116"/>
                            </a:lnTo>
                            <a:lnTo>
                              <a:pt x="107" y="103"/>
                            </a:lnTo>
                            <a:lnTo>
                              <a:pt x="94" y="98"/>
                            </a:lnTo>
                            <a:lnTo>
                              <a:pt x="89" y="103"/>
                            </a:lnTo>
                            <a:lnTo>
                              <a:pt x="85" y="94"/>
                            </a:lnTo>
                            <a:lnTo>
                              <a:pt x="76" y="98"/>
                            </a:lnTo>
                            <a:lnTo>
                              <a:pt x="72" y="103"/>
                            </a:lnTo>
                            <a:lnTo>
                              <a:pt x="72" y="98"/>
                            </a:lnTo>
                            <a:lnTo>
                              <a:pt x="67" y="94"/>
                            </a:lnTo>
                            <a:lnTo>
                              <a:pt x="63" y="103"/>
                            </a:lnTo>
                            <a:lnTo>
                              <a:pt x="45" y="116"/>
                            </a:lnTo>
                            <a:lnTo>
                              <a:pt x="36" y="121"/>
                            </a:lnTo>
                            <a:lnTo>
                              <a:pt x="31" y="116"/>
                            </a:lnTo>
                            <a:lnTo>
                              <a:pt x="36" y="134"/>
                            </a:lnTo>
                            <a:lnTo>
                              <a:pt x="31" y="139"/>
                            </a:lnTo>
                            <a:lnTo>
                              <a:pt x="18" y="125"/>
                            </a:lnTo>
                            <a:lnTo>
                              <a:pt x="13" y="125"/>
                            </a:lnTo>
                            <a:lnTo>
                              <a:pt x="13" y="139"/>
                            </a:lnTo>
                            <a:lnTo>
                              <a:pt x="9" y="139"/>
                            </a:lnTo>
                            <a:lnTo>
                              <a:pt x="5" y="152"/>
                            </a:lnTo>
                            <a:lnTo>
                              <a:pt x="5" y="156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0" name="Freeform 140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252" y="2149"/>
                        <a:ext cx="59" cy="63"/>
                      </a:xfrm>
                      <a:custGeom>
                        <a:avLst/>
                        <a:gdLst>
                          <a:gd name="T0" fmla="*/ 0 w 62"/>
                          <a:gd name="T1" fmla="*/ 9 h 67"/>
                          <a:gd name="T2" fmla="*/ 0 w 62"/>
                          <a:gd name="T3" fmla="*/ 10 h 67"/>
                          <a:gd name="T4" fmla="*/ 10 w 62"/>
                          <a:gd name="T5" fmla="*/ 10 h 67"/>
                          <a:gd name="T6" fmla="*/ 10 w 62"/>
                          <a:gd name="T7" fmla="*/ 8 h 67"/>
                          <a:gd name="T8" fmla="*/ 10 w 62"/>
                          <a:gd name="T9" fmla="*/ 8 h 67"/>
                          <a:gd name="T10" fmla="*/ 10 w 62"/>
                          <a:gd name="T11" fmla="*/ 8 h 67"/>
                          <a:gd name="T12" fmla="*/ 14 w 62"/>
                          <a:gd name="T13" fmla="*/ 8 h 67"/>
                          <a:gd name="T14" fmla="*/ 11 w 62"/>
                          <a:gd name="T15" fmla="*/ 0 h 67"/>
                          <a:gd name="T16" fmla="*/ 10 w 62"/>
                          <a:gd name="T17" fmla="*/ 0 h 67"/>
                          <a:gd name="T18" fmla="*/ 10 w 62"/>
                          <a:gd name="T19" fmla="*/ 4 h 67"/>
                          <a:gd name="T20" fmla="*/ 10 w 62"/>
                          <a:gd name="T21" fmla="*/ 8 h 67"/>
                          <a:gd name="T22" fmla="*/ 10 w 62"/>
                          <a:gd name="T23" fmla="*/ 8 h 67"/>
                          <a:gd name="T24" fmla="*/ 4 w 62"/>
                          <a:gd name="T25" fmla="*/ 8 h 67"/>
                          <a:gd name="T26" fmla="*/ 4 w 62"/>
                          <a:gd name="T27" fmla="*/ 8 h 67"/>
                          <a:gd name="T28" fmla="*/ 9 w 62"/>
                          <a:gd name="T29" fmla="*/ 8 h 67"/>
                          <a:gd name="T30" fmla="*/ 9 w 62"/>
                          <a:gd name="T31" fmla="*/ 8 h 67"/>
                          <a:gd name="T32" fmla="*/ 4 w 62"/>
                          <a:gd name="T33" fmla="*/ 8 h 67"/>
                          <a:gd name="T34" fmla="*/ 0 w 62"/>
                          <a:gd name="T35" fmla="*/ 9 h 67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w 62"/>
                          <a:gd name="T55" fmla="*/ 0 h 67"/>
                          <a:gd name="T56" fmla="*/ 62 w 62"/>
                          <a:gd name="T57" fmla="*/ 67 h 67"/>
                        </a:gdLst>
                        <a:ahLst/>
                        <a:cxnLst>
                          <a:cxn ang="T36">
                            <a:pos x="T0" y="T1"/>
                          </a:cxn>
                          <a:cxn ang="T37">
                            <a:pos x="T2" y="T3"/>
                          </a:cxn>
                          <a:cxn ang="T38">
                            <a:pos x="T4" y="T5"/>
                          </a:cxn>
                          <a:cxn ang="T39">
                            <a:pos x="T6" y="T7"/>
                          </a:cxn>
                          <a:cxn ang="T40">
                            <a:pos x="T8" y="T9"/>
                          </a:cxn>
                          <a:cxn ang="T41">
                            <a:pos x="T10" y="T11"/>
                          </a:cxn>
                          <a:cxn ang="T42">
                            <a:pos x="T12" y="T13"/>
                          </a:cxn>
                          <a:cxn ang="T43">
                            <a:pos x="T14" y="T15"/>
                          </a:cxn>
                          <a:cxn ang="T44">
                            <a:pos x="T16" y="T17"/>
                          </a:cxn>
                          <a:cxn ang="T45">
                            <a:pos x="T18" y="T19"/>
                          </a:cxn>
                          <a:cxn ang="T46">
                            <a:pos x="T20" y="T21"/>
                          </a:cxn>
                          <a:cxn ang="T47">
                            <a:pos x="T22" y="T23"/>
                          </a:cxn>
                          <a:cxn ang="T48">
                            <a:pos x="T24" y="T25"/>
                          </a:cxn>
                          <a:cxn ang="T49">
                            <a:pos x="T26" y="T27"/>
                          </a:cxn>
                          <a:cxn ang="T50">
                            <a:pos x="T28" y="T29"/>
                          </a:cxn>
                          <a:cxn ang="T51">
                            <a:pos x="T30" y="T31"/>
                          </a:cxn>
                          <a:cxn ang="T52">
                            <a:pos x="T32" y="T33"/>
                          </a:cxn>
                          <a:cxn ang="T53">
                            <a:pos x="T34" y="T35"/>
                          </a:cxn>
                        </a:cxnLst>
                        <a:rect l="T54" t="T55" r="T56" b="T57"/>
                        <a:pathLst>
                          <a:path w="62" h="67">
                            <a:moveTo>
                              <a:pt x="0" y="62"/>
                            </a:moveTo>
                            <a:lnTo>
                              <a:pt x="0" y="67"/>
                            </a:lnTo>
                            <a:lnTo>
                              <a:pt x="22" y="67"/>
                            </a:lnTo>
                            <a:lnTo>
                              <a:pt x="27" y="58"/>
                            </a:lnTo>
                            <a:lnTo>
                              <a:pt x="40" y="49"/>
                            </a:lnTo>
                            <a:lnTo>
                              <a:pt x="36" y="31"/>
                            </a:lnTo>
                            <a:lnTo>
                              <a:pt x="62" y="18"/>
                            </a:lnTo>
                            <a:lnTo>
                              <a:pt x="53" y="0"/>
                            </a:lnTo>
                            <a:lnTo>
                              <a:pt x="49" y="0"/>
                            </a:lnTo>
                            <a:lnTo>
                              <a:pt x="44" y="4"/>
                            </a:lnTo>
                            <a:lnTo>
                              <a:pt x="27" y="18"/>
                            </a:lnTo>
                            <a:lnTo>
                              <a:pt x="13" y="9"/>
                            </a:lnTo>
                            <a:lnTo>
                              <a:pt x="4" y="18"/>
                            </a:lnTo>
                            <a:lnTo>
                              <a:pt x="9" y="22"/>
                            </a:lnTo>
                            <a:lnTo>
                              <a:pt x="9" y="36"/>
                            </a:lnTo>
                            <a:lnTo>
                              <a:pt x="4" y="58"/>
                            </a:lnTo>
                            <a:lnTo>
                              <a:pt x="0" y="62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1" name="Freeform 141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454" y="1972"/>
                        <a:ext cx="89" cy="101"/>
                      </a:xfrm>
                      <a:custGeom>
                        <a:avLst/>
                        <a:gdLst>
                          <a:gd name="T0" fmla="*/ 0 w 94"/>
                          <a:gd name="T1" fmla="*/ 12 h 107"/>
                          <a:gd name="T2" fmla="*/ 4 w 94"/>
                          <a:gd name="T3" fmla="*/ 12 h 107"/>
                          <a:gd name="T4" fmla="*/ 4 w 94"/>
                          <a:gd name="T5" fmla="*/ 13 h 107"/>
                          <a:gd name="T6" fmla="*/ 9 w 94"/>
                          <a:gd name="T7" fmla="*/ 13 h 107"/>
                          <a:gd name="T8" fmla="*/ 9 w 94"/>
                          <a:gd name="T9" fmla="*/ 13 h 107"/>
                          <a:gd name="T10" fmla="*/ 9 w 94"/>
                          <a:gd name="T11" fmla="*/ 16 h 107"/>
                          <a:gd name="T12" fmla="*/ 9 w 94"/>
                          <a:gd name="T13" fmla="*/ 16 h 107"/>
                          <a:gd name="T14" fmla="*/ 9 w 94"/>
                          <a:gd name="T15" fmla="*/ 17 h 107"/>
                          <a:gd name="T16" fmla="*/ 9 w 94"/>
                          <a:gd name="T17" fmla="*/ 19 h 107"/>
                          <a:gd name="T18" fmla="*/ 9 w 94"/>
                          <a:gd name="T19" fmla="*/ 19 h 107"/>
                          <a:gd name="T20" fmla="*/ 9 w 94"/>
                          <a:gd name="T21" fmla="*/ 20 h 107"/>
                          <a:gd name="T22" fmla="*/ 9 w 94"/>
                          <a:gd name="T23" fmla="*/ 19 h 107"/>
                          <a:gd name="T24" fmla="*/ 9 w 94"/>
                          <a:gd name="T25" fmla="*/ 19 h 107"/>
                          <a:gd name="T26" fmla="*/ 9 w 94"/>
                          <a:gd name="T27" fmla="*/ 19 h 107"/>
                          <a:gd name="T28" fmla="*/ 12 w 94"/>
                          <a:gd name="T29" fmla="*/ 17 h 107"/>
                          <a:gd name="T30" fmla="*/ 12 w 94"/>
                          <a:gd name="T31" fmla="*/ 16 h 107"/>
                          <a:gd name="T32" fmla="*/ 9 w 94"/>
                          <a:gd name="T33" fmla="*/ 15 h 107"/>
                          <a:gd name="T34" fmla="*/ 9 w 94"/>
                          <a:gd name="T35" fmla="*/ 14 h 107"/>
                          <a:gd name="T36" fmla="*/ 11 w 94"/>
                          <a:gd name="T37" fmla="*/ 11 h 107"/>
                          <a:gd name="T38" fmla="*/ 14 w 94"/>
                          <a:gd name="T39" fmla="*/ 9 h 107"/>
                          <a:gd name="T40" fmla="*/ 17 w 94"/>
                          <a:gd name="T41" fmla="*/ 8 h 107"/>
                          <a:gd name="T42" fmla="*/ 18 w 94"/>
                          <a:gd name="T43" fmla="*/ 8 h 107"/>
                          <a:gd name="T44" fmla="*/ 18 w 94"/>
                          <a:gd name="T45" fmla="*/ 8 h 107"/>
                          <a:gd name="T46" fmla="*/ 20 w 94"/>
                          <a:gd name="T47" fmla="*/ 8 h 107"/>
                          <a:gd name="T48" fmla="*/ 18 w 94"/>
                          <a:gd name="T49" fmla="*/ 0 h 107"/>
                          <a:gd name="T50" fmla="*/ 16 w 94"/>
                          <a:gd name="T51" fmla="*/ 8 h 107"/>
                          <a:gd name="T52" fmla="*/ 12 w 94"/>
                          <a:gd name="T53" fmla="*/ 8 h 107"/>
                          <a:gd name="T54" fmla="*/ 12 w 94"/>
                          <a:gd name="T55" fmla="*/ 8 h 107"/>
                          <a:gd name="T56" fmla="*/ 9 w 94"/>
                          <a:gd name="T57" fmla="*/ 8 h 107"/>
                          <a:gd name="T58" fmla="*/ 9 w 94"/>
                          <a:gd name="T59" fmla="*/ 8 h 107"/>
                          <a:gd name="T60" fmla="*/ 9 w 94"/>
                          <a:gd name="T61" fmla="*/ 8 h 107"/>
                          <a:gd name="T62" fmla="*/ 9 w 94"/>
                          <a:gd name="T63" fmla="*/ 8 h 107"/>
                          <a:gd name="T64" fmla="*/ 0 w 94"/>
                          <a:gd name="T65" fmla="*/ 11 h 107"/>
                          <a:gd name="T66" fmla="*/ 0 w 94"/>
                          <a:gd name="T67" fmla="*/ 12 h 107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w 94"/>
                          <a:gd name="T103" fmla="*/ 0 h 107"/>
                          <a:gd name="T104" fmla="*/ 94 w 94"/>
                          <a:gd name="T105" fmla="*/ 107 h 107"/>
                        </a:gdLst>
                        <a:ahLst/>
                        <a:cxnLst>
                          <a:cxn ang="T68">
                            <a:pos x="T0" y="T1"/>
                          </a:cxn>
                          <a:cxn ang="T69">
                            <a:pos x="T2" y="T3"/>
                          </a:cxn>
                          <a:cxn ang="T70">
                            <a:pos x="T4" y="T5"/>
                          </a:cxn>
                          <a:cxn ang="T71">
                            <a:pos x="T6" y="T7"/>
                          </a:cxn>
                          <a:cxn ang="T72">
                            <a:pos x="T8" y="T9"/>
                          </a:cxn>
                          <a:cxn ang="T73">
                            <a:pos x="T10" y="T11"/>
                          </a:cxn>
                          <a:cxn ang="T74">
                            <a:pos x="T12" y="T13"/>
                          </a:cxn>
                          <a:cxn ang="T75">
                            <a:pos x="T14" y="T15"/>
                          </a:cxn>
                          <a:cxn ang="T76">
                            <a:pos x="T16" y="T17"/>
                          </a:cxn>
                          <a:cxn ang="T77">
                            <a:pos x="T18" y="T19"/>
                          </a:cxn>
                          <a:cxn ang="T78">
                            <a:pos x="T20" y="T21"/>
                          </a:cxn>
                          <a:cxn ang="T79">
                            <a:pos x="T22" y="T23"/>
                          </a:cxn>
                          <a:cxn ang="T80">
                            <a:pos x="T24" y="T25"/>
                          </a:cxn>
                          <a:cxn ang="T81">
                            <a:pos x="T26" y="T27"/>
                          </a:cxn>
                          <a:cxn ang="T82">
                            <a:pos x="T28" y="T29"/>
                          </a:cxn>
                          <a:cxn ang="T83">
                            <a:pos x="T30" y="T31"/>
                          </a:cxn>
                          <a:cxn ang="T84">
                            <a:pos x="T32" y="T33"/>
                          </a:cxn>
                          <a:cxn ang="T85">
                            <a:pos x="T34" y="T35"/>
                          </a:cxn>
                          <a:cxn ang="T86">
                            <a:pos x="T36" y="T37"/>
                          </a:cxn>
                          <a:cxn ang="T87">
                            <a:pos x="T38" y="T39"/>
                          </a:cxn>
                          <a:cxn ang="T88">
                            <a:pos x="T40" y="T41"/>
                          </a:cxn>
                          <a:cxn ang="T89">
                            <a:pos x="T42" y="T43"/>
                          </a:cxn>
                          <a:cxn ang="T90">
                            <a:pos x="T44" y="T45"/>
                          </a:cxn>
                          <a:cxn ang="T91">
                            <a:pos x="T46" y="T47"/>
                          </a:cxn>
                          <a:cxn ang="T92">
                            <a:pos x="T48" y="T49"/>
                          </a:cxn>
                          <a:cxn ang="T93">
                            <a:pos x="T50" y="T51"/>
                          </a:cxn>
                          <a:cxn ang="T94">
                            <a:pos x="T52" y="T53"/>
                          </a:cxn>
                          <a:cxn ang="T95">
                            <a:pos x="T54" y="T55"/>
                          </a:cxn>
                          <a:cxn ang="T96">
                            <a:pos x="T56" y="T57"/>
                          </a:cxn>
                          <a:cxn ang="T97">
                            <a:pos x="T58" y="T59"/>
                          </a:cxn>
                          <a:cxn ang="T98">
                            <a:pos x="T60" y="T61"/>
                          </a:cxn>
                          <a:cxn ang="T99">
                            <a:pos x="T62" y="T63"/>
                          </a:cxn>
                          <a:cxn ang="T100">
                            <a:pos x="T64" y="T65"/>
                          </a:cxn>
                          <a:cxn ang="T101">
                            <a:pos x="T66" y="T67"/>
                          </a:cxn>
                        </a:cxnLst>
                        <a:rect l="T102" t="T103" r="T104" b="T105"/>
                        <a:pathLst>
                          <a:path w="94" h="107">
                            <a:moveTo>
                              <a:pt x="0" y="67"/>
                            </a:moveTo>
                            <a:lnTo>
                              <a:pt x="4" y="67"/>
                            </a:lnTo>
                            <a:lnTo>
                              <a:pt x="4" y="72"/>
                            </a:lnTo>
                            <a:lnTo>
                              <a:pt x="13" y="72"/>
                            </a:lnTo>
                            <a:lnTo>
                              <a:pt x="22" y="72"/>
                            </a:lnTo>
                            <a:lnTo>
                              <a:pt x="18" y="85"/>
                            </a:lnTo>
                            <a:lnTo>
                              <a:pt x="22" y="85"/>
                            </a:lnTo>
                            <a:lnTo>
                              <a:pt x="13" y="90"/>
                            </a:lnTo>
                            <a:lnTo>
                              <a:pt x="9" y="98"/>
                            </a:lnTo>
                            <a:lnTo>
                              <a:pt x="13" y="103"/>
                            </a:lnTo>
                            <a:lnTo>
                              <a:pt x="22" y="107"/>
                            </a:lnTo>
                            <a:lnTo>
                              <a:pt x="27" y="103"/>
                            </a:lnTo>
                            <a:lnTo>
                              <a:pt x="36" y="98"/>
                            </a:lnTo>
                            <a:lnTo>
                              <a:pt x="45" y="98"/>
                            </a:lnTo>
                            <a:lnTo>
                              <a:pt x="62" y="90"/>
                            </a:lnTo>
                            <a:lnTo>
                              <a:pt x="62" y="85"/>
                            </a:lnTo>
                            <a:lnTo>
                              <a:pt x="49" y="81"/>
                            </a:lnTo>
                            <a:lnTo>
                              <a:pt x="49" y="76"/>
                            </a:lnTo>
                            <a:lnTo>
                              <a:pt x="58" y="63"/>
                            </a:lnTo>
                            <a:lnTo>
                              <a:pt x="71" y="58"/>
                            </a:lnTo>
                            <a:lnTo>
                              <a:pt x="80" y="49"/>
                            </a:lnTo>
                            <a:lnTo>
                              <a:pt x="85" y="40"/>
                            </a:lnTo>
                            <a:lnTo>
                              <a:pt x="85" y="22"/>
                            </a:lnTo>
                            <a:lnTo>
                              <a:pt x="94" y="14"/>
                            </a:lnTo>
                            <a:lnTo>
                              <a:pt x="85" y="0"/>
                            </a:lnTo>
                            <a:lnTo>
                              <a:pt x="76" y="9"/>
                            </a:lnTo>
                            <a:lnTo>
                              <a:pt x="62" y="22"/>
                            </a:lnTo>
                            <a:lnTo>
                              <a:pt x="62" y="36"/>
                            </a:lnTo>
                            <a:lnTo>
                              <a:pt x="45" y="27"/>
                            </a:lnTo>
                            <a:lnTo>
                              <a:pt x="40" y="31"/>
                            </a:lnTo>
                            <a:lnTo>
                              <a:pt x="27" y="49"/>
                            </a:lnTo>
                            <a:lnTo>
                              <a:pt x="22" y="49"/>
                            </a:lnTo>
                            <a:lnTo>
                              <a:pt x="0" y="63"/>
                            </a:lnTo>
                            <a:lnTo>
                              <a:pt x="0" y="67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2" name="Freeform 142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479" y="2057"/>
                        <a:ext cx="46" cy="71"/>
                      </a:xfrm>
                      <a:custGeom>
                        <a:avLst/>
                        <a:gdLst>
                          <a:gd name="T0" fmla="*/ 8 w 49"/>
                          <a:gd name="T1" fmla="*/ 8 h 75"/>
                          <a:gd name="T2" fmla="*/ 4 w 49"/>
                          <a:gd name="T3" fmla="*/ 9 h 75"/>
                          <a:gd name="T4" fmla="*/ 8 w 49"/>
                          <a:gd name="T5" fmla="*/ 9 h 75"/>
                          <a:gd name="T6" fmla="*/ 0 w 49"/>
                          <a:gd name="T7" fmla="*/ 9 h 75"/>
                          <a:gd name="T8" fmla="*/ 0 w 49"/>
                          <a:gd name="T9" fmla="*/ 9 h 75"/>
                          <a:gd name="T10" fmla="*/ 4 w 49"/>
                          <a:gd name="T11" fmla="*/ 9 h 75"/>
                          <a:gd name="T12" fmla="*/ 4 w 49"/>
                          <a:gd name="T13" fmla="*/ 9 h 75"/>
                          <a:gd name="T14" fmla="*/ 4 w 49"/>
                          <a:gd name="T15" fmla="*/ 9 h 75"/>
                          <a:gd name="T16" fmla="*/ 8 w 49"/>
                          <a:gd name="T17" fmla="*/ 9 h 75"/>
                          <a:gd name="T18" fmla="*/ 4 w 49"/>
                          <a:gd name="T19" fmla="*/ 12 h 75"/>
                          <a:gd name="T20" fmla="*/ 4 w 49"/>
                          <a:gd name="T21" fmla="*/ 15 h 75"/>
                          <a:gd name="T22" fmla="*/ 8 w 49"/>
                          <a:gd name="T23" fmla="*/ 15 h 75"/>
                          <a:gd name="T24" fmla="*/ 8 w 49"/>
                          <a:gd name="T25" fmla="*/ 14 h 75"/>
                          <a:gd name="T26" fmla="*/ 8 w 49"/>
                          <a:gd name="T27" fmla="*/ 15 h 75"/>
                          <a:gd name="T28" fmla="*/ 8 w 49"/>
                          <a:gd name="T29" fmla="*/ 14 h 75"/>
                          <a:gd name="T30" fmla="*/ 8 w 49"/>
                          <a:gd name="T31" fmla="*/ 13 h 75"/>
                          <a:gd name="T32" fmla="*/ 8 w 49"/>
                          <a:gd name="T33" fmla="*/ 14 h 75"/>
                          <a:gd name="T34" fmla="*/ 8 w 49"/>
                          <a:gd name="T35" fmla="*/ 11 h 75"/>
                          <a:gd name="T36" fmla="*/ 8 w 49"/>
                          <a:gd name="T37" fmla="*/ 12 h 75"/>
                          <a:gd name="T38" fmla="*/ 8 w 49"/>
                          <a:gd name="T39" fmla="*/ 9 h 75"/>
                          <a:gd name="T40" fmla="*/ 8 w 49"/>
                          <a:gd name="T41" fmla="*/ 9 h 75"/>
                          <a:gd name="T42" fmla="*/ 8 w 49"/>
                          <a:gd name="T43" fmla="*/ 0 h 75"/>
                          <a:gd name="T44" fmla="*/ 8 w 49"/>
                          <a:gd name="T45" fmla="*/ 8 h 75"/>
                          <a:gd name="T46" fmla="*/ 8 w 49"/>
                          <a:gd name="T47" fmla="*/ 8 h 75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w 49"/>
                          <a:gd name="T73" fmla="*/ 0 h 75"/>
                          <a:gd name="T74" fmla="*/ 49 w 49"/>
                          <a:gd name="T75" fmla="*/ 75 h 75"/>
                        </a:gdLst>
                        <a:ahLst/>
                        <a:cxnLst>
                          <a:cxn ang="T48">
                            <a:pos x="T0" y="T1"/>
                          </a:cxn>
                          <a:cxn ang="T49">
                            <a:pos x="T2" y="T3"/>
                          </a:cxn>
                          <a:cxn ang="T50">
                            <a:pos x="T4" y="T5"/>
                          </a:cxn>
                          <a:cxn ang="T51">
                            <a:pos x="T6" y="T7"/>
                          </a:cxn>
                          <a:cxn ang="T52">
                            <a:pos x="T8" y="T9"/>
                          </a:cxn>
                          <a:cxn ang="T53">
                            <a:pos x="T10" y="T11"/>
                          </a:cxn>
                          <a:cxn ang="T54">
                            <a:pos x="T12" y="T13"/>
                          </a:cxn>
                          <a:cxn ang="T55">
                            <a:pos x="T14" y="T15"/>
                          </a:cxn>
                          <a:cxn ang="T56">
                            <a:pos x="T16" y="T17"/>
                          </a:cxn>
                          <a:cxn ang="T57">
                            <a:pos x="T18" y="T19"/>
                          </a:cxn>
                          <a:cxn ang="T58">
                            <a:pos x="T20" y="T21"/>
                          </a:cxn>
                          <a:cxn ang="T59">
                            <a:pos x="T22" y="T23"/>
                          </a:cxn>
                          <a:cxn ang="T60">
                            <a:pos x="T24" y="T25"/>
                          </a:cxn>
                          <a:cxn ang="T61">
                            <a:pos x="T26" y="T27"/>
                          </a:cxn>
                          <a:cxn ang="T62">
                            <a:pos x="T28" y="T29"/>
                          </a:cxn>
                          <a:cxn ang="T63">
                            <a:pos x="T30" y="T31"/>
                          </a:cxn>
                          <a:cxn ang="T64">
                            <a:pos x="T32" y="T33"/>
                          </a:cxn>
                          <a:cxn ang="T65">
                            <a:pos x="T34" y="T35"/>
                          </a:cxn>
                          <a:cxn ang="T66">
                            <a:pos x="T36" y="T37"/>
                          </a:cxn>
                          <a:cxn ang="T67">
                            <a:pos x="T38" y="T39"/>
                          </a:cxn>
                          <a:cxn ang="T68">
                            <a:pos x="T40" y="T41"/>
                          </a:cxn>
                          <a:cxn ang="T69">
                            <a:pos x="T42" y="T43"/>
                          </a:cxn>
                          <a:cxn ang="T70">
                            <a:pos x="T44" y="T45"/>
                          </a:cxn>
                          <a:cxn ang="T71">
                            <a:pos x="T46" y="T47"/>
                          </a:cxn>
                        </a:cxnLst>
                        <a:rect l="T72" t="T73" r="T74" b="T75"/>
                        <a:pathLst>
                          <a:path w="49" h="75">
                            <a:moveTo>
                              <a:pt x="9" y="8"/>
                            </a:moveTo>
                            <a:lnTo>
                              <a:pt x="4" y="17"/>
                            </a:lnTo>
                            <a:lnTo>
                              <a:pt x="9" y="31"/>
                            </a:lnTo>
                            <a:lnTo>
                              <a:pt x="0" y="31"/>
                            </a:lnTo>
                            <a:lnTo>
                              <a:pt x="0" y="35"/>
                            </a:lnTo>
                            <a:lnTo>
                              <a:pt x="4" y="44"/>
                            </a:lnTo>
                            <a:lnTo>
                              <a:pt x="4" y="35"/>
                            </a:lnTo>
                            <a:lnTo>
                              <a:pt x="4" y="53"/>
                            </a:lnTo>
                            <a:lnTo>
                              <a:pt x="9" y="53"/>
                            </a:lnTo>
                            <a:lnTo>
                              <a:pt x="4" y="62"/>
                            </a:lnTo>
                            <a:lnTo>
                              <a:pt x="4" y="75"/>
                            </a:lnTo>
                            <a:lnTo>
                              <a:pt x="13" y="75"/>
                            </a:lnTo>
                            <a:lnTo>
                              <a:pt x="18" y="71"/>
                            </a:lnTo>
                            <a:lnTo>
                              <a:pt x="22" y="75"/>
                            </a:lnTo>
                            <a:lnTo>
                              <a:pt x="26" y="71"/>
                            </a:lnTo>
                            <a:lnTo>
                              <a:pt x="26" y="67"/>
                            </a:lnTo>
                            <a:lnTo>
                              <a:pt x="35" y="71"/>
                            </a:lnTo>
                            <a:lnTo>
                              <a:pt x="35" y="58"/>
                            </a:lnTo>
                            <a:lnTo>
                              <a:pt x="40" y="62"/>
                            </a:lnTo>
                            <a:lnTo>
                              <a:pt x="49" y="53"/>
                            </a:lnTo>
                            <a:lnTo>
                              <a:pt x="49" y="26"/>
                            </a:lnTo>
                            <a:lnTo>
                              <a:pt x="35" y="0"/>
                            </a:lnTo>
                            <a:lnTo>
                              <a:pt x="18" y="8"/>
                            </a:lnTo>
                            <a:lnTo>
                              <a:pt x="9" y="8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3" name="Freeform 143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407" y="2199"/>
                        <a:ext cx="29" cy="25"/>
                      </a:xfrm>
                      <a:custGeom>
                        <a:avLst/>
                        <a:gdLst>
                          <a:gd name="T0" fmla="*/ 0 w 31"/>
                          <a:gd name="T1" fmla="*/ 6 h 27"/>
                          <a:gd name="T2" fmla="*/ 7 w 31"/>
                          <a:gd name="T3" fmla="*/ 6 h 27"/>
                          <a:gd name="T4" fmla="*/ 7 w 31"/>
                          <a:gd name="T5" fmla="*/ 6 h 27"/>
                          <a:gd name="T6" fmla="*/ 7 w 31"/>
                          <a:gd name="T7" fmla="*/ 6 h 27"/>
                          <a:gd name="T8" fmla="*/ 7 w 31"/>
                          <a:gd name="T9" fmla="*/ 6 h 27"/>
                          <a:gd name="T10" fmla="*/ 7 w 31"/>
                          <a:gd name="T11" fmla="*/ 6 h 27"/>
                          <a:gd name="T12" fmla="*/ 7 w 31"/>
                          <a:gd name="T13" fmla="*/ 6 h 27"/>
                          <a:gd name="T14" fmla="*/ 7 w 31"/>
                          <a:gd name="T15" fmla="*/ 5 h 27"/>
                          <a:gd name="T16" fmla="*/ 7 w 31"/>
                          <a:gd name="T17" fmla="*/ 0 h 27"/>
                          <a:gd name="T18" fmla="*/ 7 w 31"/>
                          <a:gd name="T19" fmla="*/ 5 h 27"/>
                          <a:gd name="T20" fmla="*/ 7 w 31"/>
                          <a:gd name="T21" fmla="*/ 6 h 27"/>
                          <a:gd name="T22" fmla="*/ 0 w 31"/>
                          <a:gd name="T23" fmla="*/ 6 h 27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w 31"/>
                          <a:gd name="T37" fmla="*/ 0 h 27"/>
                          <a:gd name="T38" fmla="*/ 31 w 31"/>
                          <a:gd name="T39" fmla="*/ 27 h 27"/>
                        </a:gdLst>
                        <a:ahLst/>
                        <a:cxnLst>
                          <a:cxn ang="T24">
                            <a:pos x="T0" y="T1"/>
                          </a:cxn>
                          <a:cxn ang="T25">
                            <a:pos x="T2" y="T3"/>
                          </a:cxn>
                          <a:cxn ang="T26">
                            <a:pos x="T4" y="T5"/>
                          </a:cxn>
                          <a:cxn ang="T27">
                            <a:pos x="T6" y="T7"/>
                          </a:cxn>
                          <a:cxn ang="T28">
                            <a:pos x="T8" y="T9"/>
                          </a:cxn>
                          <a:cxn ang="T29">
                            <a:pos x="T10" y="T11"/>
                          </a:cxn>
                          <a:cxn ang="T30">
                            <a:pos x="T12" y="T13"/>
                          </a:cxn>
                          <a:cxn ang="T31">
                            <a:pos x="T14" y="T15"/>
                          </a:cxn>
                          <a:cxn ang="T32">
                            <a:pos x="T16" y="T17"/>
                          </a:cxn>
                          <a:cxn ang="T33">
                            <a:pos x="T18" y="T19"/>
                          </a:cxn>
                          <a:cxn ang="T34">
                            <a:pos x="T20" y="T21"/>
                          </a:cxn>
                          <a:cxn ang="T35">
                            <a:pos x="T22" y="T23"/>
                          </a:cxn>
                        </a:cxnLst>
                        <a:rect l="T36" t="T37" r="T38" b="T39"/>
                        <a:pathLst>
                          <a:path w="31" h="27">
                            <a:moveTo>
                              <a:pt x="0" y="18"/>
                            </a:moveTo>
                            <a:lnTo>
                              <a:pt x="13" y="23"/>
                            </a:lnTo>
                            <a:lnTo>
                              <a:pt x="18" y="27"/>
                            </a:lnTo>
                            <a:lnTo>
                              <a:pt x="31" y="23"/>
                            </a:lnTo>
                            <a:lnTo>
                              <a:pt x="27" y="14"/>
                            </a:lnTo>
                            <a:lnTo>
                              <a:pt x="18" y="14"/>
                            </a:lnTo>
                            <a:lnTo>
                              <a:pt x="18" y="9"/>
                            </a:lnTo>
                            <a:lnTo>
                              <a:pt x="22" y="5"/>
                            </a:lnTo>
                            <a:lnTo>
                              <a:pt x="22" y="0"/>
                            </a:lnTo>
                            <a:lnTo>
                              <a:pt x="9" y="5"/>
                            </a:lnTo>
                            <a:lnTo>
                              <a:pt x="9" y="14"/>
                            </a:lnTo>
                            <a:lnTo>
                              <a:pt x="0" y="18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4" name="Freeform 144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715" y="1976"/>
                        <a:ext cx="148" cy="67"/>
                      </a:xfrm>
                      <a:custGeom>
                        <a:avLst/>
                        <a:gdLst>
                          <a:gd name="T0" fmla="*/ 8 w 157"/>
                          <a:gd name="T1" fmla="*/ 9 h 71"/>
                          <a:gd name="T2" fmla="*/ 8 w 157"/>
                          <a:gd name="T3" fmla="*/ 11 h 71"/>
                          <a:gd name="T4" fmla="*/ 8 w 157"/>
                          <a:gd name="T5" fmla="*/ 8 h 71"/>
                          <a:gd name="T6" fmla="*/ 5 w 157"/>
                          <a:gd name="T7" fmla="*/ 9 h 71"/>
                          <a:gd name="T8" fmla="*/ 0 w 157"/>
                          <a:gd name="T9" fmla="*/ 12 h 71"/>
                          <a:gd name="T10" fmla="*/ 8 w 157"/>
                          <a:gd name="T11" fmla="*/ 12 h 71"/>
                          <a:gd name="T12" fmla="*/ 8 w 157"/>
                          <a:gd name="T13" fmla="*/ 13 h 71"/>
                          <a:gd name="T14" fmla="*/ 8 w 157"/>
                          <a:gd name="T15" fmla="*/ 12 h 71"/>
                          <a:gd name="T16" fmla="*/ 8 w 157"/>
                          <a:gd name="T17" fmla="*/ 13 h 71"/>
                          <a:gd name="T18" fmla="*/ 10 w 157"/>
                          <a:gd name="T19" fmla="*/ 12 h 71"/>
                          <a:gd name="T20" fmla="*/ 14 w 157"/>
                          <a:gd name="T21" fmla="*/ 8 h 71"/>
                          <a:gd name="T22" fmla="*/ 16 w 157"/>
                          <a:gd name="T23" fmla="*/ 8 h 71"/>
                          <a:gd name="T24" fmla="*/ 19 w 157"/>
                          <a:gd name="T25" fmla="*/ 8 h 71"/>
                          <a:gd name="T26" fmla="*/ 24 w 157"/>
                          <a:gd name="T27" fmla="*/ 8 h 71"/>
                          <a:gd name="T28" fmla="*/ 27 w 157"/>
                          <a:gd name="T29" fmla="*/ 8 h 71"/>
                          <a:gd name="T30" fmla="*/ 27 w 157"/>
                          <a:gd name="T31" fmla="*/ 8 h 71"/>
                          <a:gd name="T32" fmla="*/ 25 w 157"/>
                          <a:gd name="T33" fmla="*/ 8 h 71"/>
                          <a:gd name="T34" fmla="*/ 25 w 157"/>
                          <a:gd name="T35" fmla="*/ 4 h 71"/>
                          <a:gd name="T36" fmla="*/ 23 w 157"/>
                          <a:gd name="T37" fmla="*/ 8 h 71"/>
                          <a:gd name="T38" fmla="*/ 15 w 157"/>
                          <a:gd name="T39" fmla="*/ 8 h 71"/>
                          <a:gd name="T40" fmla="*/ 11 w 157"/>
                          <a:gd name="T41" fmla="*/ 0 h 71"/>
                          <a:gd name="T42" fmla="*/ 10 w 157"/>
                          <a:gd name="T43" fmla="*/ 8 h 71"/>
                          <a:gd name="T44" fmla="*/ 8 w 157"/>
                          <a:gd name="T45" fmla="*/ 4 h 71"/>
                          <a:gd name="T46" fmla="*/ 8 w 157"/>
                          <a:gd name="T47" fmla="*/ 8 h 71"/>
                          <a:gd name="T48" fmla="*/ 8 w 157"/>
                          <a:gd name="T49" fmla="*/ 8 h 71"/>
                          <a:gd name="T50" fmla="*/ 8 w 157"/>
                          <a:gd name="T51" fmla="*/ 8 h 71"/>
                          <a:gd name="T52" fmla="*/ 8 w 157"/>
                          <a:gd name="T53" fmla="*/ 8 h 71"/>
                          <a:gd name="T54" fmla="*/ 8 w 157"/>
                          <a:gd name="T55" fmla="*/ 8 h 71"/>
                          <a:gd name="T56" fmla="*/ 9 w 157"/>
                          <a:gd name="T57" fmla="*/ 8 h 71"/>
                          <a:gd name="T58" fmla="*/ 8 w 157"/>
                          <a:gd name="T59" fmla="*/ 8 h 71"/>
                          <a:gd name="T60" fmla="*/ 8 w 157"/>
                          <a:gd name="T61" fmla="*/ 8 h 71"/>
                          <a:gd name="T62" fmla="*/ 8 w 157"/>
                          <a:gd name="T63" fmla="*/ 8 h 71"/>
                          <a:gd name="T64" fmla="*/ 8 w 157"/>
                          <a:gd name="T65" fmla="*/ 11 h 71"/>
                          <a:gd name="T66" fmla="*/ 8 w 157"/>
                          <a:gd name="T67" fmla="*/ 8 h 71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w 157"/>
                          <a:gd name="T103" fmla="*/ 0 h 71"/>
                          <a:gd name="T104" fmla="*/ 157 w 157"/>
                          <a:gd name="T105" fmla="*/ 71 h 71"/>
                        </a:gdLst>
                        <a:ahLst/>
                        <a:cxnLst>
                          <a:cxn ang="T68">
                            <a:pos x="T0" y="T1"/>
                          </a:cxn>
                          <a:cxn ang="T69">
                            <a:pos x="T2" y="T3"/>
                          </a:cxn>
                          <a:cxn ang="T70">
                            <a:pos x="T4" y="T5"/>
                          </a:cxn>
                          <a:cxn ang="T71">
                            <a:pos x="T6" y="T7"/>
                          </a:cxn>
                          <a:cxn ang="T72">
                            <a:pos x="T8" y="T9"/>
                          </a:cxn>
                          <a:cxn ang="T73">
                            <a:pos x="T10" y="T11"/>
                          </a:cxn>
                          <a:cxn ang="T74">
                            <a:pos x="T12" y="T13"/>
                          </a:cxn>
                          <a:cxn ang="T75">
                            <a:pos x="T14" y="T15"/>
                          </a:cxn>
                          <a:cxn ang="T76">
                            <a:pos x="T16" y="T17"/>
                          </a:cxn>
                          <a:cxn ang="T77">
                            <a:pos x="T18" y="T19"/>
                          </a:cxn>
                          <a:cxn ang="T78">
                            <a:pos x="T20" y="T21"/>
                          </a:cxn>
                          <a:cxn ang="T79">
                            <a:pos x="T22" y="T23"/>
                          </a:cxn>
                          <a:cxn ang="T80">
                            <a:pos x="T24" y="T25"/>
                          </a:cxn>
                          <a:cxn ang="T81">
                            <a:pos x="T26" y="T27"/>
                          </a:cxn>
                          <a:cxn ang="T82">
                            <a:pos x="T28" y="T29"/>
                          </a:cxn>
                          <a:cxn ang="T83">
                            <a:pos x="T30" y="T31"/>
                          </a:cxn>
                          <a:cxn ang="T84">
                            <a:pos x="T32" y="T33"/>
                          </a:cxn>
                          <a:cxn ang="T85">
                            <a:pos x="T34" y="T35"/>
                          </a:cxn>
                          <a:cxn ang="T86">
                            <a:pos x="T36" y="T37"/>
                          </a:cxn>
                          <a:cxn ang="T87">
                            <a:pos x="T38" y="T39"/>
                          </a:cxn>
                          <a:cxn ang="T88">
                            <a:pos x="T40" y="T41"/>
                          </a:cxn>
                          <a:cxn ang="T89">
                            <a:pos x="T42" y="T43"/>
                          </a:cxn>
                          <a:cxn ang="T90">
                            <a:pos x="T44" y="T45"/>
                          </a:cxn>
                          <a:cxn ang="T91">
                            <a:pos x="T46" y="T47"/>
                          </a:cxn>
                          <a:cxn ang="T92">
                            <a:pos x="T48" y="T49"/>
                          </a:cxn>
                          <a:cxn ang="T93">
                            <a:pos x="T50" y="T51"/>
                          </a:cxn>
                          <a:cxn ang="T94">
                            <a:pos x="T52" y="T53"/>
                          </a:cxn>
                          <a:cxn ang="T95">
                            <a:pos x="T54" y="T55"/>
                          </a:cxn>
                          <a:cxn ang="T96">
                            <a:pos x="T56" y="T57"/>
                          </a:cxn>
                          <a:cxn ang="T97">
                            <a:pos x="T58" y="T59"/>
                          </a:cxn>
                          <a:cxn ang="T98">
                            <a:pos x="T60" y="T61"/>
                          </a:cxn>
                          <a:cxn ang="T99">
                            <a:pos x="T62" y="T63"/>
                          </a:cxn>
                          <a:cxn ang="T100">
                            <a:pos x="T64" y="T65"/>
                          </a:cxn>
                          <a:cxn ang="T101">
                            <a:pos x="T66" y="T67"/>
                          </a:cxn>
                        </a:cxnLst>
                        <a:rect l="T102" t="T103" r="T104" b="T105"/>
                        <a:pathLst>
                          <a:path w="157" h="71">
                            <a:moveTo>
                              <a:pt x="27" y="53"/>
                            </a:moveTo>
                            <a:lnTo>
                              <a:pt x="23" y="58"/>
                            </a:lnTo>
                            <a:lnTo>
                              <a:pt x="23" y="62"/>
                            </a:lnTo>
                            <a:lnTo>
                              <a:pt x="18" y="62"/>
                            </a:lnTo>
                            <a:lnTo>
                              <a:pt x="18" y="58"/>
                            </a:lnTo>
                            <a:lnTo>
                              <a:pt x="14" y="53"/>
                            </a:lnTo>
                            <a:lnTo>
                              <a:pt x="5" y="53"/>
                            </a:lnTo>
                            <a:lnTo>
                              <a:pt x="5" y="58"/>
                            </a:lnTo>
                            <a:lnTo>
                              <a:pt x="0" y="62"/>
                            </a:lnTo>
                            <a:lnTo>
                              <a:pt x="0" y="67"/>
                            </a:lnTo>
                            <a:lnTo>
                              <a:pt x="14" y="67"/>
                            </a:lnTo>
                            <a:lnTo>
                              <a:pt x="18" y="67"/>
                            </a:lnTo>
                            <a:lnTo>
                              <a:pt x="23" y="67"/>
                            </a:lnTo>
                            <a:lnTo>
                              <a:pt x="27" y="71"/>
                            </a:lnTo>
                            <a:lnTo>
                              <a:pt x="31" y="67"/>
                            </a:lnTo>
                            <a:lnTo>
                              <a:pt x="36" y="67"/>
                            </a:lnTo>
                            <a:lnTo>
                              <a:pt x="36" y="71"/>
                            </a:lnTo>
                            <a:lnTo>
                              <a:pt x="49" y="71"/>
                            </a:lnTo>
                            <a:lnTo>
                              <a:pt x="54" y="67"/>
                            </a:lnTo>
                            <a:lnTo>
                              <a:pt x="63" y="67"/>
                            </a:lnTo>
                            <a:lnTo>
                              <a:pt x="63" y="58"/>
                            </a:lnTo>
                            <a:lnTo>
                              <a:pt x="76" y="53"/>
                            </a:lnTo>
                            <a:lnTo>
                              <a:pt x="81" y="44"/>
                            </a:lnTo>
                            <a:lnTo>
                              <a:pt x="90" y="44"/>
                            </a:lnTo>
                            <a:lnTo>
                              <a:pt x="98" y="53"/>
                            </a:lnTo>
                            <a:lnTo>
                              <a:pt x="107" y="40"/>
                            </a:lnTo>
                            <a:lnTo>
                              <a:pt x="125" y="40"/>
                            </a:lnTo>
                            <a:lnTo>
                              <a:pt x="143" y="26"/>
                            </a:lnTo>
                            <a:lnTo>
                              <a:pt x="157" y="22"/>
                            </a:lnTo>
                            <a:lnTo>
                              <a:pt x="157" y="17"/>
                            </a:lnTo>
                            <a:lnTo>
                              <a:pt x="157" y="13"/>
                            </a:lnTo>
                            <a:lnTo>
                              <a:pt x="148" y="13"/>
                            </a:lnTo>
                            <a:lnTo>
                              <a:pt x="148" y="9"/>
                            </a:lnTo>
                            <a:lnTo>
                              <a:pt x="143" y="9"/>
                            </a:lnTo>
                            <a:lnTo>
                              <a:pt x="148" y="4"/>
                            </a:lnTo>
                            <a:lnTo>
                              <a:pt x="143" y="4"/>
                            </a:lnTo>
                            <a:lnTo>
                              <a:pt x="134" y="9"/>
                            </a:lnTo>
                            <a:lnTo>
                              <a:pt x="103" y="4"/>
                            </a:lnTo>
                            <a:lnTo>
                              <a:pt x="85" y="9"/>
                            </a:lnTo>
                            <a:lnTo>
                              <a:pt x="81" y="4"/>
                            </a:lnTo>
                            <a:lnTo>
                              <a:pt x="67" y="0"/>
                            </a:lnTo>
                            <a:lnTo>
                              <a:pt x="63" y="0"/>
                            </a:lnTo>
                            <a:lnTo>
                              <a:pt x="63" y="13"/>
                            </a:lnTo>
                            <a:lnTo>
                              <a:pt x="58" y="13"/>
                            </a:lnTo>
                            <a:lnTo>
                              <a:pt x="45" y="4"/>
                            </a:lnTo>
                            <a:lnTo>
                              <a:pt x="31" y="4"/>
                            </a:lnTo>
                            <a:lnTo>
                              <a:pt x="27" y="9"/>
                            </a:lnTo>
                            <a:lnTo>
                              <a:pt x="31" y="13"/>
                            </a:lnTo>
                            <a:lnTo>
                              <a:pt x="31" y="17"/>
                            </a:lnTo>
                            <a:lnTo>
                              <a:pt x="18" y="26"/>
                            </a:lnTo>
                            <a:lnTo>
                              <a:pt x="18" y="31"/>
                            </a:lnTo>
                            <a:lnTo>
                              <a:pt x="23" y="31"/>
                            </a:lnTo>
                            <a:lnTo>
                              <a:pt x="23" y="35"/>
                            </a:lnTo>
                            <a:lnTo>
                              <a:pt x="36" y="31"/>
                            </a:lnTo>
                            <a:lnTo>
                              <a:pt x="40" y="35"/>
                            </a:lnTo>
                            <a:lnTo>
                              <a:pt x="49" y="40"/>
                            </a:lnTo>
                            <a:lnTo>
                              <a:pt x="58" y="40"/>
                            </a:lnTo>
                            <a:lnTo>
                              <a:pt x="58" y="44"/>
                            </a:lnTo>
                            <a:lnTo>
                              <a:pt x="54" y="49"/>
                            </a:lnTo>
                            <a:lnTo>
                              <a:pt x="49" y="44"/>
                            </a:lnTo>
                            <a:lnTo>
                              <a:pt x="45" y="49"/>
                            </a:lnTo>
                            <a:lnTo>
                              <a:pt x="40" y="53"/>
                            </a:lnTo>
                            <a:lnTo>
                              <a:pt x="31" y="49"/>
                            </a:lnTo>
                            <a:lnTo>
                              <a:pt x="31" y="53"/>
                            </a:lnTo>
                            <a:lnTo>
                              <a:pt x="31" y="62"/>
                            </a:lnTo>
                            <a:lnTo>
                              <a:pt x="27" y="62"/>
                            </a:lnTo>
                            <a:lnTo>
                              <a:pt x="27" y="53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5" name="Freeform 145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133" y="2318"/>
                        <a:ext cx="94" cy="118"/>
                      </a:xfrm>
                      <a:custGeom>
                        <a:avLst/>
                        <a:gdLst>
                          <a:gd name="T0" fmla="*/ 0 w 99"/>
                          <a:gd name="T1" fmla="*/ 8 h 125"/>
                          <a:gd name="T2" fmla="*/ 9 w 99"/>
                          <a:gd name="T3" fmla="*/ 8 h 125"/>
                          <a:gd name="T4" fmla="*/ 9 w 99"/>
                          <a:gd name="T5" fmla="*/ 8 h 125"/>
                          <a:gd name="T6" fmla="*/ 9 w 99"/>
                          <a:gd name="T7" fmla="*/ 8 h 125"/>
                          <a:gd name="T8" fmla="*/ 9 w 99"/>
                          <a:gd name="T9" fmla="*/ 8 h 125"/>
                          <a:gd name="T10" fmla="*/ 9 w 99"/>
                          <a:gd name="T11" fmla="*/ 0 h 125"/>
                          <a:gd name="T12" fmla="*/ 9 w 99"/>
                          <a:gd name="T13" fmla="*/ 0 h 125"/>
                          <a:gd name="T14" fmla="*/ 9 w 99"/>
                          <a:gd name="T15" fmla="*/ 8 h 125"/>
                          <a:gd name="T16" fmla="*/ 9 w 99"/>
                          <a:gd name="T17" fmla="*/ 8 h 125"/>
                          <a:gd name="T18" fmla="*/ 10 w 99"/>
                          <a:gd name="T19" fmla="*/ 8 h 125"/>
                          <a:gd name="T20" fmla="*/ 13 w 99"/>
                          <a:gd name="T21" fmla="*/ 8 h 125"/>
                          <a:gd name="T22" fmla="*/ 12 w 99"/>
                          <a:gd name="T23" fmla="*/ 8 h 125"/>
                          <a:gd name="T24" fmla="*/ 10 w 99"/>
                          <a:gd name="T25" fmla="*/ 8 h 125"/>
                          <a:gd name="T26" fmla="*/ 10 w 99"/>
                          <a:gd name="T27" fmla="*/ 8 h 125"/>
                          <a:gd name="T28" fmla="*/ 15 w 99"/>
                          <a:gd name="T29" fmla="*/ 9 h 125"/>
                          <a:gd name="T30" fmla="*/ 19 w 99"/>
                          <a:gd name="T31" fmla="*/ 17 h 125"/>
                          <a:gd name="T32" fmla="*/ 21 w 99"/>
                          <a:gd name="T33" fmla="*/ 18 h 125"/>
                          <a:gd name="T34" fmla="*/ 22 w 99"/>
                          <a:gd name="T35" fmla="*/ 22 h 125"/>
                          <a:gd name="T36" fmla="*/ 20 w 99"/>
                          <a:gd name="T37" fmla="*/ 22 h 125"/>
                          <a:gd name="T38" fmla="*/ 19 w 99"/>
                          <a:gd name="T39" fmla="*/ 22 h 125"/>
                          <a:gd name="T40" fmla="*/ 18 w 99"/>
                          <a:gd name="T41" fmla="*/ 23 h 125"/>
                          <a:gd name="T42" fmla="*/ 16 w 99"/>
                          <a:gd name="T43" fmla="*/ 23 h 125"/>
                          <a:gd name="T44" fmla="*/ 15 w 99"/>
                          <a:gd name="T45" fmla="*/ 22 h 125"/>
                          <a:gd name="T46" fmla="*/ 17 w 99"/>
                          <a:gd name="T47" fmla="*/ 19 h 125"/>
                          <a:gd name="T48" fmla="*/ 13 w 99"/>
                          <a:gd name="T49" fmla="*/ 17 h 125"/>
                          <a:gd name="T50" fmla="*/ 10 w 99"/>
                          <a:gd name="T51" fmla="*/ 11 h 125"/>
                          <a:gd name="T52" fmla="*/ 9 w 99"/>
                          <a:gd name="T53" fmla="*/ 11 h 125"/>
                          <a:gd name="T54" fmla="*/ 9 w 99"/>
                          <a:gd name="T55" fmla="*/ 13 h 125"/>
                          <a:gd name="T56" fmla="*/ 9 w 99"/>
                          <a:gd name="T57" fmla="*/ 12 h 125"/>
                          <a:gd name="T58" fmla="*/ 9 w 99"/>
                          <a:gd name="T59" fmla="*/ 15 h 125"/>
                          <a:gd name="T60" fmla="*/ 9 w 99"/>
                          <a:gd name="T61" fmla="*/ 8 h 125"/>
                          <a:gd name="T62" fmla="*/ 5 w 99"/>
                          <a:gd name="T63" fmla="*/ 8 h 125"/>
                          <a:gd name="T64" fmla="*/ 9 w 99"/>
                          <a:gd name="T65" fmla="*/ 8 h 125"/>
                          <a:gd name="T66" fmla="*/ 0 w 99"/>
                          <a:gd name="T67" fmla="*/ 8 h 125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w 99"/>
                          <a:gd name="T103" fmla="*/ 0 h 125"/>
                          <a:gd name="T104" fmla="*/ 99 w 99"/>
                          <a:gd name="T105" fmla="*/ 125 h 125"/>
                        </a:gdLst>
                        <a:ahLst/>
                        <a:cxnLst>
                          <a:cxn ang="T68">
                            <a:pos x="T0" y="T1"/>
                          </a:cxn>
                          <a:cxn ang="T69">
                            <a:pos x="T2" y="T3"/>
                          </a:cxn>
                          <a:cxn ang="T70">
                            <a:pos x="T4" y="T5"/>
                          </a:cxn>
                          <a:cxn ang="T71">
                            <a:pos x="T6" y="T7"/>
                          </a:cxn>
                          <a:cxn ang="T72">
                            <a:pos x="T8" y="T9"/>
                          </a:cxn>
                          <a:cxn ang="T73">
                            <a:pos x="T10" y="T11"/>
                          </a:cxn>
                          <a:cxn ang="T74">
                            <a:pos x="T12" y="T13"/>
                          </a:cxn>
                          <a:cxn ang="T75">
                            <a:pos x="T14" y="T15"/>
                          </a:cxn>
                          <a:cxn ang="T76">
                            <a:pos x="T16" y="T17"/>
                          </a:cxn>
                          <a:cxn ang="T77">
                            <a:pos x="T18" y="T19"/>
                          </a:cxn>
                          <a:cxn ang="T78">
                            <a:pos x="T20" y="T21"/>
                          </a:cxn>
                          <a:cxn ang="T79">
                            <a:pos x="T22" y="T23"/>
                          </a:cxn>
                          <a:cxn ang="T80">
                            <a:pos x="T24" y="T25"/>
                          </a:cxn>
                          <a:cxn ang="T81">
                            <a:pos x="T26" y="T27"/>
                          </a:cxn>
                          <a:cxn ang="T82">
                            <a:pos x="T28" y="T29"/>
                          </a:cxn>
                          <a:cxn ang="T83">
                            <a:pos x="T30" y="T31"/>
                          </a:cxn>
                          <a:cxn ang="T84">
                            <a:pos x="T32" y="T33"/>
                          </a:cxn>
                          <a:cxn ang="T85">
                            <a:pos x="T34" y="T35"/>
                          </a:cxn>
                          <a:cxn ang="T86">
                            <a:pos x="T36" y="T37"/>
                          </a:cxn>
                          <a:cxn ang="T87">
                            <a:pos x="T38" y="T39"/>
                          </a:cxn>
                          <a:cxn ang="T88">
                            <a:pos x="T40" y="T41"/>
                          </a:cxn>
                          <a:cxn ang="T89">
                            <a:pos x="T42" y="T43"/>
                          </a:cxn>
                          <a:cxn ang="T90">
                            <a:pos x="T44" y="T45"/>
                          </a:cxn>
                          <a:cxn ang="T91">
                            <a:pos x="T46" y="T47"/>
                          </a:cxn>
                          <a:cxn ang="T92">
                            <a:pos x="T48" y="T49"/>
                          </a:cxn>
                          <a:cxn ang="T93">
                            <a:pos x="T50" y="T51"/>
                          </a:cxn>
                          <a:cxn ang="T94">
                            <a:pos x="T52" y="T53"/>
                          </a:cxn>
                          <a:cxn ang="T95">
                            <a:pos x="T54" y="T55"/>
                          </a:cxn>
                          <a:cxn ang="T96">
                            <a:pos x="T56" y="T57"/>
                          </a:cxn>
                          <a:cxn ang="T97">
                            <a:pos x="T58" y="T59"/>
                          </a:cxn>
                          <a:cxn ang="T98">
                            <a:pos x="T60" y="T61"/>
                          </a:cxn>
                          <a:cxn ang="T99">
                            <a:pos x="T62" y="T63"/>
                          </a:cxn>
                          <a:cxn ang="T100">
                            <a:pos x="T64" y="T65"/>
                          </a:cxn>
                          <a:cxn ang="T101">
                            <a:pos x="T66" y="T67"/>
                          </a:cxn>
                        </a:cxnLst>
                        <a:rect l="T102" t="T103" r="T104" b="T105"/>
                        <a:pathLst>
                          <a:path w="99" h="125">
                            <a:moveTo>
                              <a:pt x="0" y="31"/>
                            </a:moveTo>
                            <a:lnTo>
                              <a:pt x="9" y="17"/>
                            </a:lnTo>
                            <a:lnTo>
                              <a:pt x="14" y="13"/>
                            </a:lnTo>
                            <a:lnTo>
                              <a:pt x="14" y="22"/>
                            </a:lnTo>
                            <a:lnTo>
                              <a:pt x="23" y="22"/>
                            </a:lnTo>
                            <a:lnTo>
                              <a:pt x="23" y="0"/>
                            </a:lnTo>
                            <a:lnTo>
                              <a:pt x="27" y="0"/>
                            </a:lnTo>
                            <a:lnTo>
                              <a:pt x="36" y="9"/>
                            </a:lnTo>
                            <a:lnTo>
                              <a:pt x="41" y="22"/>
                            </a:lnTo>
                            <a:lnTo>
                              <a:pt x="54" y="22"/>
                            </a:lnTo>
                            <a:lnTo>
                              <a:pt x="63" y="31"/>
                            </a:lnTo>
                            <a:lnTo>
                              <a:pt x="58" y="40"/>
                            </a:lnTo>
                            <a:lnTo>
                              <a:pt x="54" y="35"/>
                            </a:lnTo>
                            <a:lnTo>
                              <a:pt x="54" y="49"/>
                            </a:lnTo>
                            <a:lnTo>
                              <a:pt x="67" y="58"/>
                            </a:lnTo>
                            <a:lnTo>
                              <a:pt x="85" y="89"/>
                            </a:lnTo>
                            <a:lnTo>
                              <a:pt x="94" y="93"/>
                            </a:lnTo>
                            <a:lnTo>
                              <a:pt x="99" y="120"/>
                            </a:lnTo>
                            <a:lnTo>
                              <a:pt x="90" y="116"/>
                            </a:lnTo>
                            <a:lnTo>
                              <a:pt x="85" y="116"/>
                            </a:lnTo>
                            <a:lnTo>
                              <a:pt x="81" y="125"/>
                            </a:lnTo>
                            <a:lnTo>
                              <a:pt x="72" y="125"/>
                            </a:lnTo>
                            <a:lnTo>
                              <a:pt x="67" y="120"/>
                            </a:lnTo>
                            <a:lnTo>
                              <a:pt x="76" y="102"/>
                            </a:lnTo>
                            <a:lnTo>
                              <a:pt x="63" y="89"/>
                            </a:lnTo>
                            <a:lnTo>
                              <a:pt x="54" y="62"/>
                            </a:lnTo>
                            <a:lnTo>
                              <a:pt x="45" y="62"/>
                            </a:lnTo>
                            <a:lnTo>
                              <a:pt x="36" y="71"/>
                            </a:lnTo>
                            <a:lnTo>
                              <a:pt x="27" y="67"/>
                            </a:lnTo>
                            <a:lnTo>
                              <a:pt x="14" y="80"/>
                            </a:lnTo>
                            <a:lnTo>
                              <a:pt x="14" y="44"/>
                            </a:lnTo>
                            <a:lnTo>
                              <a:pt x="5" y="40"/>
                            </a:lnTo>
                            <a:lnTo>
                              <a:pt x="9" y="35"/>
                            </a:lnTo>
                            <a:lnTo>
                              <a:pt x="0" y="31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6" name="Freeform 146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252" y="2124"/>
                        <a:ext cx="21" cy="25"/>
                      </a:xfrm>
                      <a:custGeom>
                        <a:avLst/>
                        <a:gdLst>
                          <a:gd name="T0" fmla="*/ 9 w 22"/>
                          <a:gd name="T1" fmla="*/ 0 h 27"/>
                          <a:gd name="T2" fmla="*/ 4 w 22"/>
                          <a:gd name="T3" fmla="*/ 6 h 27"/>
                          <a:gd name="T4" fmla="*/ 4 w 22"/>
                          <a:gd name="T5" fmla="*/ 6 h 27"/>
                          <a:gd name="T6" fmla="*/ 0 w 22"/>
                          <a:gd name="T7" fmla="*/ 6 h 27"/>
                          <a:gd name="T8" fmla="*/ 4 w 22"/>
                          <a:gd name="T9" fmla="*/ 6 h 27"/>
                          <a:gd name="T10" fmla="*/ 11 w 22"/>
                          <a:gd name="T11" fmla="*/ 6 h 27"/>
                          <a:gd name="T12" fmla="*/ 11 w 22"/>
                          <a:gd name="T13" fmla="*/ 6 h 27"/>
                          <a:gd name="T14" fmla="*/ 11 w 22"/>
                          <a:gd name="T15" fmla="*/ 0 h 27"/>
                          <a:gd name="T16" fmla="*/ 9 w 22"/>
                          <a:gd name="T17" fmla="*/ 0 h 27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22"/>
                          <a:gd name="T28" fmla="*/ 0 h 27"/>
                          <a:gd name="T29" fmla="*/ 22 w 22"/>
                          <a:gd name="T30" fmla="*/ 27 h 27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22" h="27">
                            <a:moveTo>
                              <a:pt x="9" y="0"/>
                            </a:moveTo>
                            <a:lnTo>
                              <a:pt x="4" y="13"/>
                            </a:lnTo>
                            <a:lnTo>
                              <a:pt x="4" y="18"/>
                            </a:lnTo>
                            <a:lnTo>
                              <a:pt x="0" y="27"/>
                            </a:lnTo>
                            <a:lnTo>
                              <a:pt x="4" y="27"/>
                            </a:lnTo>
                            <a:lnTo>
                              <a:pt x="13" y="22"/>
                            </a:lnTo>
                            <a:lnTo>
                              <a:pt x="22" y="9"/>
                            </a:lnTo>
                            <a:lnTo>
                              <a:pt x="18" y="0"/>
                            </a:lnTo>
                            <a:lnTo>
                              <a:pt x="9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7" name="Freeform 147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4133" y="2529"/>
                        <a:ext cx="262" cy="93"/>
                      </a:xfrm>
                      <a:custGeom>
                        <a:avLst/>
                        <a:gdLst>
                          <a:gd name="T0" fmla="*/ 0 w 277"/>
                          <a:gd name="T1" fmla="*/ 9 h 98"/>
                          <a:gd name="T2" fmla="*/ 5 w 277"/>
                          <a:gd name="T3" fmla="*/ 9 h 98"/>
                          <a:gd name="T4" fmla="*/ 5 w 277"/>
                          <a:gd name="T5" fmla="*/ 9 h 98"/>
                          <a:gd name="T6" fmla="*/ 9 w 277"/>
                          <a:gd name="T7" fmla="*/ 10 h 98"/>
                          <a:gd name="T8" fmla="*/ 9 w 277"/>
                          <a:gd name="T9" fmla="*/ 20 h 98"/>
                          <a:gd name="T10" fmla="*/ 10 w 277"/>
                          <a:gd name="T11" fmla="*/ 20 h 98"/>
                          <a:gd name="T12" fmla="*/ 9 w 277"/>
                          <a:gd name="T13" fmla="*/ 16 h 98"/>
                          <a:gd name="T14" fmla="*/ 9 w 277"/>
                          <a:gd name="T15" fmla="*/ 9 h 98"/>
                          <a:gd name="T16" fmla="*/ 9 w 277"/>
                          <a:gd name="T17" fmla="*/ 9 h 98"/>
                          <a:gd name="T18" fmla="*/ 9 w 277"/>
                          <a:gd name="T19" fmla="*/ 9 h 98"/>
                          <a:gd name="T20" fmla="*/ 0 w 277"/>
                          <a:gd name="T21" fmla="*/ 9 h 98"/>
                          <a:gd name="T22" fmla="*/ 38 w 277"/>
                          <a:gd name="T23" fmla="*/ 9 h 98"/>
                          <a:gd name="T24" fmla="*/ 40 w 277"/>
                          <a:gd name="T25" fmla="*/ 9 h 98"/>
                          <a:gd name="T26" fmla="*/ 42 w 277"/>
                          <a:gd name="T27" fmla="*/ 9 h 98"/>
                          <a:gd name="T28" fmla="*/ 42 w 277"/>
                          <a:gd name="T29" fmla="*/ 9 h 98"/>
                          <a:gd name="T30" fmla="*/ 46 w 277"/>
                          <a:gd name="T31" fmla="*/ 0 h 98"/>
                          <a:gd name="T32" fmla="*/ 44 w 277"/>
                          <a:gd name="T33" fmla="*/ 9 h 98"/>
                          <a:gd name="T34" fmla="*/ 47 w 277"/>
                          <a:gd name="T35" fmla="*/ 9 h 98"/>
                          <a:gd name="T36" fmla="*/ 48 w 277"/>
                          <a:gd name="T37" fmla="*/ 9 h 98"/>
                          <a:gd name="T38" fmla="*/ 49 w 277"/>
                          <a:gd name="T39" fmla="*/ 9 h 98"/>
                          <a:gd name="T40" fmla="*/ 52 w 277"/>
                          <a:gd name="T41" fmla="*/ 9 h 98"/>
                          <a:gd name="T42" fmla="*/ 48 w 277"/>
                          <a:gd name="T43" fmla="*/ 9 h 98"/>
                          <a:gd name="T44" fmla="*/ 51 w 277"/>
                          <a:gd name="T45" fmla="*/ 9 h 98"/>
                          <a:gd name="T46" fmla="*/ 44 w 277"/>
                          <a:gd name="T47" fmla="*/ 9 h 98"/>
                          <a:gd name="T48" fmla="*/ 40 w 277"/>
                          <a:gd name="T49" fmla="*/ 17 h 98"/>
                          <a:gd name="T50" fmla="*/ 36 w 277"/>
                          <a:gd name="T51" fmla="*/ 20 h 98"/>
                          <a:gd name="T52" fmla="*/ 30 w 277"/>
                          <a:gd name="T53" fmla="*/ 22 h 98"/>
                          <a:gd name="T54" fmla="*/ 25 w 277"/>
                          <a:gd name="T55" fmla="*/ 18 h 98"/>
                          <a:gd name="T56" fmla="*/ 26 w 277"/>
                          <a:gd name="T57" fmla="*/ 19 h 98"/>
                          <a:gd name="T58" fmla="*/ 30 w 277"/>
                          <a:gd name="T59" fmla="*/ 20 h 98"/>
                          <a:gd name="T60" fmla="*/ 30 w 277"/>
                          <a:gd name="T61" fmla="*/ 15 h 98"/>
                          <a:gd name="T62" fmla="*/ 38 w 277"/>
                          <a:gd name="T63" fmla="*/ 9 h 98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w 277"/>
                          <a:gd name="T97" fmla="*/ 0 h 98"/>
                          <a:gd name="T98" fmla="*/ 277 w 277"/>
                          <a:gd name="T99" fmla="*/ 98 h 98"/>
                        </a:gdLst>
                        <a:ahLst/>
                        <a:cxnLst>
                          <a:cxn ang="T64">
                            <a:pos x="T0" y="T1"/>
                          </a:cxn>
                          <a:cxn ang="T65">
                            <a:pos x="T2" y="T3"/>
                          </a:cxn>
                          <a:cxn ang="T66">
                            <a:pos x="T4" y="T5"/>
                          </a:cxn>
                          <a:cxn ang="T67">
                            <a:pos x="T6" y="T7"/>
                          </a:cxn>
                          <a:cxn ang="T68">
                            <a:pos x="T8" y="T9"/>
                          </a:cxn>
                          <a:cxn ang="T69">
                            <a:pos x="T10" y="T11"/>
                          </a:cxn>
                          <a:cxn ang="T70">
                            <a:pos x="T12" y="T13"/>
                          </a:cxn>
                          <a:cxn ang="T71">
                            <a:pos x="T14" y="T15"/>
                          </a:cxn>
                          <a:cxn ang="T72">
                            <a:pos x="T16" y="T17"/>
                          </a:cxn>
                          <a:cxn ang="T73">
                            <a:pos x="T18" y="T19"/>
                          </a:cxn>
                          <a:cxn ang="T74">
                            <a:pos x="T20" y="T21"/>
                          </a:cxn>
                          <a:cxn ang="T75">
                            <a:pos x="T22" y="T23"/>
                          </a:cxn>
                          <a:cxn ang="T76">
                            <a:pos x="T24" y="T25"/>
                          </a:cxn>
                          <a:cxn ang="T77">
                            <a:pos x="T26" y="T27"/>
                          </a:cxn>
                          <a:cxn ang="T78">
                            <a:pos x="T28" y="T29"/>
                          </a:cxn>
                          <a:cxn ang="T79">
                            <a:pos x="T30" y="T31"/>
                          </a:cxn>
                          <a:cxn ang="T80">
                            <a:pos x="T32" y="T33"/>
                          </a:cxn>
                          <a:cxn ang="T81">
                            <a:pos x="T34" y="T35"/>
                          </a:cxn>
                          <a:cxn ang="T82">
                            <a:pos x="T36" y="T37"/>
                          </a:cxn>
                          <a:cxn ang="T83">
                            <a:pos x="T38" y="T39"/>
                          </a:cxn>
                          <a:cxn ang="T84">
                            <a:pos x="T40" y="T41"/>
                          </a:cxn>
                          <a:cxn ang="T85">
                            <a:pos x="T42" y="T43"/>
                          </a:cxn>
                          <a:cxn ang="T86">
                            <a:pos x="T44" y="T45"/>
                          </a:cxn>
                          <a:cxn ang="T87">
                            <a:pos x="T46" y="T47"/>
                          </a:cxn>
                          <a:cxn ang="T88">
                            <a:pos x="T48" y="T49"/>
                          </a:cxn>
                          <a:cxn ang="T89">
                            <a:pos x="T50" y="T51"/>
                          </a:cxn>
                          <a:cxn ang="T90">
                            <a:pos x="T52" y="T53"/>
                          </a:cxn>
                          <a:cxn ang="T91">
                            <a:pos x="T54" y="T55"/>
                          </a:cxn>
                          <a:cxn ang="T92">
                            <a:pos x="T56" y="T57"/>
                          </a:cxn>
                          <a:cxn ang="T93">
                            <a:pos x="T58" y="T59"/>
                          </a:cxn>
                          <a:cxn ang="T94">
                            <a:pos x="T60" y="T61"/>
                          </a:cxn>
                          <a:cxn ang="T95">
                            <a:pos x="T62" y="T63"/>
                          </a:cxn>
                        </a:cxnLst>
                        <a:rect l="T96" t="T97" r="T98" b="T99"/>
                        <a:pathLst>
                          <a:path w="277" h="98">
                            <a:moveTo>
                              <a:pt x="0" y="18"/>
                            </a:moveTo>
                            <a:lnTo>
                              <a:pt x="0" y="18"/>
                            </a:lnTo>
                            <a:lnTo>
                              <a:pt x="0" y="36"/>
                            </a:lnTo>
                            <a:lnTo>
                              <a:pt x="5" y="36"/>
                            </a:lnTo>
                            <a:lnTo>
                              <a:pt x="5" y="40"/>
                            </a:lnTo>
                            <a:lnTo>
                              <a:pt x="5" y="49"/>
                            </a:lnTo>
                            <a:lnTo>
                              <a:pt x="9" y="49"/>
                            </a:lnTo>
                            <a:lnTo>
                              <a:pt x="14" y="54"/>
                            </a:lnTo>
                            <a:lnTo>
                              <a:pt x="18" y="72"/>
                            </a:lnTo>
                            <a:lnTo>
                              <a:pt x="50" y="89"/>
                            </a:lnTo>
                            <a:lnTo>
                              <a:pt x="54" y="85"/>
                            </a:lnTo>
                            <a:lnTo>
                              <a:pt x="58" y="89"/>
                            </a:lnTo>
                            <a:lnTo>
                              <a:pt x="63" y="89"/>
                            </a:lnTo>
                            <a:lnTo>
                              <a:pt x="54" y="72"/>
                            </a:lnTo>
                            <a:lnTo>
                              <a:pt x="45" y="67"/>
                            </a:lnTo>
                            <a:lnTo>
                              <a:pt x="45" y="40"/>
                            </a:lnTo>
                            <a:lnTo>
                              <a:pt x="32" y="18"/>
                            </a:lnTo>
                            <a:lnTo>
                              <a:pt x="27" y="18"/>
                            </a:lnTo>
                            <a:lnTo>
                              <a:pt x="23" y="27"/>
                            </a:lnTo>
                            <a:lnTo>
                              <a:pt x="14" y="27"/>
                            </a:lnTo>
                            <a:lnTo>
                              <a:pt x="5" y="13"/>
                            </a:lnTo>
                            <a:lnTo>
                              <a:pt x="0" y="18"/>
                            </a:lnTo>
                            <a:close/>
                            <a:moveTo>
                              <a:pt x="197" y="40"/>
                            </a:moveTo>
                            <a:lnTo>
                              <a:pt x="201" y="45"/>
                            </a:lnTo>
                            <a:lnTo>
                              <a:pt x="210" y="49"/>
                            </a:lnTo>
                            <a:lnTo>
                              <a:pt x="210" y="40"/>
                            </a:lnTo>
                            <a:lnTo>
                              <a:pt x="215" y="45"/>
                            </a:lnTo>
                            <a:lnTo>
                              <a:pt x="219" y="31"/>
                            </a:lnTo>
                            <a:lnTo>
                              <a:pt x="215" y="27"/>
                            </a:lnTo>
                            <a:lnTo>
                              <a:pt x="224" y="22"/>
                            </a:lnTo>
                            <a:lnTo>
                              <a:pt x="242" y="0"/>
                            </a:lnTo>
                            <a:lnTo>
                              <a:pt x="246" y="0"/>
                            </a:lnTo>
                            <a:lnTo>
                              <a:pt x="242" y="4"/>
                            </a:lnTo>
                            <a:lnTo>
                              <a:pt x="237" y="13"/>
                            </a:lnTo>
                            <a:lnTo>
                              <a:pt x="242" y="9"/>
                            </a:lnTo>
                            <a:lnTo>
                              <a:pt x="251" y="18"/>
                            </a:lnTo>
                            <a:lnTo>
                              <a:pt x="246" y="22"/>
                            </a:lnTo>
                            <a:lnTo>
                              <a:pt x="255" y="22"/>
                            </a:lnTo>
                            <a:lnTo>
                              <a:pt x="255" y="27"/>
                            </a:lnTo>
                            <a:lnTo>
                              <a:pt x="259" y="22"/>
                            </a:lnTo>
                            <a:lnTo>
                              <a:pt x="277" y="31"/>
                            </a:lnTo>
                            <a:lnTo>
                              <a:pt x="273" y="36"/>
                            </a:lnTo>
                            <a:lnTo>
                              <a:pt x="259" y="31"/>
                            </a:lnTo>
                            <a:lnTo>
                              <a:pt x="255" y="36"/>
                            </a:lnTo>
                            <a:lnTo>
                              <a:pt x="268" y="40"/>
                            </a:lnTo>
                            <a:lnTo>
                              <a:pt x="268" y="45"/>
                            </a:lnTo>
                            <a:lnTo>
                              <a:pt x="251" y="45"/>
                            </a:lnTo>
                            <a:lnTo>
                              <a:pt x="233" y="45"/>
                            </a:lnTo>
                            <a:lnTo>
                              <a:pt x="224" y="49"/>
                            </a:lnTo>
                            <a:lnTo>
                              <a:pt x="210" y="76"/>
                            </a:lnTo>
                            <a:lnTo>
                              <a:pt x="206" y="89"/>
                            </a:lnTo>
                            <a:lnTo>
                              <a:pt x="184" y="89"/>
                            </a:lnTo>
                            <a:lnTo>
                              <a:pt x="175" y="98"/>
                            </a:lnTo>
                            <a:lnTo>
                              <a:pt x="157" y="98"/>
                            </a:lnTo>
                            <a:lnTo>
                              <a:pt x="139" y="85"/>
                            </a:lnTo>
                            <a:lnTo>
                              <a:pt x="134" y="80"/>
                            </a:lnTo>
                            <a:lnTo>
                              <a:pt x="139" y="80"/>
                            </a:lnTo>
                            <a:lnTo>
                              <a:pt x="143" y="85"/>
                            </a:lnTo>
                            <a:lnTo>
                              <a:pt x="148" y="85"/>
                            </a:lnTo>
                            <a:lnTo>
                              <a:pt x="157" y="89"/>
                            </a:lnTo>
                            <a:lnTo>
                              <a:pt x="161" y="76"/>
                            </a:lnTo>
                            <a:lnTo>
                              <a:pt x="161" y="67"/>
                            </a:lnTo>
                            <a:lnTo>
                              <a:pt x="188" y="63"/>
                            </a:lnTo>
                            <a:lnTo>
                              <a:pt x="197" y="49"/>
                            </a:lnTo>
                            <a:lnTo>
                              <a:pt x="197" y="4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8" name="Freeform 148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3779" y="2546"/>
                        <a:ext cx="9" cy="38"/>
                      </a:xfrm>
                      <a:custGeom>
                        <a:avLst/>
                        <a:gdLst>
                          <a:gd name="T0" fmla="*/ 0 w 9"/>
                          <a:gd name="T1" fmla="*/ 0 h 40"/>
                          <a:gd name="T2" fmla="*/ 0 w 9"/>
                          <a:gd name="T3" fmla="*/ 0 h 40"/>
                          <a:gd name="T4" fmla="*/ 0 w 9"/>
                          <a:gd name="T5" fmla="*/ 0 h 40"/>
                          <a:gd name="T6" fmla="*/ 0 w 9"/>
                          <a:gd name="T7" fmla="*/ 0 h 40"/>
                          <a:gd name="T8" fmla="*/ 0 w 9"/>
                          <a:gd name="T9" fmla="*/ 10 h 40"/>
                          <a:gd name="T10" fmla="*/ 0 w 9"/>
                          <a:gd name="T11" fmla="*/ 10 h 40"/>
                          <a:gd name="T12" fmla="*/ 0 w 9"/>
                          <a:gd name="T13" fmla="*/ 10 h 40"/>
                          <a:gd name="T14" fmla="*/ 0 w 9"/>
                          <a:gd name="T15" fmla="*/ 10 h 40"/>
                          <a:gd name="T16" fmla="*/ 0 w 9"/>
                          <a:gd name="T17" fmla="*/ 10 h 40"/>
                          <a:gd name="T18" fmla="*/ 0 w 9"/>
                          <a:gd name="T19" fmla="*/ 10 h 40"/>
                          <a:gd name="T20" fmla="*/ 0 w 9"/>
                          <a:gd name="T21" fmla="*/ 10 h 40"/>
                          <a:gd name="T22" fmla="*/ 0 w 9"/>
                          <a:gd name="T23" fmla="*/ 10 h 40"/>
                          <a:gd name="T24" fmla="*/ 5 w 9"/>
                          <a:gd name="T25" fmla="*/ 10 h 40"/>
                          <a:gd name="T26" fmla="*/ 0 w 9"/>
                          <a:gd name="T27" fmla="*/ 10 h 40"/>
                          <a:gd name="T28" fmla="*/ 0 w 9"/>
                          <a:gd name="T29" fmla="*/ 10 h 40"/>
                          <a:gd name="T30" fmla="*/ 5 w 9"/>
                          <a:gd name="T31" fmla="*/ 10 h 40"/>
                          <a:gd name="T32" fmla="*/ 9 w 9"/>
                          <a:gd name="T33" fmla="*/ 10 h 40"/>
                          <a:gd name="T34" fmla="*/ 9 w 9"/>
                          <a:gd name="T35" fmla="*/ 10 h 40"/>
                          <a:gd name="T36" fmla="*/ 9 w 9"/>
                          <a:gd name="T37" fmla="*/ 10 h 40"/>
                          <a:gd name="T38" fmla="*/ 9 w 9"/>
                          <a:gd name="T39" fmla="*/ 10 h 40"/>
                          <a:gd name="T40" fmla="*/ 9 w 9"/>
                          <a:gd name="T41" fmla="*/ 10 h 40"/>
                          <a:gd name="T42" fmla="*/ 9 w 9"/>
                          <a:gd name="T43" fmla="*/ 10 h 40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w 9"/>
                          <a:gd name="T67" fmla="*/ 0 h 40"/>
                          <a:gd name="T68" fmla="*/ 9 w 9"/>
                          <a:gd name="T69" fmla="*/ 40 h 40"/>
                        </a:gdLst>
                        <a:ahLst/>
                        <a:cxnLst>
                          <a:cxn ang="T44">
                            <a:pos x="T0" y="T1"/>
                          </a:cxn>
                          <a:cxn ang="T45">
                            <a:pos x="T2" y="T3"/>
                          </a:cxn>
                          <a:cxn ang="T46">
                            <a:pos x="T4" y="T5"/>
                          </a:cxn>
                          <a:cxn ang="T47">
                            <a:pos x="T6" y="T7"/>
                          </a:cxn>
                          <a:cxn ang="T48">
                            <a:pos x="T8" y="T9"/>
                          </a:cxn>
                          <a:cxn ang="T49">
                            <a:pos x="T10" y="T11"/>
                          </a:cxn>
                          <a:cxn ang="T50">
                            <a:pos x="T12" y="T13"/>
                          </a:cxn>
                          <a:cxn ang="T51">
                            <a:pos x="T14" y="T15"/>
                          </a:cxn>
                          <a:cxn ang="T52">
                            <a:pos x="T16" y="T17"/>
                          </a:cxn>
                          <a:cxn ang="T53">
                            <a:pos x="T18" y="T19"/>
                          </a:cxn>
                          <a:cxn ang="T54">
                            <a:pos x="T20" y="T21"/>
                          </a:cxn>
                          <a:cxn ang="T55">
                            <a:pos x="T22" y="T23"/>
                          </a:cxn>
                          <a:cxn ang="T56">
                            <a:pos x="T24" y="T25"/>
                          </a:cxn>
                          <a:cxn ang="T57">
                            <a:pos x="T26" y="T27"/>
                          </a:cxn>
                          <a:cxn ang="T58">
                            <a:pos x="T28" y="T29"/>
                          </a:cxn>
                          <a:cxn ang="T59">
                            <a:pos x="T30" y="T31"/>
                          </a:cxn>
                          <a:cxn ang="T60">
                            <a:pos x="T32" y="T33"/>
                          </a:cxn>
                          <a:cxn ang="T61">
                            <a:pos x="T34" y="T35"/>
                          </a:cxn>
                          <a:cxn ang="T62">
                            <a:pos x="T36" y="T37"/>
                          </a:cxn>
                          <a:cxn ang="T63">
                            <a:pos x="T38" y="T39"/>
                          </a:cxn>
                          <a:cxn ang="T64">
                            <a:pos x="T40" y="T41"/>
                          </a:cxn>
                          <a:cxn ang="T65">
                            <a:pos x="T42" y="T43"/>
                          </a:cxn>
                        </a:cxnLst>
                        <a:rect l="T66" t="T67" r="T68" b="T69"/>
                        <a:pathLst>
                          <a:path w="9" h="40"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close/>
                            <a:moveTo>
                              <a:pt x="0" y="18"/>
                            </a:moveTo>
                            <a:lnTo>
                              <a:pt x="0" y="18"/>
                            </a:lnTo>
                            <a:close/>
                            <a:moveTo>
                              <a:pt x="0" y="36"/>
                            </a:moveTo>
                            <a:lnTo>
                              <a:pt x="0" y="40"/>
                            </a:lnTo>
                            <a:lnTo>
                              <a:pt x="0" y="36"/>
                            </a:lnTo>
                            <a:close/>
                            <a:moveTo>
                              <a:pt x="5" y="27"/>
                            </a:moveTo>
                            <a:lnTo>
                              <a:pt x="0" y="27"/>
                            </a:lnTo>
                            <a:lnTo>
                              <a:pt x="5" y="27"/>
                            </a:lnTo>
                            <a:close/>
                            <a:moveTo>
                              <a:pt x="9" y="40"/>
                            </a:moveTo>
                            <a:lnTo>
                              <a:pt x="9" y="4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39" name="Freeform 149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968" y="1790"/>
                        <a:ext cx="431" cy="211"/>
                      </a:xfrm>
                      <a:custGeom>
                        <a:avLst/>
                        <a:gdLst>
                          <a:gd name="T0" fmla="*/ 75 w 456"/>
                          <a:gd name="T1" fmla="*/ 9 h 223"/>
                          <a:gd name="T2" fmla="*/ 74 w 456"/>
                          <a:gd name="T3" fmla="*/ 9 h 223"/>
                          <a:gd name="T4" fmla="*/ 73 w 456"/>
                          <a:gd name="T5" fmla="*/ 9 h 223"/>
                          <a:gd name="T6" fmla="*/ 70 w 456"/>
                          <a:gd name="T7" fmla="*/ 9 h 223"/>
                          <a:gd name="T8" fmla="*/ 68 w 456"/>
                          <a:gd name="T9" fmla="*/ 9 h 223"/>
                          <a:gd name="T10" fmla="*/ 66 w 456"/>
                          <a:gd name="T11" fmla="*/ 10 h 223"/>
                          <a:gd name="T12" fmla="*/ 59 w 456"/>
                          <a:gd name="T13" fmla="*/ 13 h 223"/>
                          <a:gd name="T14" fmla="*/ 54 w 456"/>
                          <a:gd name="T15" fmla="*/ 12 h 223"/>
                          <a:gd name="T16" fmla="*/ 45 w 456"/>
                          <a:gd name="T17" fmla="*/ 9 h 223"/>
                          <a:gd name="T18" fmla="*/ 42 w 456"/>
                          <a:gd name="T19" fmla="*/ 9 h 223"/>
                          <a:gd name="T20" fmla="*/ 39 w 456"/>
                          <a:gd name="T21" fmla="*/ 9 h 223"/>
                          <a:gd name="T22" fmla="*/ 38 w 456"/>
                          <a:gd name="T23" fmla="*/ 9 h 223"/>
                          <a:gd name="T24" fmla="*/ 29 w 456"/>
                          <a:gd name="T25" fmla="*/ 0 h 223"/>
                          <a:gd name="T26" fmla="*/ 26 w 456"/>
                          <a:gd name="T27" fmla="*/ 9 h 223"/>
                          <a:gd name="T28" fmla="*/ 27 w 456"/>
                          <a:gd name="T29" fmla="*/ 9 h 223"/>
                          <a:gd name="T30" fmla="*/ 26 w 456"/>
                          <a:gd name="T31" fmla="*/ 9 h 223"/>
                          <a:gd name="T32" fmla="*/ 20 w 456"/>
                          <a:gd name="T33" fmla="*/ 9 h 223"/>
                          <a:gd name="T34" fmla="*/ 17 w 456"/>
                          <a:gd name="T35" fmla="*/ 9 h 223"/>
                          <a:gd name="T36" fmla="*/ 14 w 456"/>
                          <a:gd name="T37" fmla="*/ 9 h 223"/>
                          <a:gd name="T38" fmla="*/ 13 w 456"/>
                          <a:gd name="T39" fmla="*/ 9 h 223"/>
                          <a:gd name="T40" fmla="*/ 9 w 456"/>
                          <a:gd name="T41" fmla="*/ 9 h 223"/>
                          <a:gd name="T42" fmla="*/ 9 w 456"/>
                          <a:gd name="T43" fmla="*/ 10 h 223"/>
                          <a:gd name="T44" fmla="*/ 5 w 456"/>
                          <a:gd name="T45" fmla="*/ 10 h 223"/>
                          <a:gd name="T46" fmla="*/ 0 w 456"/>
                          <a:gd name="T47" fmla="*/ 13 h 223"/>
                          <a:gd name="T48" fmla="*/ 5 w 456"/>
                          <a:gd name="T49" fmla="*/ 16 h 223"/>
                          <a:gd name="T50" fmla="*/ 9 w 456"/>
                          <a:gd name="T51" fmla="*/ 18 h 223"/>
                          <a:gd name="T52" fmla="*/ 9 w 456"/>
                          <a:gd name="T53" fmla="*/ 21 h 223"/>
                          <a:gd name="T54" fmla="*/ 9 w 456"/>
                          <a:gd name="T55" fmla="*/ 28 h 223"/>
                          <a:gd name="T56" fmla="*/ 16 w 456"/>
                          <a:gd name="T57" fmla="*/ 28 h 223"/>
                          <a:gd name="T58" fmla="*/ 20 w 456"/>
                          <a:gd name="T59" fmla="*/ 32 h 223"/>
                          <a:gd name="T60" fmla="*/ 23 w 456"/>
                          <a:gd name="T61" fmla="*/ 38 h 223"/>
                          <a:gd name="T62" fmla="*/ 38 w 456"/>
                          <a:gd name="T63" fmla="*/ 38 h 223"/>
                          <a:gd name="T64" fmla="*/ 39 w 456"/>
                          <a:gd name="T65" fmla="*/ 40 h 223"/>
                          <a:gd name="T66" fmla="*/ 45 w 456"/>
                          <a:gd name="T67" fmla="*/ 42 h 223"/>
                          <a:gd name="T68" fmla="*/ 48 w 456"/>
                          <a:gd name="T69" fmla="*/ 40 h 223"/>
                          <a:gd name="T70" fmla="*/ 54 w 456"/>
                          <a:gd name="T71" fmla="*/ 38 h 223"/>
                          <a:gd name="T72" fmla="*/ 59 w 456"/>
                          <a:gd name="T73" fmla="*/ 38 h 223"/>
                          <a:gd name="T74" fmla="*/ 60 w 456"/>
                          <a:gd name="T75" fmla="*/ 36 h 223"/>
                          <a:gd name="T76" fmla="*/ 63 w 456"/>
                          <a:gd name="T77" fmla="*/ 34 h 223"/>
                          <a:gd name="T78" fmla="*/ 60 w 456"/>
                          <a:gd name="T79" fmla="*/ 30 h 223"/>
                          <a:gd name="T80" fmla="*/ 62 w 456"/>
                          <a:gd name="T81" fmla="*/ 28 h 223"/>
                          <a:gd name="T82" fmla="*/ 64 w 456"/>
                          <a:gd name="T83" fmla="*/ 28 h 223"/>
                          <a:gd name="T84" fmla="*/ 66 w 456"/>
                          <a:gd name="T85" fmla="*/ 30 h 223"/>
                          <a:gd name="T86" fmla="*/ 68 w 456"/>
                          <a:gd name="T87" fmla="*/ 30 h 223"/>
                          <a:gd name="T88" fmla="*/ 70 w 456"/>
                          <a:gd name="T89" fmla="*/ 26 h 223"/>
                          <a:gd name="T90" fmla="*/ 73 w 456"/>
                          <a:gd name="T91" fmla="*/ 26 h 223"/>
                          <a:gd name="T92" fmla="*/ 77 w 456"/>
                          <a:gd name="T93" fmla="*/ 23 h 223"/>
                          <a:gd name="T94" fmla="*/ 80 w 456"/>
                          <a:gd name="T95" fmla="*/ 24 h 223"/>
                          <a:gd name="T96" fmla="*/ 83 w 456"/>
                          <a:gd name="T97" fmla="*/ 23 h 223"/>
                          <a:gd name="T98" fmla="*/ 84 w 456"/>
                          <a:gd name="T99" fmla="*/ 21 h 223"/>
                          <a:gd name="T100" fmla="*/ 82 w 456"/>
                          <a:gd name="T101" fmla="*/ 21 h 223"/>
                          <a:gd name="T102" fmla="*/ 80 w 456"/>
                          <a:gd name="T103" fmla="*/ 18 h 223"/>
                          <a:gd name="T104" fmla="*/ 77 w 456"/>
                          <a:gd name="T105" fmla="*/ 20 h 223"/>
                          <a:gd name="T106" fmla="*/ 75 w 456"/>
                          <a:gd name="T107" fmla="*/ 19 h 223"/>
                          <a:gd name="T108" fmla="*/ 73 w 456"/>
                          <a:gd name="T109" fmla="*/ 20 h 223"/>
                          <a:gd name="T110" fmla="*/ 72 w 456"/>
                          <a:gd name="T111" fmla="*/ 18 h 223"/>
                          <a:gd name="T112" fmla="*/ 74 w 456"/>
                          <a:gd name="T113" fmla="*/ 14 h 223"/>
                          <a:gd name="T114" fmla="*/ 75 w 456"/>
                          <a:gd name="T115" fmla="*/ 9 h 223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w 456"/>
                          <a:gd name="T175" fmla="*/ 0 h 223"/>
                          <a:gd name="T176" fmla="*/ 456 w 456"/>
                          <a:gd name="T177" fmla="*/ 223 h 223"/>
                        </a:gdLst>
                        <a:ahLst/>
                        <a:cxnLst>
                          <a:cxn ang="T116">
                            <a:pos x="T0" y="T1"/>
                          </a:cxn>
                          <a:cxn ang="T117">
                            <a:pos x="T2" y="T3"/>
                          </a:cxn>
                          <a:cxn ang="T118">
                            <a:pos x="T4" y="T5"/>
                          </a:cxn>
                          <a:cxn ang="T119">
                            <a:pos x="T6" y="T7"/>
                          </a:cxn>
                          <a:cxn ang="T120">
                            <a:pos x="T8" y="T9"/>
                          </a:cxn>
                          <a:cxn ang="T121">
                            <a:pos x="T10" y="T11"/>
                          </a:cxn>
                          <a:cxn ang="T122">
                            <a:pos x="T12" y="T13"/>
                          </a:cxn>
                          <a:cxn ang="T123">
                            <a:pos x="T14" y="T15"/>
                          </a:cxn>
                          <a:cxn ang="T124">
                            <a:pos x="T16" y="T17"/>
                          </a:cxn>
                          <a:cxn ang="T125">
                            <a:pos x="T18" y="T19"/>
                          </a:cxn>
                          <a:cxn ang="T126">
                            <a:pos x="T20" y="T21"/>
                          </a:cxn>
                          <a:cxn ang="T127">
                            <a:pos x="T22" y="T23"/>
                          </a:cxn>
                          <a:cxn ang="T128">
                            <a:pos x="T24" y="T25"/>
                          </a:cxn>
                          <a:cxn ang="T129">
                            <a:pos x="T26" y="T27"/>
                          </a:cxn>
                          <a:cxn ang="T130">
                            <a:pos x="T28" y="T29"/>
                          </a:cxn>
                          <a:cxn ang="T131">
                            <a:pos x="T30" y="T31"/>
                          </a:cxn>
                          <a:cxn ang="T132">
                            <a:pos x="T32" y="T33"/>
                          </a:cxn>
                          <a:cxn ang="T133">
                            <a:pos x="T34" y="T35"/>
                          </a:cxn>
                          <a:cxn ang="T134">
                            <a:pos x="T36" y="T37"/>
                          </a:cxn>
                          <a:cxn ang="T135">
                            <a:pos x="T38" y="T39"/>
                          </a:cxn>
                          <a:cxn ang="T136">
                            <a:pos x="T40" y="T41"/>
                          </a:cxn>
                          <a:cxn ang="T137">
                            <a:pos x="T42" y="T43"/>
                          </a:cxn>
                          <a:cxn ang="T138">
                            <a:pos x="T44" y="T45"/>
                          </a:cxn>
                          <a:cxn ang="T139">
                            <a:pos x="T46" y="T47"/>
                          </a:cxn>
                          <a:cxn ang="T140">
                            <a:pos x="T48" y="T49"/>
                          </a:cxn>
                          <a:cxn ang="T141">
                            <a:pos x="T50" y="T51"/>
                          </a:cxn>
                          <a:cxn ang="T142">
                            <a:pos x="T52" y="T53"/>
                          </a:cxn>
                          <a:cxn ang="T143">
                            <a:pos x="T54" y="T55"/>
                          </a:cxn>
                          <a:cxn ang="T144">
                            <a:pos x="T56" y="T57"/>
                          </a:cxn>
                          <a:cxn ang="T145">
                            <a:pos x="T58" y="T59"/>
                          </a:cxn>
                          <a:cxn ang="T146">
                            <a:pos x="T60" y="T61"/>
                          </a:cxn>
                          <a:cxn ang="T147">
                            <a:pos x="T62" y="T63"/>
                          </a:cxn>
                          <a:cxn ang="T148">
                            <a:pos x="T64" y="T65"/>
                          </a:cxn>
                          <a:cxn ang="T149">
                            <a:pos x="T66" y="T67"/>
                          </a:cxn>
                          <a:cxn ang="T150">
                            <a:pos x="T68" y="T69"/>
                          </a:cxn>
                          <a:cxn ang="T151">
                            <a:pos x="T70" y="T71"/>
                          </a:cxn>
                          <a:cxn ang="T152">
                            <a:pos x="T72" y="T73"/>
                          </a:cxn>
                          <a:cxn ang="T153">
                            <a:pos x="T74" y="T75"/>
                          </a:cxn>
                          <a:cxn ang="T154">
                            <a:pos x="T76" y="T77"/>
                          </a:cxn>
                          <a:cxn ang="T155">
                            <a:pos x="T78" y="T79"/>
                          </a:cxn>
                          <a:cxn ang="T156">
                            <a:pos x="T80" y="T81"/>
                          </a:cxn>
                          <a:cxn ang="T157">
                            <a:pos x="T82" y="T83"/>
                          </a:cxn>
                          <a:cxn ang="T158">
                            <a:pos x="T84" y="T85"/>
                          </a:cxn>
                          <a:cxn ang="T159">
                            <a:pos x="T86" y="T87"/>
                          </a:cxn>
                          <a:cxn ang="T160">
                            <a:pos x="T88" y="T89"/>
                          </a:cxn>
                          <a:cxn ang="T161">
                            <a:pos x="T90" y="T91"/>
                          </a:cxn>
                          <a:cxn ang="T162">
                            <a:pos x="T92" y="T93"/>
                          </a:cxn>
                          <a:cxn ang="T163">
                            <a:pos x="T94" y="T95"/>
                          </a:cxn>
                          <a:cxn ang="T164">
                            <a:pos x="T96" y="T97"/>
                          </a:cxn>
                          <a:cxn ang="T165">
                            <a:pos x="T98" y="T99"/>
                          </a:cxn>
                          <a:cxn ang="T166">
                            <a:pos x="T100" y="T101"/>
                          </a:cxn>
                          <a:cxn ang="T167">
                            <a:pos x="T102" y="T103"/>
                          </a:cxn>
                          <a:cxn ang="T168">
                            <a:pos x="T104" y="T105"/>
                          </a:cxn>
                          <a:cxn ang="T169">
                            <a:pos x="T106" y="T107"/>
                          </a:cxn>
                          <a:cxn ang="T170">
                            <a:pos x="T108" y="T109"/>
                          </a:cxn>
                          <a:cxn ang="T171">
                            <a:pos x="T110" y="T111"/>
                          </a:cxn>
                          <a:cxn ang="T172">
                            <a:pos x="T112" y="T113"/>
                          </a:cxn>
                          <a:cxn ang="T173">
                            <a:pos x="T114" y="T115"/>
                          </a:cxn>
                        </a:cxnLst>
                        <a:rect l="T174" t="T175" r="T176" b="T177"/>
                        <a:pathLst>
                          <a:path w="456" h="223">
                            <a:moveTo>
                              <a:pt x="407" y="54"/>
                            </a:moveTo>
                            <a:lnTo>
                              <a:pt x="402" y="49"/>
                            </a:lnTo>
                            <a:lnTo>
                              <a:pt x="393" y="49"/>
                            </a:lnTo>
                            <a:lnTo>
                              <a:pt x="375" y="40"/>
                            </a:lnTo>
                            <a:lnTo>
                              <a:pt x="366" y="45"/>
                            </a:lnTo>
                            <a:lnTo>
                              <a:pt x="353" y="58"/>
                            </a:lnTo>
                            <a:lnTo>
                              <a:pt x="322" y="67"/>
                            </a:lnTo>
                            <a:lnTo>
                              <a:pt x="291" y="63"/>
                            </a:lnTo>
                            <a:lnTo>
                              <a:pt x="250" y="40"/>
                            </a:lnTo>
                            <a:lnTo>
                              <a:pt x="228" y="45"/>
                            </a:lnTo>
                            <a:lnTo>
                              <a:pt x="206" y="40"/>
                            </a:lnTo>
                            <a:lnTo>
                              <a:pt x="201" y="13"/>
                            </a:lnTo>
                            <a:lnTo>
                              <a:pt x="157" y="0"/>
                            </a:lnTo>
                            <a:lnTo>
                              <a:pt x="143" y="22"/>
                            </a:lnTo>
                            <a:lnTo>
                              <a:pt x="148" y="31"/>
                            </a:lnTo>
                            <a:lnTo>
                              <a:pt x="143" y="54"/>
                            </a:lnTo>
                            <a:lnTo>
                              <a:pt x="103" y="54"/>
                            </a:lnTo>
                            <a:lnTo>
                              <a:pt x="85" y="36"/>
                            </a:lnTo>
                            <a:lnTo>
                              <a:pt x="72" y="36"/>
                            </a:lnTo>
                            <a:lnTo>
                              <a:pt x="67" y="31"/>
                            </a:lnTo>
                            <a:lnTo>
                              <a:pt x="40" y="40"/>
                            </a:lnTo>
                            <a:lnTo>
                              <a:pt x="14" y="58"/>
                            </a:lnTo>
                            <a:lnTo>
                              <a:pt x="5" y="58"/>
                            </a:lnTo>
                            <a:lnTo>
                              <a:pt x="0" y="67"/>
                            </a:lnTo>
                            <a:lnTo>
                              <a:pt x="5" y="80"/>
                            </a:lnTo>
                            <a:lnTo>
                              <a:pt x="23" y="89"/>
                            </a:lnTo>
                            <a:lnTo>
                              <a:pt x="45" y="107"/>
                            </a:lnTo>
                            <a:lnTo>
                              <a:pt x="45" y="147"/>
                            </a:lnTo>
                            <a:lnTo>
                              <a:pt x="81" y="152"/>
                            </a:lnTo>
                            <a:lnTo>
                              <a:pt x="103" y="165"/>
                            </a:lnTo>
                            <a:lnTo>
                              <a:pt x="121" y="197"/>
                            </a:lnTo>
                            <a:lnTo>
                              <a:pt x="201" y="201"/>
                            </a:lnTo>
                            <a:lnTo>
                              <a:pt x="210" y="210"/>
                            </a:lnTo>
                            <a:lnTo>
                              <a:pt x="250" y="223"/>
                            </a:lnTo>
                            <a:lnTo>
                              <a:pt x="259" y="210"/>
                            </a:lnTo>
                            <a:lnTo>
                              <a:pt x="291" y="201"/>
                            </a:lnTo>
                            <a:lnTo>
                              <a:pt x="317" y="201"/>
                            </a:lnTo>
                            <a:lnTo>
                              <a:pt x="326" y="188"/>
                            </a:lnTo>
                            <a:lnTo>
                              <a:pt x="344" y="179"/>
                            </a:lnTo>
                            <a:lnTo>
                              <a:pt x="331" y="161"/>
                            </a:lnTo>
                            <a:lnTo>
                              <a:pt x="340" y="147"/>
                            </a:lnTo>
                            <a:lnTo>
                              <a:pt x="349" y="147"/>
                            </a:lnTo>
                            <a:lnTo>
                              <a:pt x="358" y="156"/>
                            </a:lnTo>
                            <a:lnTo>
                              <a:pt x="366" y="156"/>
                            </a:lnTo>
                            <a:lnTo>
                              <a:pt x="380" y="139"/>
                            </a:lnTo>
                            <a:lnTo>
                              <a:pt x="393" y="143"/>
                            </a:lnTo>
                            <a:lnTo>
                              <a:pt x="416" y="121"/>
                            </a:lnTo>
                            <a:lnTo>
                              <a:pt x="438" y="125"/>
                            </a:lnTo>
                            <a:lnTo>
                              <a:pt x="451" y="116"/>
                            </a:lnTo>
                            <a:lnTo>
                              <a:pt x="456" y="107"/>
                            </a:lnTo>
                            <a:lnTo>
                              <a:pt x="442" y="107"/>
                            </a:lnTo>
                            <a:lnTo>
                              <a:pt x="433" y="89"/>
                            </a:lnTo>
                            <a:lnTo>
                              <a:pt x="416" y="98"/>
                            </a:lnTo>
                            <a:lnTo>
                              <a:pt x="407" y="94"/>
                            </a:lnTo>
                            <a:lnTo>
                              <a:pt x="393" y="98"/>
                            </a:lnTo>
                            <a:lnTo>
                              <a:pt x="389" y="89"/>
                            </a:lnTo>
                            <a:lnTo>
                              <a:pt x="402" y="71"/>
                            </a:lnTo>
                            <a:lnTo>
                              <a:pt x="407" y="54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0" name="Freeform 150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3496" y="2255"/>
                        <a:ext cx="93" cy="143"/>
                      </a:xfrm>
                      <a:custGeom>
                        <a:avLst/>
                        <a:gdLst>
                          <a:gd name="T0" fmla="*/ 0 w 98"/>
                          <a:gd name="T1" fmla="*/ 25 h 151"/>
                          <a:gd name="T2" fmla="*/ 4 w 98"/>
                          <a:gd name="T3" fmla="*/ 29 h 151"/>
                          <a:gd name="T4" fmla="*/ 9 w 98"/>
                          <a:gd name="T5" fmla="*/ 28 h 151"/>
                          <a:gd name="T6" fmla="*/ 9 w 98"/>
                          <a:gd name="T7" fmla="*/ 29 h 151"/>
                          <a:gd name="T8" fmla="*/ 9 w 98"/>
                          <a:gd name="T9" fmla="*/ 26 h 151"/>
                          <a:gd name="T10" fmla="*/ 9 w 98"/>
                          <a:gd name="T11" fmla="*/ 26 h 151"/>
                          <a:gd name="T12" fmla="*/ 10 w 98"/>
                          <a:gd name="T13" fmla="*/ 24 h 151"/>
                          <a:gd name="T14" fmla="*/ 16 w 98"/>
                          <a:gd name="T15" fmla="*/ 24 h 151"/>
                          <a:gd name="T16" fmla="*/ 16 w 98"/>
                          <a:gd name="T17" fmla="*/ 21 h 151"/>
                          <a:gd name="T18" fmla="*/ 18 w 98"/>
                          <a:gd name="T19" fmla="*/ 21 h 151"/>
                          <a:gd name="T20" fmla="*/ 19 w 98"/>
                          <a:gd name="T21" fmla="*/ 20 h 151"/>
                          <a:gd name="T22" fmla="*/ 18 w 98"/>
                          <a:gd name="T23" fmla="*/ 20 h 151"/>
                          <a:gd name="T24" fmla="*/ 20 w 98"/>
                          <a:gd name="T25" fmla="*/ 18 h 151"/>
                          <a:gd name="T26" fmla="*/ 22 w 98"/>
                          <a:gd name="T27" fmla="*/ 13 h 151"/>
                          <a:gd name="T28" fmla="*/ 20 w 98"/>
                          <a:gd name="T29" fmla="*/ 12 h 151"/>
                          <a:gd name="T30" fmla="*/ 18 w 98"/>
                          <a:gd name="T31" fmla="*/ 9 h 151"/>
                          <a:gd name="T32" fmla="*/ 12 w 98"/>
                          <a:gd name="T33" fmla="*/ 9 h 151"/>
                          <a:gd name="T34" fmla="*/ 9 w 98"/>
                          <a:gd name="T35" fmla="*/ 9 h 151"/>
                          <a:gd name="T36" fmla="*/ 9 w 98"/>
                          <a:gd name="T37" fmla="*/ 9 h 151"/>
                          <a:gd name="T38" fmla="*/ 9 w 98"/>
                          <a:gd name="T39" fmla="*/ 9 h 151"/>
                          <a:gd name="T40" fmla="*/ 9 w 98"/>
                          <a:gd name="T41" fmla="*/ 9 h 151"/>
                          <a:gd name="T42" fmla="*/ 9 w 98"/>
                          <a:gd name="T43" fmla="*/ 13 h 151"/>
                          <a:gd name="T44" fmla="*/ 9 w 98"/>
                          <a:gd name="T45" fmla="*/ 12 h 151"/>
                          <a:gd name="T46" fmla="*/ 10 w 98"/>
                          <a:gd name="T47" fmla="*/ 13 h 151"/>
                          <a:gd name="T48" fmla="*/ 12 w 98"/>
                          <a:gd name="T49" fmla="*/ 19 h 151"/>
                          <a:gd name="T50" fmla="*/ 10 w 98"/>
                          <a:gd name="T51" fmla="*/ 21 h 151"/>
                          <a:gd name="T52" fmla="*/ 9 w 98"/>
                          <a:gd name="T53" fmla="*/ 22 h 151"/>
                          <a:gd name="T54" fmla="*/ 0 w 98"/>
                          <a:gd name="T55" fmla="*/ 25 h 151"/>
                          <a:gd name="T56" fmla="*/ 9 w 98"/>
                          <a:gd name="T57" fmla="*/ 8 h 151"/>
                          <a:gd name="T58" fmla="*/ 9 w 98"/>
                          <a:gd name="T59" fmla="*/ 8 h 151"/>
                          <a:gd name="T60" fmla="*/ 9 w 98"/>
                          <a:gd name="T61" fmla="*/ 4 h 151"/>
                          <a:gd name="T62" fmla="*/ 9 w 98"/>
                          <a:gd name="T63" fmla="*/ 0 h 151"/>
                          <a:gd name="T64" fmla="*/ 9 w 98"/>
                          <a:gd name="T65" fmla="*/ 0 h 151"/>
                          <a:gd name="T66" fmla="*/ 9 w 98"/>
                          <a:gd name="T67" fmla="*/ 8 h 151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w 98"/>
                          <a:gd name="T103" fmla="*/ 0 h 151"/>
                          <a:gd name="T104" fmla="*/ 98 w 98"/>
                          <a:gd name="T105" fmla="*/ 151 h 151"/>
                        </a:gdLst>
                        <a:ahLst/>
                        <a:cxnLst>
                          <a:cxn ang="T68">
                            <a:pos x="T0" y="T1"/>
                          </a:cxn>
                          <a:cxn ang="T69">
                            <a:pos x="T2" y="T3"/>
                          </a:cxn>
                          <a:cxn ang="T70">
                            <a:pos x="T4" y="T5"/>
                          </a:cxn>
                          <a:cxn ang="T71">
                            <a:pos x="T6" y="T7"/>
                          </a:cxn>
                          <a:cxn ang="T72">
                            <a:pos x="T8" y="T9"/>
                          </a:cxn>
                          <a:cxn ang="T73">
                            <a:pos x="T10" y="T11"/>
                          </a:cxn>
                          <a:cxn ang="T74">
                            <a:pos x="T12" y="T13"/>
                          </a:cxn>
                          <a:cxn ang="T75">
                            <a:pos x="T14" y="T15"/>
                          </a:cxn>
                          <a:cxn ang="T76">
                            <a:pos x="T16" y="T17"/>
                          </a:cxn>
                          <a:cxn ang="T77">
                            <a:pos x="T18" y="T19"/>
                          </a:cxn>
                          <a:cxn ang="T78">
                            <a:pos x="T20" y="T21"/>
                          </a:cxn>
                          <a:cxn ang="T79">
                            <a:pos x="T22" y="T23"/>
                          </a:cxn>
                          <a:cxn ang="T80">
                            <a:pos x="T24" y="T25"/>
                          </a:cxn>
                          <a:cxn ang="T81">
                            <a:pos x="T26" y="T27"/>
                          </a:cxn>
                          <a:cxn ang="T82">
                            <a:pos x="T28" y="T29"/>
                          </a:cxn>
                          <a:cxn ang="T83">
                            <a:pos x="T30" y="T31"/>
                          </a:cxn>
                          <a:cxn ang="T84">
                            <a:pos x="T32" y="T33"/>
                          </a:cxn>
                          <a:cxn ang="T85">
                            <a:pos x="T34" y="T35"/>
                          </a:cxn>
                          <a:cxn ang="T86">
                            <a:pos x="T36" y="T37"/>
                          </a:cxn>
                          <a:cxn ang="T87">
                            <a:pos x="T38" y="T39"/>
                          </a:cxn>
                          <a:cxn ang="T88">
                            <a:pos x="T40" y="T41"/>
                          </a:cxn>
                          <a:cxn ang="T89">
                            <a:pos x="T42" y="T43"/>
                          </a:cxn>
                          <a:cxn ang="T90">
                            <a:pos x="T44" y="T45"/>
                          </a:cxn>
                          <a:cxn ang="T91">
                            <a:pos x="T46" y="T47"/>
                          </a:cxn>
                          <a:cxn ang="T92">
                            <a:pos x="T48" y="T49"/>
                          </a:cxn>
                          <a:cxn ang="T93">
                            <a:pos x="T50" y="T51"/>
                          </a:cxn>
                          <a:cxn ang="T94">
                            <a:pos x="T52" y="T53"/>
                          </a:cxn>
                          <a:cxn ang="T95">
                            <a:pos x="T54" y="T55"/>
                          </a:cxn>
                          <a:cxn ang="T96">
                            <a:pos x="T56" y="T57"/>
                          </a:cxn>
                          <a:cxn ang="T97">
                            <a:pos x="T58" y="T59"/>
                          </a:cxn>
                          <a:cxn ang="T98">
                            <a:pos x="T60" y="T61"/>
                          </a:cxn>
                          <a:cxn ang="T99">
                            <a:pos x="T62" y="T63"/>
                          </a:cxn>
                          <a:cxn ang="T100">
                            <a:pos x="T64" y="T65"/>
                          </a:cxn>
                          <a:cxn ang="T101">
                            <a:pos x="T66" y="T67"/>
                          </a:cxn>
                        </a:cxnLst>
                        <a:rect l="T102" t="T103" r="T104" b="T105"/>
                        <a:pathLst>
                          <a:path w="98" h="151">
                            <a:moveTo>
                              <a:pt x="0" y="129"/>
                            </a:moveTo>
                            <a:lnTo>
                              <a:pt x="4" y="151"/>
                            </a:lnTo>
                            <a:lnTo>
                              <a:pt x="22" y="147"/>
                            </a:lnTo>
                            <a:lnTo>
                              <a:pt x="36" y="151"/>
                            </a:lnTo>
                            <a:lnTo>
                              <a:pt x="36" y="134"/>
                            </a:lnTo>
                            <a:lnTo>
                              <a:pt x="49" y="134"/>
                            </a:lnTo>
                            <a:lnTo>
                              <a:pt x="54" y="120"/>
                            </a:lnTo>
                            <a:lnTo>
                              <a:pt x="71" y="120"/>
                            </a:lnTo>
                            <a:lnTo>
                              <a:pt x="71" y="102"/>
                            </a:lnTo>
                            <a:lnTo>
                              <a:pt x="80" y="102"/>
                            </a:lnTo>
                            <a:lnTo>
                              <a:pt x="85" y="98"/>
                            </a:lnTo>
                            <a:lnTo>
                              <a:pt x="80" y="98"/>
                            </a:lnTo>
                            <a:lnTo>
                              <a:pt x="89" y="84"/>
                            </a:lnTo>
                            <a:lnTo>
                              <a:pt x="98" y="67"/>
                            </a:lnTo>
                            <a:lnTo>
                              <a:pt x="89" y="62"/>
                            </a:lnTo>
                            <a:lnTo>
                              <a:pt x="80" y="44"/>
                            </a:lnTo>
                            <a:lnTo>
                              <a:pt x="58" y="40"/>
                            </a:lnTo>
                            <a:lnTo>
                              <a:pt x="49" y="31"/>
                            </a:lnTo>
                            <a:lnTo>
                              <a:pt x="45" y="22"/>
                            </a:lnTo>
                            <a:lnTo>
                              <a:pt x="40" y="26"/>
                            </a:lnTo>
                            <a:lnTo>
                              <a:pt x="31" y="40"/>
                            </a:lnTo>
                            <a:lnTo>
                              <a:pt x="31" y="67"/>
                            </a:lnTo>
                            <a:lnTo>
                              <a:pt x="40" y="62"/>
                            </a:lnTo>
                            <a:lnTo>
                              <a:pt x="54" y="67"/>
                            </a:lnTo>
                            <a:lnTo>
                              <a:pt x="58" y="89"/>
                            </a:lnTo>
                            <a:lnTo>
                              <a:pt x="54" y="102"/>
                            </a:lnTo>
                            <a:lnTo>
                              <a:pt x="40" y="107"/>
                            </a:lnTo>
                            <a:lnTo>
                              <a:pt x="0" y="129"/>
                            </a:lnTo>
                            <a:close/>
                            <a:moveTo>
                              <a:pt x="40" y="8"/>
                            </a:moveTo>
                            <a:lnTo>
                              <a:pt x="45" y="8"/>
                            </a:lnTo>
                            <a:lnTo>
                              <a:pt x="49" y="4"/>
                            </a:lnTo>
                            <a:lnTo>
                              <a:pt x="49" y="0"/>
                            </a:lnTo>
                            <a:lnTo>
                              <a:pt x="45" y="0"/>
                            </a:lnTo>
                            <a:lnTo>
                              <a:pt x="40" y="8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1" name="Freeform 151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864" y="2196"/>
                        <a:ext cx="110" cy="63"/>
                      </a:xfrm>
                      <a:custGeom>
                        <a:avLst/>
                        <a:gdLst>
                          <a:gd name="T0" fmla="*/ 8 w 116"/>
                          <a:gd name="T1" fmla="*/ 0 h 67"/>
                          <a:gd name="T2" fmla="*/ 9 w 116"/>
                          <a:gd name="T3" fmla="*/ 4 h 67"/>
                          <a:gd name="T4" fmla="*/ 9 w 116"/>
                          <a:gd name="T5" fmla="*/ 8 h 67"/>
                          <a:gd name="T6" fmla="*/ 10 w 116"/>
                          <a:gd name="T7" fmla="*/ 8 h 67"/>
                          <a:gd name="T8" fmla="*/ 16 w 116"/>
                          <a:gd name="T9" fmla="*/ 8 h 67"/>
                          <a:gd name="T10" fmla="*/ 24 w 116"/>
                          <a:gd name="T11" fmla="*/ 8 h 67"/>
                          <a:gd name="T12" fmla="*/ 24 w 116"/>
                          <a:gd name="T13" fmla="*/ 9 h 67"/>
                          <a:gd name="T14" fmla="*/ 23 w 116"/>
                          <a:gd name="T15" fmla="*/ 10 h 67"/>
                          <a:gd name="T16" fmla="*/ 16 w 116"/>
                          <a:gd name="T17" fmla="*/ 9 h 67"/>
                          <a:gd name="T18" fmla="*/ 16 w 116"/>
                          <a:gd name="T19" fmla="*/ 8 h 67"/>
                          <a:gd name="T20" fmla="*/ 14 w 116"/>
                          <a:gd name="T21" fmla="*/ 8 h 67"/>
                          <a:gd name="T22" fmla="*/ 11 w 116"/>
                          <a:gd name="T23" fmla="*/ 8 h 67"/>
                          <a:gd name="T24" fmla="*/ 9 w 116"/>
                          <a:gd name="T25" fmla="*/ 8 h 67"/>
                          <a:gd name="T26" fmla="*/ 9 w 116"/>
                          <a:gd name="T27" fmla="*/ 8 h 67"/>
                          <a:gd name="T28" fmla="*/ 8 w 116"/>
                          <a:gd name="T29" fmla="*/ 8 h 67"/>
                          <a:gd name="T30" fmla="*/ 8 w 116"/>
                          <a:gd name="T31" fmla="*/ 8 h 67"/>
                          <a:gd name="T32" fmla="*/ 0 w 116"/>
                          <a:gd name="T33" fmla="*/ 8 h 67"/>
                          <a:gd name="T34" fmla="*/ 0 w 116"/>
                          <a:gd name="T35" fmla="*/ 8 h 67"/>
                          <a:gd name="T36" fmla="*/ 8 w 116"/>
                          <a:gd name="T37" fmla="*/ 0 h 67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w 116"/>
                          <a:gd name="T58" fmla="*/ 0 h 67"/>
                          <a:gd name="T59" fmla="*/ 116 w 116"/>
                          <a:gd name="T60" fmla="*/ 67 h 67"/>
                        </a:gdLst>
                        <a:ahLst/>
                        <a:cxnLst>
                          <a:cxn ang="T38">
                            <a:pos x="T0" y="T1"/>
                          </a:cxn>
                          <a:cxn ang="T39">
                            <a:pos x="T2" y="T3"/>
                          </a:cxn>
                          <a:cxn ang="T40">
                            <a:pos x="T4" y="T5"/>
                          </a:cxn>
                          <a:cxn ang="T41">
                            <a:pos x="T6" y="T7"/>
                          </a:cxn>
                          <a:cxn ang="T42">
                            <a:pos x="T8" y="T9"/>
                          </a:cxn>
                          <a:cxn ang="T43">
                            <a:pos x="T10" y="T11"/>
                          </a:cxn>
                          <a:cxn ang="T44">
                            <a:pos x="T12" y="T13"/>
                          </a:cxn>
                          <a:cxn ang="T45">
                            <a:pos x="T14" y="T15"/>
                          </a:cxn>
                          <a:cxn ang="T46">
                            <a:pos x="T16" y="T17"/>
                          </a:cxn>
                          <a:cxn ang="T47">
                            <a:pos x="T18" y="T19"/>
                          </a:cxn>
                          <a:cxn ang="T48">
                            <a:pos x="T20" y="T21"/>
                          </a:cxn>
                          <a:cxn ang="T49">
                            <a:pos x="T22" y="T23"/>
                          </a:cxn>
                          <a:cxn ang="T50">
                            <a:pos x="T24" y="T25"/>
                          </a:cxn>
                          <a:cxn ang="T51">
                            <a:pos x="T26" y="T27"/>
                          </a:cxn>
                          <a:cxn ang="T52">
                            <a:pos x="T28" y="T29"/>
                          </a:cxn>
                          <a:cxn ang="T53">
                            <a:pos x="T30" y="T31"/>
                          </a:cxn>
                          <a:cxn ang="T54">
                            <a:pos x="T32" y="T33"/>
                          </a:cxn>
                          <a:cxn ang="T55">
                            <a:pos x="T34" y="T35"/>
                          </a:cxn>
                          <a:cxn ang="T56">
                            <a:pos x="T36" y="T37"/>
                          </a:cxn>
                        </a:cxnLst>
                        <a:rect l="T57" t="T58" r="T59" b="T60"/>
                        <a:pathLst>
                          <a:path w="116" h="67">
                            <a:moveTo>
                              <a:pt x="8" y="0"/>
                            </a:moveTo>
                            <a:lnTo>
                              <a:pt x="26" y="4"/>
                            </a:lnTo>
                            <a:lnTo>
                              <a:pt x="44" y="22"/>
                            </a:lnTo>
                            <a:lnTo>
                              <a:pt x="53" y="22"/>
                            </a:lnTo>
                            <a:lnTo>
                              <a:pt x="75" y="40"/>
                            </a:lnTo>
                            <a:lnTo>
                              <a:pt x="116" y="45"/>
                            </a:lnTo>
                            <a:lnTo>
                              <a:pt x="116" y="63"/>
                            </a:lnTo>
                            <a:lnTo>
                              <a:pt x="107" y="67"/>
                            </a:lnTo>
                            <a:lnTo>
                              <a:pt x="75" y="63"/>
                            </a:lnTo>
                            <a:lnTo>
                              <a:pt x="75" y="58"/>
                            </a:lnTo>
                            <a:lnTo>
                              <a:pt x="67" y="58"/>
                            </a:lnTo>
                            <a:lnTo>
                              <a:pt x="58" y="49"/>
                            </a:lnTo>
                            <a:lnTo>
                              <a:pt x="49" y="54"/>
                            </a:lnTo>
                            <a:lnTo>
                              <a:pt x="35" y="49"/>
                            </a:lnTo>
                            <a:lnTo>
                              <a:pt x="8" y="36"/>
                            </a:lnTo>
                            <a:lnTo>
                              <a:pt x="8" y="27"/>
                            </a:lnTo>
                            <a:lnTo>
                              <a:pt x="0" y="27"/>
                            </a:lnTo>
                            <a:lnTo>
                              <a:pt x="0" y="9"/>
                            </a:lnTo>
                            <a:lnTo>
                              <a:pt x="8" y="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2" name="Freeform 152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4998" y="2917"/>
                        <a:ext cx="55" cy="34"/>
                      </a:xfrm>
                      <a:custGeom>
                        <a:avLst/>
                        <a:gdLst>
                          <a:gd name="T0" fmla="*/ 0 w 58"/>
                          <a:gd name="T1" fmla="*/ 0 h 36"/>
                          <a:gd name="T2" fmla="*/ 0 w 58"/>
                          <a:gd name="T3" fmla="*/ 0 h 36"/>
                          <a:gd name="T4" fmla="*/ 9 w 58"/>
                          <a:gd name="T5" fmla="*/ 9 h 36"/>
                          <a:gd name="T6" fmla="*/ 9 w 58"/>
                          <a:gd name="T7" fmla="*/ 9 h 36"/>
                          <a:gd name="T8" fmla="*/ 9 w 58"/>
                          <a:gd name="T9" fmla="*/ 9 h 36"/>
                          <a:gd name="T10" fmla="*/ 9 w 58"/>
                          <a:gd name="T11" fmla="*/ 9 h 36"/>
                          <a:gd name="T12" fmla="*/ 9 w 58"/>
                          <a:gd name="T13" fmla="*/ 9 h 36"/>
                          <a:gd name="T14" fmla="*/ 9 w 58"/>
                          <a:gd name="T15" fmla="*/ 9 h 36"/>
                          <a:gd name="T16" fmla="*/ 9 w 58"/>
                          <a:gd name="T17" fmla="*/ 9 h 36"/>
                          <a:gd name="T18" fmla="*/ 9 w 58"/>
                          <a:gd name="T19" fmla="*/ 9 h 36"/>
                          <a:gd name="T20" fmla="*/ 9 w 58"/>
                          <a:gd name="T21" fmla="*/ 5 h 36"/>
                          <a:gd name="T22" fmla="*/ 5 w 58"/>
                          <a:gd name="T23" fmla="*/ 0 h 36"/>
                          <a:gd name="T24" fmla="*/ 0 w 58"/>
                          <a:gd name="T25" fmla="*/ 0 h 36"/>
                          <a:gd name="T26" fmla="*/ 10 w 58"/>
                          <a:gd name="T27" fmla="*/ 9 h 36"/>
                          <a:gd name="T28" fmla="*/ 9 w 58"/>
                          <a:gd name="T29" fmla="*/ 9 h 36"/>
                          <a:gd name="T30" fmla="*/ 9 w 58"/>
                          <a:gd name="T31" fmla="*/ 9 h 36"/>
                          <a:gd name="T32" fmla="*/ 9 w 58"/>
                          <a:gd name="T33" fmla="*/ 9 h 36"/>
                          <a:gd name="T34" fmla="*/ 9 w 58"/>
                          <a:gd name="T35" fmla="*/ 9 h 36"/>
                          <a:gd name="T36" fmla="*/ 9 w 58"/>
                          <a:gd name="T37" fmla="*/ 9 h 36"/>
                          <a:gd name="T38" fmla="*/ 9 w 58"/>
                          <a:gd name="T39" fmla="*/ 9 h 36"/>
                          <a:gd name="T40" fmla="*/ 10 w 58"/>
                          <a:gd name="T41" fmla="*/ 9 h 36"/>
                          <a:gd name="T42" fmla="*/ 11 w 58"/>
                          <a:gd name="T43" fmla="*/ 9 h 36"/>
                          <a:gd name="T44" fmla="*/ 11 w 58"/>
                          <a:gd name="T45" fmla="*/ 9 h 36"/>
                          <a:gd name="T46" fmla="*/ 10 w 58"/>
                          <a:gd name="T47" fmla="*/ 9 h 36"/>
                          <a:gd name="T48" fmla="*/ 10 w 58"/>
                          <a:gd name="T49" fmla="*/ 9 h 36"/>
                          <a:gd name="T50" fmla="*/ 10 w 58"/>
                          <a:gd name="T51" fmla="*/ 9 h 36"/>
                          <a:gd name="T52" fmla="*/ 11 w 58"/>
                          <a:gd name="T53" fmla="*/ 9 h 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w 58"/>
                          <a:gd name="T82" fmla="*/ 0 h 36"/>
                          <a:gd name="T83" fmla="*/ 58 w 58"/>
                          <a:gd name="T84" fmla="*/ 36 h 36"/>
                        </a:gdLst>
                        <a:ahLst/>
                        <a:cxnLst>
                          <a:cxn ang="T54">
                            <a:pos x="T0" y="T1"/>
                          </a:cxn>
                          <a:cxn ang="T55">
                            <a:pos x="T2" y="T3"/>
                          </a:cxn>
                          <a:cxn ang="T56">
                            <a:pos x="T4" y="T5"/>
                          </a:cxn>
                          <a:cxn ang="T57">
                            <a:pos x="T6" y="T7"/>
                          </a:cxn>
                          <a:cxn ang="T58">
                            <a:pos x="T8" y="T9"/>
                          </a:cxn>
                          <a:cxn ang="T59">
                            <a:pos x="T10" y="T11"/>
                          </a:cxn>
                          <a:cxn ang="T60">
                            <a:pos x="T12" y="T13"/>
                          </a:cxn>
                          <a:cxn ang="T61">
                            <a:pos x="T14" y="T15"/>
                          </a:cxn>
                          <a:cxn ang="T62">
                            <a:pos x="T16" y="T17"/>
                          </a:cxn>
                          <a:cxn ang="T63">
                            <a:pos x="T18" y="T19"/>
                          </a:cxn>
                          <a:cxn ang="T64">
                            <a:pos x="T20" y="T21"/>
                          </a:cxn>
                          <a:cxn ang="T65">
                            <a:pos x="T22" y="T23"/>
                          </a:cxn>
                          <a:cxn ang="T66">
                            <a:pos x="T24" y="T25"/>
                          </a:cxn>
                          <a:cxn ang="T67">
                            <a:pos x="T26" y="T27"/>
                          </a:cxn>
                          <a:cxn ang="T68">
                            <a:pos x="T28" y="T29"/>
                          </a:cxn>
                          <a:cxn ang="T69">
                            <a:pos x="T30" y="T31"/>
                          </a:cxn>
                          <a:cxn ang="T70">
                            <a:pos x="T32" y="T33"/>
                          </a:cxn>
                          <a:cxn ang="T71">
                            <a:pos x="T34" y="T35"/>
                          </a:cxn>
                          <a:cxn ang="T72">
                            <a:pos x="T36" y="T37"/>
                          </a:cxn>
                          <a:cxn ang="T73">
                            <a:pos x="T38" y="T39"/>
                          </a:cxn>
                          <a:cxn ang="T74">
                            <a:pos x="T40" y="T41"/>
                          </a:cxn>
                          <a:cxn ang="T75">
                            <a:pos x="T42" y="T43"/>
                          </a:cxn>
                          <a:cxn ang="T76">
                            <a:pos x="T44" y="T45"/>
                          </a:cxn>
                          <a:cxn ang="T77">
                            <a:pos x="T46" y="T47"/>
                          </a:cxn>
                          <a:cxn ang="T78">
                            <a:pos x="T48" y="T49"/>
                          </a:cxn>
                          <a:cxn ang="T79">
                            <a:pos x="T50" y="T51"/>
                          </a:cxn>
                          <a:cxn ang="T80">
                            <a:pos x="T52" y="T53"/>
                          </a:cxn>
                        </a:cxnLst>
                        <a:rect l="T81" t="T82" r="T83" b="T84"/>
                        <a:pathLst>
                          <a:path w="58" h="36"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9" y="14"/>
                            </a:lnTo>
                            <a:lnTo>
                              <a:pt x="22" y="27"/>
                            </a:lnTo>
                            <a:lnTo>
                              <a:pt x="40" y="36"/>
                            </a:lnTo>
                            <a:lnTo>
                              <a:pt x="45" y="31"/>
                            </a:lnTo>
                            <a:lnTo>
                              <a:pt x="36" y="27"/>
                            </a:lnTo>
                            <a:lnTo>
                              <a:pt x="31" y="22"/>
                            </a:lnTo>
                            <a:lnTo>
                              <a:pt x="18" y="9"/>
                            </a:lnTo>
                            <a:lnTo>
                              <a:pt x="14" y="9"/>
                            </a:lnTo>
                            <a:lnTo>
                              <a:pt x="9" y="5"/>
                            </a:lnTo>
                            <a:lnTo>
                              <a:pt x="5" y="0"/>
                            </a:lnTo>
                            <a:lnTo>
                              <a:pt x="0" y="0"/>
                            </a:lnTo>
                            <a:close/>
                            <a:moveTo>
                              <a:pt x="54" y="14"/>
                            </a:moveTo>
                            <a:lnTo>
                              <a:pt x="49" y="14"/>
                            </a:lnTo>
                            <a:lnTo>
                              <a:pt x="45" y="9"/>
                            </a:lnTo>
                            <a:lnTo>
                              <a:pt x="45" y="14"/>
                            </a:lnTo>
                            <a:lnTo>
                              <a:pt x="49" y="18"/>
                            </a:lnTo>
                            <a:lnTo>
                              <a:pt x="54" y="14"/>
                            </a:lnTo>
                            <a:close/>
                            <a:moveTo>
                              <a:pt x="58" y="22"/>
                            </a:moveTo>
                            <a:lnTo>
                              <a:pt x="58" y="18"/>
                            </a:lnTo>
                            <a:lnTo>
                              <a:pt x="54" y="18"/>
                            </a:lnTo>
                            <a:lnTo>
                              <a:pt x="54" y="22"/>
                            </a:lnTo>
                            <a:lnTo>
                              <a:pt x="58" y="22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3" name="Freeform 153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5027" y="2837"/>
                        <a:ext cx="30" cy="46"/>
                      </a:xfrm>
                      <a:custGeom>
                        <a:avLst/>
                        <a:gdLst>
                          <a:gd name="T0" fmla="*/ 5 w 32"/>
                          <a:gd name="T1" fmla="*/ 0 h 49"/>
                          <a:gd name="T2" fmla="*/ 0 w 32"/>
                          <a:gd name="T3" fmla="*/ 5 h 49"/>
                          <a:gd name="T4" fmla="*/ 5 w 32"/>
                          <a:gd name="T5" fmla="*/ 8 h 49"/>
                          <a:gd name="T6" fmla="*/ 8 w 32"/>
                          <a:gd name="T7" fmla="*/ 8 h 49"/>
                          <a:gd name="T8" fmla="*/ 8 w 32"/>
                          <a:gd name="T9" fmla="*/ 5 h 49"/>
                          <a:gd name="T10" fmla="*/ 8 w 32"/>
                          <a:gd name="T11" fmla="*/ 5 h 49"/>
                          <a:gd name="T12" fmla="*/ 5 w 32"/>
                          <a:gd name="T13" fmla="*/ 0 h 49"/>
                          <a:gd name="T14" fmla="*/ 8 w 32"/>
                          <a:gd name="T15" fmla="*/ 8 h 49"/>
                          <a:gd name="T16" fmla="*/ 8 w 32"/>
                          <a:gd name="T17" fmla="*/ 8 h 49"/>
                          <a:gd name="T18" fmla="*/ 8 w 32"/>
                          <a:gd name="T19" fmla="*/ 8 h 49"/>
                          <a:gd name="T20" fmla="*/ 8 w 32"/>
                          <a:gd name="T21" fmla="*/ 8 h 49"/>
                          <a:gd name="T22" fmla="*/ 8 w 32"/>
                          <a:gd name="T23" fmla="*/ 8 h 49"/>
                          <a:gd name="T24" fmla="*/ 8 w 32"/>
                          <a:gd name="T25" fmla="*/ 8 h 49"/>
                          <a:gd name="T26" fmla="*/ 8 w 32"/>
                          <a:gd name="T27" fmla="*/ 8 h 49"/>
                          <a:gd name="T28" fmla="*/ 8 w 32"/>
                          <a:gd name="T29" fmla="*/ 8 h 49"/>
                          <a:gd name="T30" fmla="*/ 8 w 32"/>
                          <a:gd name="T31" fmla="*/ 8 h 49"/>
                          <a:gd name="T32" fmla="*/ 8 w 32"/>
                          <a:gd name="T33" fmla="*/ 8 h 49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w 32"/>
                          <a:gd name="T52" fmla="*/ 0 h 49"/>
                          <a:gd name="T53" fmla="*/ 32 w 32"/>
                          <a:gd name="T54" fmla="*/ 49 h 49"/>
                        </a:gdLst>
                        <a:ahLst/>
                        <a:cxnLst>
                          <a:cxn ang="T34">
                            <a:pos x="T0" y="T1"/>
                          </a:cxn>
                          <a:cxn ang="T35">
                            <a:pos x="T2" y="T3"/>
                          </a:cxn>
                          <a:cxn ang="T36">
                            <a:pos x="T4" y="T5"/>
                          </a:cxn>
                          <a:cxn ang="T37">
                            <a:pos x="T6" y="T7"/>
                          </a:cxn>
                          <a:cxn ang="T38">
                            <a:pos x="T8" y="T9"/>
                          </a:cxn>
                          <a:cxn ang="T39">
                            <a:pos x="T10" y="T11"/>
                          </a:cxn>
                          <a:cxn ang="T40">
                            <a:pos x="T12" y="T13"/>
                          </a:cxn>
                          <a:cxn ang="T41">
                            <a:pos x="T14" y="T15"/>
                          </a:cxn>
                          <a:cxn ang="T42">
                            <a:pos x="T16" y="T17"/>
                          </a:cxn>
                          <a:cxn ang="T43">
                            <a:pos x="T18" y="T19"/>
                          </a:cxn>
                          <a:cxn ang="T44">
                            <a:pos x="T20" y="T21"/>
                          </a:cxn>
                          <a:cxn ang="T45">
                            <a:pos x="T22" y="T23"/>
                          </a:cxn>
                          <a:cxn ang="T46">
                            <a:pos x="T24" y="T25"/>
                          </a:cxn>
                          <a:cxn ang="T47">
                            <a:pos x="T26" y="T27"/>
                          </a:cxn>
                          <a:cxn ang="T48">
                            <a:pos x="T28" y="T29"/>
                          </a:cxn>
                          <a:cxn ang="T49">
                            <a:pos x="T30" y="T31"/>
                          </a:cxn>
                          <a:cxn ang="T50">
                            <a:pos x="T32" y="T33"/>
                          </a:cxn>
                        </a:cxnLst>
                        <a:rect l="T51" t="T52" r="T53" b="T54"/>
                        <a:pathLst>
                          <a:path w="32" h="49">
                            <a:moveTo>
                              <a:pt x="5" y="0"/>
                            </a:moveTo>
                            <a:lnTo>
                              <a:pt x="0" y="5"/>
                            </a:lnTo>
                            <a:lnTo>
                              <a:pt x="5" y="14"/>
                            </a:lnTo>
                            <a:lnTo>
                              <a:pt x="14" y="14"/>
                            </a:lnTo>
                            <a:lnTo>
                              <a:pt x="14" y="5"/>
                            </a:lnTo>
                            <a:lnTo>
                              <a:pt x="9" y="5"/>
                            </a:lnTo>
                            <a:lnTo>
                              <a:pt x="5" y="0"/>
                            </a:lnTo>
                            <a:close/>
                            <a:moveTo>
                              <a:pt x="18" y="18"/>
                            </a:moveTo>
                            <a:lnTo>
                              <a:pt x="14" y="23"/>
                            </a:lnTo>
                            <a:lnTo>
                              <a:pt x="23" y="27"/>
                            </a:lnTo>
                            <a:lnTo>
                              <a:pt x="18" y="18"/>
                            </a:lnTo>
                            <a:close/>
                            <a:moveTo>
                              <a:pt x="27" y="40"/>
                            </a:moveTo>
                            <a:lnTo>
                              <a:pt x="27" y="45"/>
                            </a:lnTo>
                            <a:lnTo>
                              <a:pt x="32" y="49"/>
                            </a:lnTo>
                            <a:lnTo>
                              <a:pt x="32" y="40"/>
                            </a:lnTo>
                            <a:lnTo>
                              <a:pt x="27" y="40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4" name="Freeform 154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4644" y="2503"/>
                        <a:ext cx="346" cy="123"/>
                      </a:xfrm>
                      <a:custGeom>
                        <a:avLst/>
                        <a:gdLst>
                          <a:gd name="T0" fmla="*/ 4 w 366"/>
                          <a:gd name="T1" fmla="*/ 0 h 130"/>
                          <a:gd name="T2" fmla="*/ 0 w 366"/>
                          <a:gd name="T3" fmla="*/ 0 h 130"/>
                          <a:gd name="T4" fmla="*/ 4 w 366"/>
                          <a:gd name="T5" fmla="*/ 0 h 130"/>
                          <a:gd name="T6" fmla="*/ 4 w 366"/>
                          <a:gd name="T7" fmla="*/ 0 h 130"/>
                          <a:gd name="T8" fmla="*/ 43 w 366"/>
                          <a:gd name="T9" fmla="*/ 25 h 130"/>
                          <a:gd name="T10" fmla="*/ 43 w 366"/>
                          <a:gd name="T11" fmla="*/ 25 h 130"/>
                          <a:gd name="T12" fmla="*/ 44 w 366"/>
                          <a:gd name="T13" fmla="*/ 25 h 130"/>
                          <a:gd name="T14" fmla="*/ 43 w 366"/>
                          <a:gd name="T15" fmla="*/ 25 h 130"/>
                          <a:gd name="T16" fmla="*/ 43 w 366"/>
                          <a:gd name="T17" fmla="*/ 24 h 130"/>
                          <a:gd name="T18" fmla="*/ 43 w 366"/>
                          <a:gd name="T19" fmla="*/ 25 h 130"/>
                          <a:gd name="T20" fmla="*/ 43 w 366"/>
                          <a:gd name="T21" fmla="*/ 25 h 130"/>
                          <a:gd name="T22" fmla="*/ 52 w 366"/>
                          <a:gd name="T23" fmla="*/ 23 h 130"/>
                          <a:gd name="T24" fmla="*/ 52 w 366"/>
                          <a:gd name="T25" fmla="*/ 23 h 130"/>
                          <a:gd name="T26" fmla="*/ 53 w 366"/>
                          <a:gd name="T27" fmla="*/ 23 h 130"/>
                          <a:gd name="T28" fmla="*/ 52 w 366"/>
                          <a:gd name="T29" fmla="*/ 23 h 130"/>
                          <a:gd name="T30" fmla="*/ 53 w 366"/>
                          <a:gd name="T31" fmla="*/ 9 h 130"/>
                          <a:gd name="T32" fmla="*/ 53 w 366"/>
                          <a:gd name="T33" fmla="*/ 9 h 130"/>
                          <a:gd name="T34" fmla="*/ 54 w 366"/>
                          <a:gd name="T35" fmla="*/ 9 h 130"/>
                          <a:gd name="T36" fmla="*/ 53 w 366"/>
                          <a:gd name="T37" fmla="*/ 9 h 130"/>
                          <a:gd name="T38" fmla="*/ 67 w 366"/>
                          <a:gd name="T39" fmla="*/ 10 h 130"/>
                          <a:gd name="T40" fmla="*/ 68 w 366"/>
                          <a:gd name="T41" fmla="*/ 10 h 130"/>
                          <a:gd name="T42" fmla="*/ 68 w 366"/>
                          <a:gd name="T43" fmla="*/ 9 h 130"/>
                          <a:gd name="T44" fmla="*/ 67 w 366"/>
                          <a:gd name="T45" fmla="*/ 10 h 130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w 366"/>
                          <a:gd name="T70" fmla="*/ 0 h 130"/>
                          <a:gd name="T71" fmla="*/ 366 w 366"/>
                          <a:gd name="T72" fmla="*/ 130 h 130"/>
                        </a:gdLst>
                        <a:ahLst/>
                        <a:cxnLst>
                          <a:cxn ang="T46">
                            <a:pos x="T0" y="T1"/>
                          </a:cxn>
                          <a:cxn ang="T47">
                            <a:pos x="T2" y="T3"/>
                          </a:cxn>
                          <a:cxn ang="T48">
                            <a:pos x="T4" y="T5"/>
                          </a:cxn>
                          <a:cxn ang="T49">
                            <a:pos x="T6" y="T7"/>
                          </a:cxn>
                          <a:cxn ang="T50">
                            <a:pos x="T8" y="T9"/>
                          </a:cxn>
                          <a:cxn ang="T51">
                            <a:pos x="T10" y="T11"/>
                          </a:cxn>
                          <a:cxn ang="T52">
                            <a:pos x="T12" y="T13"/>
                          </a:cxn>
                          <a:cxn ang="T53">
                            <a:pos x="T14" y="T15"/>
                          </a:cxn>
                          <a:cxn ang="T54">
                            <a:pos x="T16" y="T17"/>
                          </a:cxn>
                          <a:cxn ang="T55">
                            <a:pos x="T18" y="T19"/>
                          </a:cxn>
                          <a:cxn ang="T56">
                            <a:pos x="T20" y="T21"/>
                          </a:cxn>
                          <a:cxn ang="T57">
                            <a:pos x="T22" y="T23"/>
                          </a:cxn>
                          <a:cxn ang="T58">
                            <a:pos x="T24" y="T25"/>
                          </a:cxn>
                          <a:cxn ang="T59">
                            <a:pos x="T26" y="T27"/>
                          </a:cxn>
                          <a:cxn ang="T60">
                            <a:pos x="T28" y="T29"/>
                          </a:cxn>
                          <a:cxn ang="T61">
                            <a:pos x="T30" y="T31"/>
                          </a:cxn>
                          <a:cxn ang="T62">
                            <a:pos x="T32" y="T33"/>
                          </a:cxn>
                          <a:cxn ang="T63">
                            <a:pos x="T34" y="T35"/>
                          </a:cxn>
                          <a:cxn ang="T64">
                            <a:pos x="T36" y="T37"/>
                          </a:cxn>
                          <a:cxn ang="T65">
                            <a:pos x="T38" y="T39"/>
                          </a:cxn>
                          <a:cxn ang="T66">
                            <a:pos x="T40" y="T41"/>
                          </a:cxn>
                          <a:cxn ang="T67">
                            <a:pos x="T42" y="T43"/>
                          </a:cxn>
                          <a:cxn ang="T68">
                            <a:pos x="T44" y="T45"/>
                          </a:cxn>
                        </a:cxnLst>
                        <a:rect l="T69" t="T70" r="T71" b="T72"/>
                        <a:pathLst>
                          <a:path w="366" h="130">
                            <a:moveTo>
                              <a:pt x="4" y="0"/>
                            </a:moveTo>
                            <a:lnTo>
                              <a:pt x="0" y="0"/>
                            </a:lnTo>
                            <a:lnTo>
                              <a:pt x="4" y="0"/>
                            </a:lnTo>
                            <a:close/>
                            <a:moveTo>
                              <a:pt x="232" y="130"/>
                            </a:moveTo>
                            <a:lnTo>
                              <a:pt x="237" y="130"/>
                            </a:lnTo>
                            <a:lnTo>
                              <a:pt x="241" y="130"/>
                            </a:lnTo>
                            <a:lnTo>
                              <a:pt x="237" y="130"/>
                            </a:lnTo>
                            <a:lnTo>
                              <a:pt x="237" y="125"/>
                            </a:lnTo>
                            <a:lnTo>
                              <a:pt x="237" y="130"/>
                            </a:lnTo>
                            <a:lnTo>
                              <a:pt x="232" y="130"/>
                            </a:lnTo>
                            <a:close/>
                            <a:moveTo>
                              <a:pt x="281" y="116"/>
                            </a:moveTo>
                            <a:lnTo>
                              <a:pt x="281" y="121"/>
                            </a:lnTo>
                            <a:lnTo>
                              <a:pt x="286" y="116"/>
                            </a:lnTo>
                            <a:lnTo>
                              <a:pt x="281" y="116"/>
                            </a:lnTo>
                            <a:close/>
                            <a:moveTo>
                              <a:pt x="286" y="36"/>
                            </a:moveTo>
                            <a:lnTo>
                              <a:pt x="286" y="36"/>
                            </a:lnTo>
                            <a:lnTo>
                              <a:pt x="290" y="31"/>
                            </a:lnTo>
                            <a:lnTo>
                              <a:pt x="286" y="36"/>
                            </a:lnTo>
                            <a:close/>
                            <a:moveTo>
                              <a:pt x="362" y="58"/>
                            </a:moveTo>
                            <a:lnTo>
                              <a:pt x="366" y="58"/>
                            </a:lnTo>
                            <a:lnTo>
                              <a:pt x="366" y="54"/>
                            </a:lnTo>
                            <a:lnTo>
                              <a:pt x="362" y="58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5" name="Freeform 155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602" y="2086"/>
                        <a:ext cx="223" cy="215"/>
                      </a:xfrm>
                      <a:custGeom>
                        <a:avLst/>
                        <a:gdLst>
                          <a:gd name="T0" fmla="*/ 9 w 236"/>
                          <a:gd name="T1" fmla="*/ 23 h 228"/>
                          <a:gd name="T2" fmla="*/ 15 w 236"/>
                          <a:gd name="T3" fmla="*/ 23 h 228"/>
                          <a:gd name="T4" fmla="*/ 17 w 236"/>
                          <a:gd name="T5" fmla="*/ 18 h 228"/>
                          <a:gd name="T6" fmla="*/ 21 w 236"/>
                          <a:gd name="T7" fmla="*/ 16 h 228"/>
                          <a:gd name="T8" fmla="*/ 23 w 236"/>
                          <a:gd name="T9" fmla="*/ 16 h 228"/>
                          <a:gd name="T10" fmla="*/ 23 w 236"/>
                          <a:gd name="T11" fmla="*/ 12 h 228"/>
                          <a:gd name="T12" fmla="*/ 24 w 236"/>
                          <a:gd name="T13" fmla="*/ 8 h 228"/>
                          <a:gd name="T14" fmla="*/ 27 w 236"/>
                          <a:gd name="T15" fmla="*/ 8 h 228"/>
                          <a:gd name="T16" fmla="*/ 27 w 236"/>
                          <a:gd name="T17" fmla="*/ 8 h 228"/>
                          <a:gd name="T18" fmla="*/ 35 w 236"/>
                          <a:gd name="T19" fmla="*/ 0 h 228"/>
                          <a:gd name="T20" fmla="*/ 39 w 236"/>
                          <a:gd name="T21" fmla="*/ 0 h 228"/>
                          <a:gd name="T22" fmla="*/ 43 w 236"/>
                          <a:gd name="T23" fmla="*/ 8 h 228"/>
                          <a:gd name="T24" fmla="*/ 40 w 236"/>
                          <a:gd name="T25" fmla="*/ 8 h 228"/>
                          <a:gd name="T26" fmla="*/ 34 w 236"/>
                          <a:gd name="T27" fmla="*/ 8 h 228"/>
                          <a:gd name="T28" fmla="*/ 39 w 236"/>
                          <a:gd name="T29" fmla="*/ 14 h 228"/>
                          <a:gd name="T30" fmla="*/ 35 w 236"/>
                          <a:gd name="T31" fmla="*/ 20 h 228"/>
                          <a:gd name="T32" fmla="*/ 31 w 236"/>
                          <a:gd name="T33" fmla="*/ 24 h 228"/>
                          <a:gd name="T34" fmla="*/ 26 w 236"/>
                          <a:gd name="T35" fmla="*/ 27 h 228"/>
                          <a:gd name="T36" fmla="*/ 24 w 236"/>
                          <a:gd name="T37" fmla="*/ 29 h 228"/>
                          <a:gd name="T38" fmla="*/ 25 w 236"/>
                          <a:gd name="T39" fmla="*/ 31 h 228"/>
                          <a:gd name="T40" fmla="*/ 26 w 236"/>
                          <a:gd name="T41" fmla="*/ 33 h 228"/>
                          <a:gd name="T42" fmla="*/ 25 w 236"/>
                          <a:gd name="T43" fmla="*/ 37 h 228"/>
                          <a:gd name="T44" fmla="*/ 21 w 236"/>
                          <a:gd name="T45" fmla="*/ 39 h 228"/>
                          <a:gd name="T46" fmla="*/ 18 w 236"/>
                          <a:gd name="T47" fmla="*/ 36 h 228"/>
                          <a:gd name="T48" fmla="*/ 17 w 236"/>
                          <a:gd name="T49" fmla="*/ 36 h 228"/>
                          <a:gd name="T50" fmla="*/ 16 w 236"/>
                          <a:gd name="T51" fmla="*/ 34 h 228"/>
                          <a:gd name="T52" fmla="*/ 9 w 236"/>
                          <a:gd name="T53" fmla="*/ 35 h 228"/>
                          <a:gd name="T54" fmla="*/ 9 w 236"/>
                          <a:gd name="T55" fmla="*/ 34 h 228"/>
                          <a:gd name="T56" fmla="*/ 9 w 236"/>
                          <a:gd name="T57" fmla="*/ 34 h 228"/>
                          <a:gd name="T58" fmla="*/ 9 w 236"/>
                          <a:gd name="T59" fmla="*/ 35 h 228"/>
                          <a:gd name="T60" fmla="*/ 9 w 236"/>
                          <a:gd name="T61" fmla="*/ 33 h 228"/>
                          <a:gd name="T62" fmla="*/ 9 w 236"/>
                          <a:gd name="T63" fmla="*/ 30 h 228"/>
                          <a:gd name="T64" fmla="*/ 9 w 236"/>
                          <a:gd name="T65" fmla="*/ 29 h 228"/>
                          <a:gd name="T66" fmla="*/ 9 w 236"/>
                          <a:gd name="T67" fmla="*/ 25 h 228"/>
                          <a:gd name="T68" fmla="*/ 0 w 236"/>
                          <a:gd name="T69" fmla="*/ 22 h 228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w 236"/>
                          <a:gd name="T106" fmla="*/ 0 h 228"/>
                          <a:gd name="T107" fmla="*/ 236 w 236"/>
                          <a:gd name="T108" fmla="*/ 228 h 228"/>
                        </a:gdLst>
                        <a:ahLst/>
                        <a:cxnLst>
                          <a:cxn ang="T70">
                            <a:pos x="T0" y="T1"/>
                          </a:cxn>
                          <a:cxn ang="T71">
                            <a:pos x="T2" y="T3"/>
                          </a:cxn>
                          <a:cxn ang="T72">
                            <a:pos x="T4" y="T5"/>
                          </a:cxn>
                          <a:cxn ang="T73">
                            <a:pos x="T6" y="T7"/>
                          </a:cxn>
                          <a:cxn ang="T74">
                            <a:pos x="T8" y="T9"/>
                          </a:cxn>
                          <a:cxn ang="T75">
                            <a:pos x="T10" y="T11"/>
                          </a:cxn>
                          <a:cxn ang="T76">
                            <a:pos x="T12" y="T13"/>
                          </a:cxn>
                          <a:cxn ang="T77">
                            <a:pos x="T14" y="T15"/>
                          </a:cxn>
                          <a:cxn ang="T78">
                            <a:pos x="T16" y="T17"/>
                          </a:cxn>
                          <a:cxn ang="T79">
                            <a:pos x="T18" y="T19"/>
                          </a:cxn>
                          <a:cxn ang="T80">
                            <a:pos x="T20" y="T21"/>
                          </a:cxn>
                          <a:cxn ang="T81">
                            <a:pos x="T22" y="T23"/>
                          </a:cxn>
                          <a:cxn ang="T82">
                            <a:pos x="T24" y="T25"/>
                          </a:cxn>
                          <a:cxn ang="T83">
                            <a:pos x="T26" y="T27"/>
                          </a:cxn>
                          <a:cxn ang="T84">
                            <a:pos x="T28" y="T29"/>
                          </a:cxn>
                          <a:cxn ang="T85">
                            <a:pos x="T30" y="T31"/>
                          </a:cxn>
                          <a:cxn ang="T86">
                            <a:pos x="T32" y="T33"/>
                          </a:cxn>
                          <a:cxn ang="T87">
                            <a:pos x="T34" y="T35"/>
                          </a:cxn>
                          <a:cxn ang="T88">
                            <a:pos x="T36" y="T37"/>
                          </a:cxn>
                          <a:cxn ang="T89">
                            <a:pos x="T38" y="T39"/>
                          </a:cxn>
                          <a:cxn ang="T90">
                            <a:pos x="T40" y="T41"/>
                          </a:cxn>
                          <a:cxn ang="T91">
                            <a:pos x="T42" y="T43"/>
                          </a:cxn>
                          <a:cxn ang="T92">
                            <a:pos x="T44" y="T45"/>
                          </a:cxn>
                          <a:cxn ang="T93">
                            <a:pos x="T46" y="T47"/>
                          </a:cxn>
                          <a:cxn ang="T94">
                            <a:pos x="T48" y="T49"/>
                          </a:cxn>
                          <a:cxn ang="T95">
                            <a:pos x="T50" y="T51"/>
                          </a:cxn>
                          <a:cxn ang="T96">
                            <a:pos x="T52" y="T53"/>
                          </a:cxn>
                          <a:cxn ang="T97">
                            <a:pos x="T54" y="T55"/>
                          </a:cxn>
                          <a:cxn ang="T98">
                            <a:pos x="T56" y="T57"/>
                          </a:cxn>
                          <a:cxn ang="T99">
                            <a:pos x="T58" y="T59"/>
                          </a:cxn>
                          <a:cxn ang="T100">
                            <a:pos x="T60" y="T61"/>
                          </a:cxn>
                          <a:cxn ang="T101">
                            <a:pos x="T62" y="T63"/>
                          </a:cxn>
                          <a:cxn ang="T102">
                            <a:pos x="T64" y="T65"/>
                          </a:cxn>
                          <a:cxn ang="T103">
                            <a:pos x="T66" y="T67"/>
                          </a:cxn>
                          <a:cxn ang="T104">
                            <a:pos x="T68" y="T69"/>
                          </a:cxn>
                        </a:cxnLst>
                        <a:rect l="T105" t="T106" r="T107" b="T108"/>
                        <a:pathLst>
                          <a:path w="236" h="228">
                            <a:moveTo>
                              <a:pt x="0" y="125"/>
                            </a:moveTo>
                            <a:lnTo>
                              <a:pt x="9" y="129"/>
                            </a:lnTo>
                            <a:lnTo>
                              <a:pt x="22" y="134"/>
                            </a:lnTo>
                            <a:lnTo>
                              <a:pt x="76" y="129"/>
                            </a:lnTo>
                            <a:lnTo>
                              <a:pt x="80" y="107"/>
                            </a:lnTo>
                            <a:lnTo>
                              <a:pt x="84" y="98"/>
                            </a:lnTo>
                            <a:lnTo>
                              <a:pt x="98" y="98"/>
                            </a:lnTo>
                            <a:lnTo>
                              <a:pt x="107" y="89"/>
                            </a:lnTo>
                            <a:lnTo>
                              <a:pt x="116" y="94"/>
                            </a:lnTo>
                            <a:lnTo>
                              <a:pt x="120" y="89"/>
                            </a:lnTo>
                            <a:lnTo>
                              <a:pt x="120" y="76"/>
                            </a:lnTo>
                            <a:lnTo>
                              <a:pt x="120" y="71"/>
                            </a:lnTo>
                            <a:lnTo>
                              <a:pt x="134" y="62"/>
                            </a:lnTo>
                            <a:lnTo>
                              <a:pt x="129" y="53"/>
                            </a:lnTo>
                            <a:lnTo>
                              <a:pt x="143" y="49"/>
                            </a:lnTo>
                            <a:lnTo>
                              <a:pt x="151" y="31"/>
                            </a:lnTo>
                            <a:lnTo>
                              <a:pt x="147" y="22"/>
                            </a:lnTo>
                            <a:lnTo>
                              <a:pt x="151" y="13"/>
                            </a:lnTo>
                            <a:lnTo>
                              <a:pt x="169" y="4"/>
                            </a:lnTo>
                            <a:lnTo>
                              <a:pt x="192" y="0"/>
                            </a:lnTo>
                            <a:lnTo>
                              <a:pt x="196" y="0"/>
                            </a:lnTo>
                            <a:lnTo>
                              <a:pt x="214" y="0"/>
                            </a:lnTo>
                            <a:lnTo>
                              <a:pt x="223" y="13"/>
                            </a:lnTo>
                            <a:lnTo>
                              <a:pt x="236" y="9"/>
                            </a:lnTo>
                            <a:lnTo>
                              <a:pt x="232" y="40"/>
                            </a:lnTo>
                            <a:lnTo>
                              <a:pt x="218" y="36"/>
                            </a:lnTo>
                            <a:lnTo>
                              <a:pt x="187" y="36"/>
                            </a:lnTo>
                            <a:lnTo>
                              <a:pt x="183" y="53"/>
                            </a:lnTo>
                            <a:lnTo>
                              <a:pt x="187" y="67"/>
                            </a:lnTo>
                            <a:lnTo>
                              <a:pt x="210" y="80"/>
                            </a:lnTo>
                            <a:lnTo>
                              <a:pt x="201" y="94"/>
                            </a:lnTo>
                            <a:lnTo>
                              <a:pt x="192" y="112"/>
                            </a:lnTo>
                            <a:lnTo>
                              <a:pt x="183" y="134"/>
                            </a:lnTo>
                            <a:lnTo>
                              <a:pt x="165" y="143"/>
                            </a:lnTo>
                            <a:lnTo>
                              <a:pt x="160" y="152"/>
                            </a:lnTo>
                            <a:lnTo>
                              <a:pt x="143" y="161"/>
                            </a:lnTo>
                            <a:lnTo>
                              <a:pt x="134" y="156"/>
                            </a:lnTo>
                            <a:lnTo>
                              <a:pt x="125" y="170"/>
                            </a:lnTo>
                            <a:lnTo>
                              <a:pt x="120" y="179"/>
                            </a:lnTo>
                            <a:lnTo>
                              <a:pt x="134" y="179"/>
                            </a:lnTo>
                            <a:lnTo>
                              <a:pt x="129" y="187"/>
                            </a:lnTo>
                            <a:lnTo>
                              <a:pt x="143" y="192"/>
                            </a:lnTo>
                            <a:lnTo>
                              <a:pt x="151" y="214"/>
                            </a:lnTo>
                            <a:lnTo>
                              <a:pt x="138" y="214"/>
                            </a:lnTo>
                            <a:lnTo>
                              <a:pt x="111" y="219"/>
                            </a:lnTo>
                            <a:lnTo>
                              <a:pt x="107" y="228"/>
                            </a:lnTo>
                            <a:lnTo>
                              <a:pt x="89" y="219"/>
                            </a:lnTo>
                            <a:lnTo>
                              <a:pt x="89" y="205"/>
                            </a:lnTo>
                            <a:lnTo>
                              <a:pt x="84" y="205"/>
                            </a:lnTo>
                            <a:lnTo>
                              <a:pt x="84" y="201"/>
                            </a:lnTo>
                            <a:lnTo>
                              <a:pt x="80" y="196"/>
                            </a:lnTo>
                            <a:lnTo>
                              <a:pt x="67" y="192"/>
                            </a:lnTo>
                            <a:lnTo>
                              <a:pt x="53" y="201"/>
                            </a:lnTo>
                            <a:lnTo>
                              <a:pt x="49" y="196"/>
                            </a:lnTo>
                            <a:lnTo>
                              <a:pt x="40" y="196"/>
                            </a:lnTo>
                            <a:lnTo>
                              <a:pt x="40" y="201"/>
                            </a:lnTo>
                            <a:lnTo>
                              <a:pt x="26" y="196"/>
                            </a:lnTo>
                            <a:lnTo>
                              <a:pt x="22" y="201"/>
                            </a:lnTo>
                            <a:lnTo>
                              <a:pt x="13" y="201"/>
                            </a:lnTo>
                            <a:lnTo>
                              <a:pt x="13" y="196"/>
                            </a:lnTo>
                            <a:lnTo>
                              <a:pt x="13" y="187"/>
                            </a:lnTo>
                            <a:lnTo>
                              <a:pt x="22" y="179"/>
                            </a:lnTo>
                            <a:lnTo>
                              <a:pt x="35" y="174"/>
                            </a:lnTo>
                            <a:lnTo>
                              <a:pt x="35" y="165"/>
                            </a:lnTo>
                            <a:lnTo>
                              <a:pt x="26" y="165"/>
                            </a:lnTo>
                            <a:lnTo>
                              <a:pt x="26" y="152"/>
                            </a:lnTo>
                            <a:lnTo>
                              <a:pt x="13" y="147"/>
                            </a:lnTo>
                            <a:lnTo>
                              <a:pt x="0" y="129"/>
                            </a:lnTo>
                            <a:lnTo>
                              <a:pt x="0" y="125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6" name="Freeform 156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4361" y="2368"/>
                        <a:ext cx="127" cy="195"/>
                      </a:xfrm>
                      <a:custGeom>
                        <a:avLst/>
                        <a:gdLst>
                          <a:gd name="T0" fmla="*/ 9 w 134"/>
                          <a:gd name="T1" fmla="*/ 25 h 206"/>
                          <a:gd name="T2" fmla="*/ 9 w 134"/>
                          <a:gd name="T3" fmla="*/ 29 h 206"/>
                          <a:gd name="T4" fmla="*/ 9 w 134"/>
                          <a:gd name="T5" fmla="*/ 28 h 206"/>
                          <a:gd name="T6" fmla="*/ 9 w 134"/>
                          <a:gd name="T7" fmla="*/ 23 h 206"/>
                          <a:gd name="T8" fmla="*/ 9 w 134"/>
                          <a:gd name="T9" fmla="*/ 40 h 206"/>
                          <a:gd name="T10" fmla="*/ 9 w 134"/>
                          <a:gd name="T11" fmla="*/ 39 h 206"/>
                          <a:gd name="T12" fmla="*/ 11 w 134"/>
                          <a:gd name="T13" fmla="*/ 22 h 206"/>
                          <a:gd name="T14" fmla="*/ 11 w 134"/>
                          <a:gd name="T15" fmla="*/ 18 h 206"/>
                          <a:gd name="T16" fmla="*/ 9 w 134"/>
                          <a:gd name="T17" fmla="*/ 9 h 206"/>
                          <a:gd name="T18" fmla="*/ 9 w 134"/>
                          <a:gd name="T19" fmla="*/ 12 h 206"/>
                          <a:gd name="T20" fmla="*/ 11 w 134"/>
                          <a:gd name="T21" fmla="*/ 17 h 206"/>
                          <a:gd name="T22" fmla="*/ 16 w 134"/>
                          <a:gd name="T23" fmla="*/ 16 h 206"/>
                          <a:gd name="T24" fmla="*/ 21 w 134"/>
                          <a:gd name="T25" fmla="*/ 19 h 206"/>
                          <a:gd name="T26" fmla="*/ 21 w 134"/>
                          <a:gd name="T27" fmla="*/ 17 h 206"/>
                          <a:gd name="T28" fmla="*/ 21 w 134"/>
                          <a:gd name="T29" fmla="*/ 16 h 206"/>
                          <a:gd name="T30" fmla="*/ 19 w 134"/>
                          <a:gd name="T31" fmla="*/ 16 h 206"/>
                          <a:gd name="T32" fmla="*/ 14 w 134"/>
                          <a:gd name="T33" fmla="*/ 13 h 206"/>
                          <a:gd name="T34" fmla="*/ 15 w 134"/>
                          <a:gd name="T35" fmla="*/ 16 h 206"/>
                          <a:gd name="T36" fmla="*/ 12 w 134"/>
                          <a:gd name="T37" fmla="*/ 9 h 206"/>
                          <a:gd name="T38" fmla="*/ 14 w 134"/>
                          <a:gd name="T39" fmla="*/ 9 h 206"/>
                          <a:gd name="T40" fmla="*/ 16 w 134"/>
                          <a:gd name="T41" fmla="*/ 9 h 206"/>
                          <a:gd name="T42" fmla="*/ 11 w 134"/>
                          <a:gd name="T43" fmla="*/ 5 h 206"/>
                          <a:gd name="T44" fmla="*/ 9 w 134"/>
                          <a:gd name="T45" fmla="*/ 9 h 206"/>
                          <a:gd name="T46" fmla="*/ 14 w 134"/>
                          <a:gd name="T47" fmla="*/ 26 h 206"/>
                          <a:gd name="T48" fmla="*/ 18 w 134"/>
                          <a:gd name="T49" fmla="*/ 23 h 206"/>
                          <a:gd name="T50" fmla="*/ 15 w 134"/>
                          <a:gd name="T51" fmla="*/ 22 h 206"/>
                          <a:gd name="T52" fmla="*/ 19 w 134"/>
                          <a:gd name="T53" fmla="*/ 23 h 206"/>
                          <a:gd name="T54" fmla="*/ 21 w 134"/>
                          <a:gd name="T55" fmla="*/ 22 h 206"/>
                          <a:gd name="T56" fmla="*/ 18 w 134"/>
                          <a:gd name="T57" fmla="*/ 21 h 206"/>
                          <a:gd name="T58" fmla="*/ 19 w 134"/>
                          <a:gd name="T59" fmla="*/ 30 h 206"/>
                          <a:gd name="T60" fmla="*/ 15 w 134"/>
                          <a:gd name="T61" fmla="*/ 31 h 206"/>
                          <a:gd name="T62" fmla="*/ 14 w 134"/>
                          <a:gd name="T63" fmla="*/ 37 h 206"/>
                          <a:gd name="T64" fmla="*/ 16 w 134"/>
                          <a:gd name="T65" fmla="*/ 33 h 206"/>
                          <a:gd name="T66" fmla="*/ 19 w 134"/>
                          <a:gd name="T67" fmla="*/ 34 h 206"/>
                          <a:gd name="T68" fmla="*/ 21 w 134"/>
                          <a:gd name="T69" fmla="*/ 34 h 206"/>
                          <a:gd name="T70" fmla="*/ 24 w 134"/>
                          <a:gd name="T71" fmla="*/ 38 h 206"/>
                          <a:gd name="T72" fmla="*/ 25 w 134"/>
                          <a:gd name="T73" fmla="*/ 36 h 206"/>
                          <a:gd name="T74" fmla="*/ 24 w 134"/>
                          <a:gd name="T75" fmla="*/ 33 h 206"/>
                          <a:gd name="T76" fmla="*/ 26 w 134"/>
                          <a:gd name="T77" fmla="*/ 33 h 206"/>
                          <a:gd name="T78" fmla="*/ 26 w 134"/>
                          <a:gd name="T79" fmla="*/ 27 h 206"/>
                          <a:gd name="T80" fmla="*/ 25 w 134"/>
                          <a:gd name="T81" fmla="*/ 26 h 206"/>
                          <a:gd name="T82" fmla="*/ 24 w 134"/>
                          <a:gd name="T83" fmla="*/ 29 h 206"/>
                          <a:gd name="T84" fmla="*/ 21 w 134"/>
                          <a:gd name="T85" fmla="*/ 29 h 206"/>
                          <a:gd name="T86" fmla="*/ 18 w 134"/>
                          <a:gd name="T87" fmla="*/ 24 h 206"/>
                          <a:gd name="T88" fmla="*/ 15 w 134"/>
                          <a:gd name="T89" fmla="*/ 27 h 206"/>
                          <a:gd name="T90" fmla="*/ 18 w 134"/>
                          <a:gd name="T91" fmla="*/ 29 h 206"/>
                          <a:gd name="T92" fmla="*/ 20 w 134"/>
                          <a:gd name="T93" fmla="*/ 25 h 206"/>
                          <a:gd name="T94" fmla="*/ 19 w 134"/>
                          <a:gd name="T95" fmla="*/ 27 h 206"/>
                          <a:gd name="T96" fmla="*/ 21 w 134"/>
                          <a:gd name="T97" fmla="*/ 23 h 206"/>
                          <a:gd name="T98" fmla="*/ 21 w 134"/>
                          <a:gd name="T99" fmla="*/ 25 h 206"/>
                          <a:gd name="T100" fmla="*/ 24 w 134"/>
                          <a:gd name="T101" fmla="*/ 27 h 206"/>
                          <a:gd name="T102" fmla="*/ 24 w 134"/>
                          <a:gd name="T103" fmla="*/ 24 h 206"/>
                          <a:gd name="T104" fmla="*/ 21 w 134"/>
                          <a:gd name="T105" fmla="*/ 23 h 206"/>
                          <a:gd name="T106" fmla="*/ 23 w 134"/>
                          <a:gd name="T107" fmla="*/ 23 h 206"/>
                          <a:gd name="T108" fmla="*/ 25 w 134"/>
                          <a:gd name="T109" fmla="*/ 24 h 206"/>
                          <a:gd name="T110" fmla="*/ 21 w 134"/>
                          <a:gd name="T111" fmla="*/ 21 h 206"/>
                          <a:gd name="T112" fmla="*/ 20 w 134"/>
                          <a:gd name="T113" fmla="*/ 27 h 20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w 134"/>
                          <a:gd name="T172" fmla="*/ 0 h 206"/>
                          <a:gd name="T173" fmla="*/ 134 w 134"/>
                          <a:gd name="T174" fmla="*/ 206 h 206"/>
                        </a:gdLst>
                        <a:ahLst/>
                        <a:cxnLst>
                          <a:cxn ang="T114">
                            <a:pos x="T0" y="T1"/>
                          </a:cxn>
                          <a:cxn ang="T115">
                            <a:pos x="T2" y="T3"/>
                          </a:cxn>
                          <a:cxn ang="T116">
                            <a:pos x="T4" y="T5"/>
                          </a:cxn>
                          <a:cxn ang="T117">
                            <a:pos x="T6" y="T7"/>
                          </a:cxn>
                          <a:cxn ang="T118">
                            <a:pos x="T8" y="T9"/>
                          </a:cxn>
                          <a:cxn ang="T119">
                            <a:pos x="T10" y="T11"/>
                          </a:cxn>
                          <a:cxn ang="T120">
                            <a:pos x="T12" y="T13"/>
                          </a:cxn>
                          <a:cxn ang="T121">
                            <a:pos x="T14" y="T15"/>
                          </a:cxn>
                          <a:cxn ang="T122">
                            <a:pos x="T16" y="T17"/>
                          </a:cxn>
                          <a:cxn ang="T123">
                            <a:pos x="T18" y="T19"/>
                          </a:cxn>
                          <a:cxn ang="T124">
                            <a:pos x="T20" y="T21"/>
                          </a:cxn>
                          <a:cxn ang="T125">
                            <a:pos x="T22" y="T23"/>
                          </a:cxn>
                          <a:cxn ang="T126">
                            <a:pos x="T24" y="T25"/>
                          </a:cxn>
                          <a:cxn ang="T127">
                            <a:pos x="T26" y="T27"/>
                          </a:cxn>
                          <a:cxn ang="T128">
                            <a:pos x="T28" y="T29"/>
                          </a:cxn>
                          <a:cxn ang="T129">
                            <a:pos x="T30" y="T31"/>
                          </a:cxn>
                          <a:cxn ang="T130">
                            <a:pos x="T32" y="T33"/>
                          </a:cxn>
                          <a:cxn ang="T131">
                            <a:pos x="T34" y="T35"/>
                          </a:cxn>
                          <a:cxn ang="T132">
                            <a:pos x="T36" y="T37"/>
                          </a:cxn>
                          <a:cxn ang="T133">
                            <a:pos x="T38" y="T39"/>
                          </a:cxn>
                          <a:cxn ang="T134">
                            <a:pos x="T40" y="T41"/>
                          </a:cxn>
                          <a:cxn ang="T135">
                            <a:pos x="T42" y="T43"/>
                          </a:cxn>
                          <a:cxn ang="T136">
                            <a:pos x="T44" y="T45"/>
                          </a:cxn>
                          <a:cxn ang="T137">
                            <a:pos x="T46" y="T47"/>
                          </a:cxn>
                          <a:cxn ang="T138">
                            <a:pos x="T48" y="T49"/>
                          </a:cxn>
                          <a:cxn ang="T139">
                            <a:pos x="T50" y="T51"/>
                          </a:cxn>
                          <a:cxn ang="T140">
                            <a:pos x="T52" y="T53"/>
                          </a:cxn>
                          <a:cxn ang="T141">
                            <a:pos x="T54" y="T55"/>
                          </a:cxn>
                          <a:cxn ang="T142">
                            <a:pos x="T56" y="T57"/>
                          </a:cxn>
                          <a:cxn ang="T143">
                            <a:pos x="T58" y="T59"/>
                          </a:cxn>
                          <a:cxn ang="T144">
                            <a:pos x="T60" y="T61"/>
                          </a:cxn>
                          <a:cxn ang="T145">
                            <a:pos x="T62" y="T63"/>
                          </a:cxn>
                          <a:cxn ang="T146">
                            <a:pos x="T64" y="T65"/>
                          </a:cxn>
                          <a:cxn ang="T147">
                            <a:pos x="T66" y="T67"/>
                          </a:cxn>
                          <a:cxn ang="T148">
                            <a:pos x="T68" y="T69"/>
                          </a:cxn>
                          <a:cxn ang="T149">
                            <a:pos x="T70" y="T71"/>
                          </a:cxn>
                          <a:cxn ang="T150">
                            <a:pos x="T72" y="T73"/>
                          </a:cxn>
                          <a:cxn ang="T151">
                            <a:pos x="T74" y="T75"/>
                          </a:cxn>
                          <a:cxn ang="T152">
                            <a:pos x="T76" y="T77"/>
                          </a:cxn>
                          <a:cxn ang="T153">
                            <a:pos x="T78" y="T79"/>
                          </a:cxn>
                          <a:cxn ang="T154">
                            <a:pos x="T80" y="T81"/>
                          </a:cxn>
                          <a:cxn ang="T155">
                            <a:pos x="T82" y="T83"/>
                          </a:cxn>
                          <a:cxn ang="T156">
                            <a:pos x="T84" y="T85"/>
                          </a:cxn>
                          <a:cxn ang="T157">
                            <a:pos x="T86" y="T87"/>
                          </a:cxn>
                          <a:cxn ang="T158">
                            <a:pos x="T88" y="T89"/>
                          </a:cxn>
                          <a:cxn ang="T159">
                            <a:pos x="T90" y="T91"/>
                          </a:cxn>
                          <a:cxn ang="T160">
                            <a:pos x="T92" y="T93"/>
                          </a:cxn>
                          <a:cxn ang="T161">
                            <a:pos x="T94" y="T95"/>
                          </a:cxn>
                          <a:cxn ang="T162">
                            <a:pos x="T96" y="T97"/>
                          </a:cxn>
                          <a:cxn ang="T163">
                            <a:pos x="T98" y="T99"/>
                          </a:cxn>
                          <a:cxn ang="T164">
                            <a:pos x="T100" y="T101"/>
                          </a:cxn>
                          <a:cxn ang="T165">
                            <a:pos x="T102" y="T103"/>
                          </a:cxn>
                          <a:cxn ang="T166">
                            <a:pos x="T104" y="T105"/>
                          </a:cxn>
                          <a:cxn ang="T167">
                            <a:pos x="T106" y="T107"/>
                          </a:cxn>
                          <a:cxn ang="T168">
                            <a:pos x="T108" y="T109"/>
                          </a:cxn>
                          <a:cxn ang="T169">
                            <a:pos x="T110" y="T111"/>
                          </a:cxn>
                          <a:cxn ang="T170">
                            <a:pos x="T112" y="T113"/>
                          </a:cxn>
                        </a:cxnLst>
                        <a:rect l="T171" t="T172" r="T173" b="T174"/>
                        <a:pathLst>
                          <a:path w="134" h="206">
                            <a:moveTo>
                              <a:pt x="40" y="116"/>
                            </a:moveTo>
                            <a:lnTo>
                              <a:pt x="35" y="125"/>
                            </a:lnTo>
                            <a:lnTo>
                              <a:pt x="31" y="125"/>
                            </a:lnTo>
                            <a:lnTo>
                              <a:pt x="26" y="134"/>
                            </a:lnTo>
                            <a:lnTo>
                              <a:pt x="22" y="134"/>
                            </a:lnTo>
                            <a:lnTo>
                              <a:pt x="9" y="152"/>
                            </a:lnTo>
                            <a:lnTo>
                              <a:pt x="0" y="161"/>
                            </a:lnTo>
                            <a:lnTo>
                              <a:pt x="9" y="157"/>
                            </a:lnTo>
                            <a:lnTo>
                              <a:pt x="17" y="148"/>
                            </a:lnTo>
                            <a:lnTo>
                              <a:pt x="26" y="152"/>
                            </a:lnTo>
                            <a:lnTo>
                              <a:pt x="40" y="130"/>
                            </a:lnTo>
                            <a:lnTo>
                              <a:pt x="40" y="116"/>
                            </a:lnTo>
                            <a:close/>
                            <a:moveTo>
                              <a:pt x="40" y="201"/>
                            </a:moveTo>
                            <a:lnTo>
                              <a:pt x="40" y="206"/>
                            </a:lnTo>
                            <a:lnTo>
                              <a:pt x="44" y="206"/>
                            </a:lnTo>
                            <a:lnTo>
                              <a:pt x="49" y="201"/>
                            </a:lnTo>
                            <a:lnTo>
                              <a:pt x="40" y="201"/>
                            </a:lnTo>
                            <a:close/>
                            <a:moveTo>
                              <a:pt x="44" y="85"/>
                            </a:moveTo>
                            <a:lnTo>
                              <a:pt x="53" y="90"/>
                            </a:lnTo>
                            <a:lnTo>
                              <a:pt x="58" y="107"/>
                            </a:lnTo>
                            <a:lnTo>
                              <a:pt x="62" y="103"/>
                            </a:lnTo>
                            <a:lnTo>
                              <a:pt x="62" y="90"/>
                            </a:lnTo>
                            <a:lnTo>
                              <a:pt x="58" y="85"/>
                            </a:lnTo>
                            <a:lnTo>
                              <a:pt x="44" y="85"/>
                            </a:lnTo>
                            <a:close/>
                            <a:moveTo>
                              <a:pt x="49" y="49"/>
                            </a:moveTo>
                            <a:lnTo>
                              <a:pt x="40" y="40"/>
                            </a:lnTo>
                            <a:lnTo>
                              <a:pt x="35" y="49"/>
                            </a:lnTo>
                            <a:lnTo>
                              <a:pt x="40" y="67"/>
                            </a:lnTo>
                            <a:lnTo>
                              <a:pt x="49" y="63"/>
                            </a:lnTo>
                            <a:lnTo>
                              <a:pt x="53" y="72"/>
                            </a:lnTo>
                            <a:lnTo>
                              <a:pt x="49" y="76"/>
                            </a:lnTo>
                            <a:lnTo>
                              <a:pt x="58" y="81"/>
                            </a:lnTo>
                            <a:lnTo>
                              <a:pt x="67" y="76"/>
                            </a:lnTo>
                            <a:lnTo>
                              <a:pt x="80" y="90"/>
                            </a:lnTo>
                            <a:lnTo>
                              <a:pt x="76" y="76"/>
                            </a:lnTo>
                            <a:lnTo>
                              <a:pt x="89" y="90"/>
                            </a:lnTo>
                            <a:lnTo>
                              <a:pt x="102" y="103"/>
                            </a:lnTo>
                            <a:lnTo>
                              <a:pt x="102" y="90"/>
                            </a:lnTo>
                            <a:lnTo>
                              <a:pt x="98" y="90"/>
                            </a:lnTo>
                            <a:lnTo>
                              <a:pt x="93" y="81"/>
                            </a:lnTo>
                            <a:lnTo>
                              <a:pt x="102" y="81"/>
                            </a:lnTo>
                            <a:lnTo>
                              <a:pt x="102" y="85"/>
                            </a:lnTo>
                            <a:lnTo>
                              <a:pt x="102" y="76"/>
                            </a:lnTo>
                            <a:lnTo>
                              <a:pt x="102" y="81"/>
                            </a:lnTo>
                            <a:lnTo>
                              <a:pt x="93" y="81"/>
                            </a:lnTo>
                            <a:lnTo>
                              <a:pt x="89" y="76"/>
                            </a:lnTo>
                            <a:lnTo>
                              <a:pt x="76" y="72"/>
                            </a:lnTo>
                            <a:lnTo>
                              <a:pt x="71" y="72"/>
                            </a:lnTo>
                            <a:lnTo>
                              <a:pt x="67" y="67"/>
                            </a:lnTo>
                            <a:lnTo>
                              <a:pt x="71" y="58"/>
                            </a:lnTo>
                            <a:lnTo>
                              <a:pt x="67" y="63"/>
                            </a:lnTo>
                            <a:lnTo>
                              <a:pt x="71" y="76"/>
                            </a:lnTo>
                            <a:lnTo>
                              <a:pt x="62" y="72"/>
                            </a:lnTo>
                            <a:lnTo>
                              <a:pt x="58" y="58"/>
                            </a:lnTo>
                            <a:lnTo>
                              <a:pt x="62" y="54"/>
                            </a:lnTo>
                            <a:lnTo>
                              <a:pt x="62" y="49"/>
                            </a:lnTo>
                            <a:lnTo>
                              <a:pt x="67" y="45"/>
                            </a:lnTo>
                            <a:lnTo>
                              <a:pt x="67" y="36"/>
                            </a:lnTo>
                            <a:lnTo>
                              <a:pt x="76" y="23"/>
                            </a:lnTo>
                            <a:lnTo>
                              <a:pt x="71" y="14"/>
                            </a:lnTo>
                            <a:lnTo>
                              <a:pt x="76" y="9"/>
                            </a:lnTo>
                            <a:lnTo>
                              <a:pt x="71" y="0"/>
                            </a:lnTo>
                            <a:lnTo>
                              <a:pt x="67" y="9"/>
                            </a:lnTo>
                            <a:lnTo>
                              <a:pt x="58" y="5"/>
                            </a:lnTo>
                            <a:lnTo>
                              <a:pt x="49" y="0"/>
                            </a:lnTo>
                            <a:lnTo>
                              <a:pt x="44" y="36"/>
                            </a:lnTo>
                            <a:lnTo>
                              <a:pt x="49" y="49"/>
                            </a:lnTo>
                            <a:close/>
                            <a:moveTo>
                              <a:pt x="67" y="112"/>
                            </a:moveTo>
                            <a:lnTo>
                              <a:pt x="71" y="112"/>
                            </a:lnTo>
                            <a:lnTo>
                              <a:pt x="67" y="134"/>
                            </a:lnTo>
                            <a:lnTo>
                              <a:pt x="76" y="125"/>
                            </a:lnTo>
                            <a:lnTo>
                              <a:pt x="84" y="121"/>
                            </a:lnTo>
                            <a:lnTo>
                              <a:pt x="84" y="112"/>
                            </a:lnTo>
                            <a:lnTo>
                              <a:pt x="80" y="116"/>
                            </a:lnTo>
                            <a:lnTo>
                              <a:pt x="76" y="112"/>
                            </a:lnTo>
                            <a:lnTo>
                              <a:pt x="71" y="107"/>
                            </a:lnTo>
                            <a:lnTo>
                              <a:pt x="67" y="112"/>
                            </a:lnTo>
                            <a:close/>
                            <a:moveTo>
                              <a:pt x="84" y="103"/>
                            </a:moveTo>
                            <a:lnTo>
                              <a:pt x="89" y="112"/>
                            </a:lnTo>
                            <a:lnTo>
                              <a:pt x="93" y="107"/>
                            </a:lnTo>
                            <a:lnTo>
                              <a:pt x="98" y="112"/>
                            </a:lnTo>
                            <a:lnTo>
                              <a:pt x="98" y="107"/>
                            </a:lnTo>
                            <a:lnTo>
                              <a:pt x="93" y="99"/>
                            </a:lnTo>
                            <a:lnTo>
                              <a:pt x="93" y="103"/>
                            </a:lnTo>
                            <a:lnTo>
                              <a:pt x="84" y="103"/>
                            </a:lnTo>
                            <a:close/>
                            <a:moveTo>
                              <a:pt x="93" y="166"/>
                            </a:moveTo>
                            <a:lnTo>
                              <a:pt x="93" y="157"/>
                            </a:lnTo>
                            <a:lnTo>
                              <a:pt x="89" y="157"/>
                            </a:lnTo>
                            <a:lnTo>
                              <a:pt x="80" y="157"/>
                            </a:lnTo>
                            <a:lnTo>
                              <a:pt x="80" y="161"/>
                            </a:lnTo>
                            <a:lnTo>
                              <a:pt x="71" y="161"/>
                            </a:lnTo>
                            <a:lnTo>
                              <a:pt x="67" y="174"/>
                            </a:lnTo>
                            <a:lnTo>
                              <a:pt x="62" y="183"/>
                            </a:lnTo>
                            <a:lnTo>
                              <a:pt x="67" y="188"/>
                            </a:lnTo>
                            <a:lnTo>
                              <a:pt x="71" y="183"/>
                            </a:lnTo>
                            <a:lnTo>
                              <a:pt x="67" y="179"/>
                            </a:lnTo>
                            <a:lnTo>
                              <a:pt x="76" y="170"/>
                            </a:lnTo>
                            <a:lnTo>
                              <a:pt x="76" y="174"/>
                            </a:lnTo>
                            <a:lnTo>
                              <a:pt x="80" y="170"/>
                            </a:lnTo>
                            <a:lnTo>
                              <a:pt x="89" y="174"/>
                            </a:lnTo>
                            <a:lnTo>
                              <a:pt x="89" y="166"/>
                            </a:lnTo>
                            <a:lnTo>
                              <a:pt x="98" y="166"/>
                            </a:lnTo>
                            <a:lnTo>
                              <a:pt x="102" y="174"/>
                            </a:lnTo>
                            <a:lnTo>
                              <a:pt x="98" y="183"/>
                            </a:lnTo>
                            <a:lnTo>
                              <a:pt x="111" y="197"/>
                            </a:lnTo>
                            <a:lnTo>
                              <a:pt x="116" y="192"/>
                            </a:lnTo>
                            <a:lnTo>
                              <a:pt x="120" y="201"/>
                            </a:lnTo>
                            <a:lnTo>
                              <a:pt x="125" y="197"/>
                            </a:lnTo>
                            <a:lnTo>
                              <a:pt x="125" y="183"/>
                            </a:lnTo>
                            <a:lnTo>
                              <a:pt x="116" y="179"/>
                            </a:lnTo>
                            <a:lnTo>
                              <a:pt x="125" y="179"/>
                            </a:lnTo>
                            <a:lnTo>
                              <a:pt x="120" y="170"/>
                            </a:lnTo>
                            <a:lnTo>
                              <a:pt x="125" y="170"/>
                            </a:lnTo>
                            <a:lnTo>
                              <a:pt x="129" y="192"/>
                            </a:lnTo>
                            <a:lnTo>
                              <a:pt x="134" y="170"/>
                            </a:lnTo>
                            <a:lnTo>
                              <a:pt x="134" y="152"/>
                            </a:lnTo>
                            <a:lnTo>
                              <a:pt x="129" y="148"/>
                            </a:lnTo>
                            <a:lnTo>
                              <a:pt x="129" y="139"/>
                            </a:lnTo>
                            <a:lnTo>
                              <a:pt x="125" y="143"/>
                            </a:lnTo>
                            <a:lnTo>
                              <a:pt x="125" y="134"/>
                            </a:lnTo>
                            <a:lnTo>
                              <a:pt x="120" y="152"/>
                            </a:lnTo>
                            <a:lnTo>
                              <a:pt x="116" y="152"/>
                            </a:lnTo>
                            <a:lnTo>
                              <a:pt x="111" y="148"/>
                            </a:lnTo>
                            <a:lnTo>
                              <a:pt x="111" y="157"/>
                            </a:lnTo>
                            <a:lnTo>
                              <a:pt x="102" y="152"/>
                            </a:lnTo>
                            <a:lnTo>
                              <a:pt x="93" y="166"/>
                            </a:lnTo>
                            <a:close/>
                            <a:moveTo>
                              <a:pt x="93" y="125"/>
                            </a:moveTo>
                            <a:lnTo>
                              <a:pt x="84" y="121"/>
                            </a:lnTo>
                            <a:lnTo>
                              <a:pt x="80" y="125"/>
                            </a:lnTo>
                            <a:lnTo>
                              <a:pt x="80" y="130"/>
                            </a:lnTo>
                            <a:lnTo>
                              <a:pt x="71" y="139"/>
                            </a:lnTo>
                            <a:lnTo>
                              <a:pt x="76" y="148"/>
                            </a:lnTo>
                            <a:lnTo>
                              <a:pt x="80" y="148"/>
                            </a:lnTo>
                            <a:lnTo>
                              <a:pt x="84" y="152"/>
                            </a:lnTo>
                            <a:lnTo>
                              <a:pt x="89" y="148"/>
                            </a:lnTo>
                            <a:lnTo>
                              <a:pt x="84" y="139"/>
                            </a:lnTo>
                            <a:lnTo>
                              <a:pt x="93" y="125"/>
                            </a:lnTo>
                            <a:close/>
                            <a:moveTo>
                              <a:pt x="98" y="116"/>
                            </a:moveTo>
                            <a:lnTo>
                              <a:pt x="93" y="130"/>
                            </a:lnTo>
                            <a:lnTo>
                              <a:pt x="89" y="139"/>
                            </a:lnTo>
                            <a:lnTo>
                              <a:pt x="89" y="148"/>
                            </a:lnTo>
                            <a:lnTo>
                              <a:pt x="98" y="125"/>
                            </a:lnTo>
                            <a:lnTo>
                              <a:pt x="98" y="116"/>
                            </a:lnTo>
                            <a:close/>
                            <a:moveTo>
                              <a:pt x="102" y="112"/>
                            </a:moveTo>
                            <a:lnTo>
                              <a:pt x="102" y="116"/>
                            </a:lnTo>
                            <a:lnTo>
                              <a:pt x="102" y="125"/>
                            </a:lnTo>
                            <a:lnTo>
                              <a:pt x="107" y="125"/>
                            </a:lnTo>
                            <a:lnTo>
                              <a:pt x="111" y="139"/>
                            </a:lnTo>
                            <a:lnTo>
                              <a:pt x="120" y="139"/>
                            </a:lnTo>
                            <a:lnTo>
                              <a:pt x="116" y="130"/>
                            </a:lnTo>
                            <a:lnTo>
                              <a:pt x="111" y="121"/>
                            </a:lnTo>
                            <a:lnTo>
                              <a:pt x="116" y="121"/>
                            </a:lnTo>
                            <a:lnTo>
                              <a:pt x="111" y="116"/>
                            </a:lnTo>
                            <a:lnTo>
                              <a:pt x="107" y="116"/>
                            </a:lnTo>
                            <a:lnTo>
                              <a:pt x="102" y="112"/>
                            </a:lnTo>
                            <a:close/>
                            <a:moveTo>
                              <a:pt x="102" y="103"/>
                            </a:moveTo>
                            <a:lnTo>
                              <a:pt x="107" y="107"/>
                            </a:lnTo>
                            <a:lnTo>
                              <a:pt x="111" y="112"/>
                            </a:lnTo>
                            <a:lnTo>
                              <a:pt x="120" y="125"/>
                            </a:lnTo>
                            <a:lnTo>
                              <a:pt x="129" y="125"/>
                            </a:lnTo>
                            <a:lnTo>
                              <a:pt x="125" y="121"/>
                            </a:lnTo>
                            <a:lnTo>
                              <a:pt x="120" y="107"/>
                            </a:lnTo>
                            <a:lnTo>
                              <a:pt x="116" y="99"/>
                            </a:lnTo>
                            <a:lnTo>
                              <a:pt x="102" y="103"/>
                            </a:lnTo>
                            <a:close/>
                            <a:moveTo>
                              <a:pt x="102" y="134"/>
                            </a:moveTo>
                            <a:lnTo>
                              <a:pt x="98" y="139"/>
                            </a:lnTo>
                            <a:lnTo>
                              <a:pt x="93" y="143"/>
                            </a:lnTo>
                            <a:lnTo>
                              <a:pt x="107" y="143"/>
                            </a:lnTo>
                            <a:lnTo>
                              <a:pt x="102" y="134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7" name="Freeform 157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466" y="2748"/>
                        <a:ext cx="34" cy="22"/>
                      </a:xfrm>
                      <a:custGeom>
                        <a:avLst/>
                        <a:gdLst>
                          <a:gd name="T0" fmla="*/ 0 w 36"/>
                          <a:gd name="T1" fmla="*/ 11 h 23"/>
                          <a:gd name="T2" fmla="*/ 9 w 36"/>
                          <a:gd name="T3" fmla="*/ 0 h 23"/>
                          <a:gd name="T4" fmla="*/ 9 w 36"/>
                          <a:gd name="T5" fmla="*/ 0 h 23"/>
                          <a:gd name="T6" fmla="*/ 5 w 36"/>
                          <a:gd name="T7" fmla="*/ 5 h 23"/>
                          <a:gd name="T8" fmla="*/ 0 w 36"/>
                          <a:gd name="T9" fmla="*/ 11 h 23"/>
                          <a:gd name="T10" fmla="*/ 0 w 36"/>
                          <a:gd name="T11" fmla="*/ 11 h 23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36"/>
                          <a:gd name="T19" fmla="*/ 0 h 23"/>
                          <a:gd name="T20" fmla="*/ 36 w 36"/>
                          <a:gd name="T21" fmla="*/ 23 h 23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36" h="23">
                            <a:moveTo>
                              <a:pt x="0" y="23"/>
                            </a:moveTo>
                            <a:lnTo>
                              <a:pt x="36" y="0"/>
                            </a:lnTo>
                            <a:lnTo>
                              <a:pt x="32" y="0"/>
                            </a:lnTo>
                            <a:lnTo>
                              <a:pt x="5" y="5"/>
                            </a:lnTo>
                            <a:lnTo>
                              <a:pt x="0" y="14"/>
                            </a:lnTo>
                            <a:lnTo>
                              <a:pt x="0" y="23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8" name="Freeform 158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467" y="2255"/>
                        <a:ext cx="12" cy="25"/>
                      </a:xfrm>
                      <a:custGeom>
                        <a:avLst/>
                        <a:gdLst>
                          <a:gd name="T0" fmla="*/ 0 w 13"/>
                          <a:gd name="T1" fmla="*/ 13 h 26"/>
                          <a:gd name="T2" fmla="*/ 6 w 13"/>
                          <a:gd name="T3" fmla="*/ 13 h 26"/>
                          <a:gd name="T4" fmla="*/ 6 w 13"/>
                          <a:gd name="T5" fmla="*/ 13 h 26"/>
                          <a:gd name="T6" fmla="*/ 6 w 13"/>
                          <a:gd name="T7" fmla="*/ 8 h 26"/>
                          <a:gd name="T8" fmla="*/ 6 w 13"/>
                          <a:gd name="T9" fmla="*/ 0 h 26"/>
                          <a:gd name="T10" fmla="*/ 4 w 13"/>
                          <a:gd name="T11" fmla="*/ 0 h 26"/>
                          <a:gd name="T12" fmla="*/ 4 w 13"/>
                          <a:gd name="T13" fmla="*/ 8 h 26"/>
                          <a:gd name="T14" fmla="*/ 0 w 13"/>
                          <a:gd name="T15" fmla="*/ 8 h 26"/>
                          <a:gd name="T16" fmla="*/ 0 w 13"/>
                          <a:gd name="T17" fmla="*/ 13 h 2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13"/>
                          <a:gd name="T28" fmla="*/ 0 h 26"/>
                          <a:gd name="T29" fmla="*/ 13 w 13"/>
                          <a:gd name="T30" fmla="*/ 26 h 26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13" h="26">
                            <a:moveTo>
                              <a:pt x="0" y="22"/>
                            </a:moveTo>
                            <a:lnTo>
                              <a:pt x="9" y="26"/>
                            </a:lnTo>
                            <a:lnTo>
                              <a:pt x="13" y="26"/>
                            </a:lnTo>
                            <a:lnTo>
                              <a:pt x="13" y="8"/>
                            </a:lnTo>
                            <a:lnTo>
                              <a:pt x="9" y="0"/>
                            </a:lnTo>
                            <a:lnTo>
                              <a:pt x="4" y="0"/>
                            </a:lnTo>
                            <a:lnTo>
                              <a:pt x="4" y="8"/>
                            </a:lnTo>
                            <a:lnTo>
                              <a:pt x="0" y="8"/>
                            </a:lnTo>
                            <a:lnTo>
                              <a:pt x="0" y="22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49" name="Freeform 159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3040" y="866"/>
                        <a:ext cx="2312" cy="1144"/>
                      </a:xfrm>
                      <a:custGeom>
                        <a:avLst/>
                        <a:gdLst>
                          <a:gd name="T0" fmla="*/ 9 w 2448"/>
                          <a:gd name="T1" fmla="*/ 165 h 1211"/>
                          <a:gd name="T2" fmla="*/ 26 w 2448"/>
                          <a:gd name="T3" fmla="*/ 138 h 1211"/>
                          <a:gd name="T4" fmla="*/ 28 w 2448"/>
                          <a:gd name="T5" fmla="*/ 114 h 1211"/>
                          <a:gd name="T6" fmla="*/ 30 w 2448"/>
                          <a:gd name="T7" fmla="*/ 77 h 1211"/>
                          <a:gd name="T8" fmla="*/ 54 w 2448"/>
                          <a:gd name="T9" fmla="*/ 91 h 1211"/>
                          <a:gd name="T10" fmla="*/ 40 w 2448"/>
                          <a:gd name="T11" fmla="*/ 111 h 1211"/>
                          <a:gd name="T12" fmla="*/ 57 w 2448"/>
                          <a:gd name="T13" fmla="*/ 105 h 1211"/>
                          <a:gd name="T14" fmla="*/ 70 w 2448"/>
                          <a:gd name="T15" fmla="*/ 98 h 1211"/>
                          <a:gd name="T16" fmla="*/ 104 w 2448"/>
                          <a:gd name="T17" fmla="*/ 86 h 1211"/>
                          <a:gd name="T18" fmla="*/ 126 w 2448"/>
                          <a:gd name="T19" fmla="*/ 65 h 1211"/>
                          <a:gd name="T20" fmla="*/ 136 w 2448"/>
                          <a:gd name="T21" fmla="*/ 103 h 1211"/>
                          <a:gd name="T22" fmla="*/ 143 w 2448"/>
                          <a:gd name="T23" fmla="*/ 58 h 1211"/>
                          <a:gd name="T24" fmla="*/ 157 w 2448"/>
                          <a:gd name="T25" fmla="*/ 58 h 1211"/>
                          <a:gd name="T26" fmla="*/ 174 w 2448"/>
                          <a:gd name="T27" fmla="*/ 31 h 1211"/>
                          <a:gd name="T28" fmla="*/ 222 w 2448"/>
                          <a:gd name="T29" fmla="*/ 9 h 1211"/>
                          <a:gd name="T30" fmla="*/ 236 w 2448"/>
                          <a:gd name="T31" fmla="*/ 43 h 1211"/>
                          <a:gd name="T32" fmla="*/ 282 w 2448"/>
                          <a:gd name="T33" fmla="*/ 63 h 1211"/>
                          <a:gd name="T34" fmla="*/ 329 w 2448"/>
                          <a:gd name="T35" fmla="*/ 57 h 1211"/>
                          <a:gd name="T36" fmla="*/ 371 w 2448"/>
                          <a:gd name="T37" fmla="*/ 79 h 1211"/>
                          <a:gd name="T38" fmla="*/ 428 w 2448"/>
                          <a:gd name="T39" fmla="*/ 97 h 1211"/>
                          <a:gd name="T40" fmla="*/ 416 w 2448"/>
                          <a:gd name="T41" fmla="*/ 108 h 1211"/>
                          <a:gd name="T42" fmla="*/ 377 w 2448"/>
                          <a:gd name="T43" fmla="*/ 143 h 1211"/>
                          <a:gd name="T44" fmla="*/ 361 w 2448"/>
                          <a:gd name="T45" fmla="*/ 174 h 1211"/>
                          <a:gd name="T46" fmla="*/ 371 w 2448"/>
                          <a:gd name="T47" fmla="*/ 131 h 1211"/>
                          <a:gd name="T48" fmla="*/ 333 w 2448"/>
                          <a:gd name="T49" fmla="*/ 143 h 1211"/>
                          <a:gd name="T50" fmla="*/ 310 w 2448"/>
                          <a:gd name="T51" fmla="*/ 199 h 1211"/>
                          <a:gd name="T52" fmla="*/ 296 w 2448"/>
                          <a:gd name="T53" fmla="*/ 195 h 1211"/>
                          <a:gd name="T54" fmla="*/ 263 w 2448"/>
                          <a:gd name="T55" fmla="*/ 179 h 1211"/>
                          <a:gd name="T56" fmla="*/ 206 w 2448"/>
                          <a:gd name="T57" fmla="*/ 179 h 1211"/>
                          <a:gd name="T58" fmla="*/ 168 w 2448"/>
                          <a:gd name="T59" fmla="*/ 187 h 1211"/>
                          <a:gd name="T60" fmla="*/ 144 w 2448"/>
                          <a:gd name="T61" fmla="*/ 169 h 1211"/>
                          <a:gd name="T62" fmla="*/ 126 w 2448"/>
                          <a:gd name="T63" fmla="*/ 166 h 1211"/>
                          <a:gd name="T64" fmla="*/ 107 w 2448"/>
                          <a:gd name="T65" fmla="*/ 175 h 1211"/>
                          <a:gd name="T66" fmla="*/ 95 w 2448"/>
                          <a:gd name="T67" fmla="*/ 181 h 1211"/>
                          <a:gd name="T68" fmla="*/ 78 w 2448"/>
                          <a:gd name="T69" fmla="*/ 184 h 1211"/>
                          <a:gd name="T70" fmla="*/ 76 w 2448"/>
                          <a:gd name="T71" fmla="*/ 199 h 1211"/>
                          <a:gd name="T72" fmla="*/ 74 w 2448"/>
                          <a:gd name="T73" fmla="*/ 221 h 1211"/>
                          <a:gd name="T74" fmla="*/ 58 w 2448"/>
                          <a:gd name="T75" fmla="*/ 212 h 1211"/>
                          <a:gd name="T76" fmla="*/ 49 w 2448"/>
                          <a:gd name="T77" fmla="*/ 199 h 1211"/>
                          <a:gd name="T78" fmla="*/ 47 w 2448"/>
                          <a:gd name="T79" fmla="*/ 186 h 1211"/>
                          <a:gd name="T80" fmla="*/ 30 w 2448"/>
                          <a:gd name="T81" fmla="*/ 174 h 1211"/>
                          <a:gd name="T82" fmla="*/ 25 w 2448"/>
                          <a:gd name="T83" fmla="*/ 160 h 1211"/>
                          <a:gd name="T84" fmla="*/ 34 w 2448"/>
                          <a:gd name="T85" fmla="*/ 138 h 1211"/>
                          <a:gd name="T86" fmla="*/ 77 w 2448"/>
                          <a:gd name="T87" fmla="*/ 81 h 1211"/>
                          <a:gd name="T88" fmla="*/ 128 w 2448"/>
                          <a:gd name="T89" fmla="*/ 13 h 1211"/>
                          <a:gd name="T90" fmla="*/ 95 w 2448"/>
                          <a:gd name="T91" fmla="*/ 35 h 1211"/>
                          <a:gd name="T92" fmla="*/ 96 w 2448"/>
                          <a:gd name="T93" fmla="*/ 69 h 1211"/>
                          <a:gd name="T94" fmla="*/ 87 w 2448"/>
                          <a:gd name="T95" fmla="*/ 65 h 1211"/>
                          <a:gd name="T96" fmla="*/ 99 w 2448"/>
                          <a:gd name="T97" fmla="*/ 70 h 1211"/>
                          <a:gd name="T98" fmla="*/ 235 w 2448"/>
                          <a:gd name="T99" fmla="*/ 160 h 1211"/>
                          <a:gd name="T100" fmla="*/ 304 w 2448"/>
                          <a:gd name="T101" fmla="*/ 23 h 1211"/>
                          <a:gd name="T102" fmla="*/ 317 w 2448"/>
                          <a:gd name="T103" fmla="*/ 24 h 1211"/>
                          <a:gd name="T104" fmla="*/ 313 w 2448"/>
                          <a:gd name="T105" fmla="*/ 43 h 1211"/>
                          <a:gd name="T106" fmla="*/ 317 w 2448"/>
                          <a:gd name="T107" fmla="*/ 169 h 1211"/>
                          <a:gd name="T108" fmla="*/ 322 w 2448"/>
                          <a:gd name="T109" fmla="*/ 190 h 1211"/>
                          <a:gd name="T110" fmla="*/ 329 w 2448"/>
                          <a:gd name="T111" fmla="*/ 209 h 1211"/>
                          <a:gd name="T112" fmla="*/ 331 w 2448"/>
                          <a:gd name="T113" fmla="*/ 35 h 1211"/>
                          <a:gd name="T114" fmla="*/ 343 w 2448"/>
                          <a:gd name="T115" fmla="*/ 197 h 1211"/>
                          <a:gd name="T116" fmla="*/ 350 w 2448"/>
                          <a:gd name="T117" fmla="*/ 184 h 1211"/>
                          <a:gd name="T118" fmla="*/ 377 w 2448"/>
                          <a:gd name="T119" fmla="*/ 164 h 1211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60000 65536"/>
                          <a:gd name="T178" fmla="*/ 0 60000 65536"/>
                          <a:gd name="T179" fmla="*/ 0 60000 65536"/>
                          <a:gd name="T180" fmla="*/ 0 w 2448"/>
                          <a:gd name="T181" fmla="*/ 0 h 1211"/>
                          <a:gd name="T182" fmla="*/ 2448 w 2448"/>
                          <a:gd name="T183" fmla="*/ 1211 h 1211"/>
                        </a:gdLst>
                        <a:ahLst/>
                        <a:cxnLst>
                          <a:cxn ang="T120">
                            <a:pos x="T0" y="T1"/>
                          </a:cxn>
                          <a:cxn ang="T121">
                            <a:pos x="T2" y="T3"/>
                          </a:cxn>
                          <a:cxn ang="T122">
                            <a:pos x="T4" y="T5"/>
                          </a:cxn>
                          <a:cxn ang="T123">
                            <a:pos x="T6" y="T7"/>
                          </a:cxn>
                          <a:cxn ang="T124">
                            <a:pos x="T8" y="T9"/>
                          </a:cxn>
                          <a:cxn ang="T125">
                            <a:pos x="T10" y="T11"/>
                          </a:cxn>
                          <a:cxn ang="T126">
                            <a:pos x="T12" y="T13"/>
                          </a:cxn>
                          <a:cxn ang="T127">
                            <a:pos x="T14" y="T15"/>
                          </a:cxn>
                          <a:cxn ang="T128">
                            <a:pos x="T16" y="T17"/>
                          </a:cxn>
                          <a:cxn ang="T129">
                            <a:pos x="T18" y="T19"/>
                          </a:cxn>
                          <a:cxn ang="T130">
                            <a:pos x="T20" y="T21"/>
                          </a:cxn>
                          <a:cxn ang="T131">
                            <a:pos x="T22" y="T23"/>
                          </a:cxn>
                          <a:cxn ang="T132">
                            <a:pos x="T24" y="T25"/>
                          </a:cxn>
                          <a:cxn ang="T133">
                            <a:pos x="T26" y="T27"/>
                          </a:cxn>
                          <a:cxn ang="T134">
                            <a:pos x="T28" y="T29"/>
                          </a:cxn>
                          <a:cxn ang="T135">
                            <a:pos x="T30" y="T31"/>
                          </a:cxn>
                          <a:cxn ang="T136">
                            <a:pos x="T32" y="T33"/>
                          </a:cxn>
                          <a:cxn ang="T137">
                            <a:pos x="T34" y="T35"/>
                          </a:cxn>
                          <a:cxn ang="T138">
                            <a:pos x="T36" y="T37"/>
                          </a:cxn>
                          <a:cxn ang="T139">
                            <a:pos x="T38" y="T39"/>
                          </a:cxn>
                          <a:cxn ang="T140">
                            <a:pos x="T40" y="T41"/>
                          </a:cxn>
                          <a:cxn ang="T141">
                            <a:pos x="T42" y="T43"/>
                          </a:cxn>
                          <a:cxn ang="T142">
                            <a:pos x="T44" y="T45"/>
                          </a:cxn>
                          <a:cxn ang="T143">
                            <a:pos x="T46" y="T47"/>
                          </a:cxn>
                          <a:cxn ang="T144">
                            <a:pos x="T48" y="T49"/>
                          </a:cxn>
                          <a:cxn ang="T145">
                            <a:pos x="T50" y="T51"/>
                          </a:cxn>
                          <a:cxn ang="T146">
                            <a:pos x="T52" y="T53"/>
                          </a:cxn>
                          <a:cxn ang="T147">
                            <a:pos x="T54" y="T55"/>
                          </a:cxn>
                          <a:cxn ang="T148">
                            <a:pos x="T56" y="T57"/>
                          </a:cxn>
                          <a:cxn ang="T149">
                            <a:pos x="T58" y="T59"/>
                          </a:cxn>
                          <a:cxn ang="T150">
                            <a:pos x="T60" y="T61"/>
                          </a:cxn>
                          <a:cxn ang="T151">
                            <a:pos x="T62" y="T63"/>
                          </a:cxn>
                          <a:cxn ang="T152">
                            <a:pos x="T64" y="T65"/>
                          </a:cxn>
                          <a:cxn ang="T153">
                            <a:pos x="T66" y="T67"/>
                          </a:cxn>
                          <a:cxn ang="T154">
                            <a:pos x="T68" y="T69"/>
                          </a:cxn>
                          <a:cxn ang="T155">
                            <a:pos x="T70" y="T71"/>
                          </a:cxn>
                          <a:cxn ang="T156">
                            <a:pos x="T72" y="T73"/>
                          </a:cxn>
                          <a:cxn ang="T157">
                            <a:pos x="T74" y="T75"/>
                          </a:cxn>
                          <a:cxn ang="T158">
                            <a:pos x="T76" y="T77"/>
                          </a:cxn>
                          <a:cxn ang="T159">
                            <a:pos x="T78" y="T79"/>
                          </a:cxn>
                          <a:cxn ang="T160">
                            <a:pos x="T80" y="T81"/>
                          </a:cxn>
                          <a:cxn ang="T161">
                            <a:pos x="T82" y="T83"/>
                          </a:cxn>
                          <a:cxn ang="T162">
                            <a:pos x="T84" y="T85"/>
                          </a:cxn>
                          <a:cxn ang="T163">
                            <a:pos x="T86" y="T87"/>
                          </a:cxn>
                          <a:cxn ang="T164">
                            <a:pos x="T88" y="T89"/>
                          </a:cxn>
                          <a:cxn ang="T165">
                            <a:pos x="T90" y="T91"/>
                          </a:cxn>
                          <a:cxn ang="T166">
                            <a:pos x="T92" y="T93"/>
                          </a:cxn>
                          <a:cxn ang="T167">
                            <a:pos x="T94" y="T95"/>
                          </a:cxn>
                          <a:cxn ang="T168">
                            <a:pos x="T96" y="T97"/>
                          </a:cxn>
                          <a:cxn ang="T169">
                            <a:pos x="T98" y="T99"/>
                          </a:cxn>
                          <a:cxn ang="T170">
                            <a:pos x="T100" y="T101"/>
                          </a:cxn>
                          <a:cxn ang="T171">
                            <a:pos x="T102" y="T103"/>
                          </a:cxn>
                          <a:cxn ang="T172">
                            <a:pos x="T104" y="T105"/>
                          </a:cxn>
                          <a:cxn ang="T173">
                            <a:pos x="T106" y="T107"/>
                          </a:cxn>
                          <a:cxn ang="T174">
                            <a:pos x="T108" y="T109"/>
                          </a:cxn>
                          <a:cxn ang="T175">
                            <a:pos x="T110" y="T111"/>
                          </a:cxn>
                          <a:cxn ang="T176">
                            <a:pos x="T112" y="T113"/>
                          </a:cxn>
                          <a:cxn ang="T177">
                            <a:pos x="T114" y="T115"/>
                          </a:cxn>
                          <a:cxn ang="T178">
                            <a:pos x="T116" y="T117"/>
                          </a:cxn>
                          <a:cxn ang="T179">
                            <a:pos x="T118" y="T119"/>
                          </a:cxn>
                        </a:cxnLst>
                        <a:rect l="T180" t="T181" r="T182" b="T183"/>
                        <a:pathLst>
                          <a:path w="2448" h="1211">
                            <a:moveTo>
                              <a:pt x="23" y="894"/>
                            </a:moveTo>
                            <a:lnTo>
                              <a:pt x="27" y="894"/>
                            </a:lnTo>
                            <a:lnTo>
                              <a:pt x="27" y="899"/>
                            </a:lnTo>
                            <a:lnTo>
                              <a:pt x="41" y="903"/>
                            </a:lnTo>
                            <a:lnTo>
                              <a:pt x="50" y="903"/>
                            </a:lnTo>
                            <a:lnTo>
                              <a:pt x="50" y="907"/>
                            </a:lnTo>
                            <a:lnTo>
                              <a:pt x="50" y="921"/>
                            </a:lnTo>
                            <a:lnTo>
                              <a:pt x="27" y="921"/>
                            </a:lnTo>
                            <a:lnTo>
                              <a:pt x="9" y="916"/>
                            </a:lnTo>
                            <a:lnTo>
                              <a:pt x="0" y="916"/>
                            </a:lnTo>
                            <a:lnTo>
                              <a:pt x="9" y="912"/>
                            </a:lnTo>
                            <a:lnTo>
                              <a:pt x="5" y="912"/>
                            </a:lnTo>
                            <a:lnTo>
                              <a:pt x="5" y="907"/>
                            </a:lnTo>
                            <a:lnTo>
                              <a:pt x="14" y="903"/>
                            </a:lnTo>
                            <a:lnTo>
                              <a:pt x="18" y="894"/>
                            </a:lnTo>
                            <a:lnTo>
                              <a:pt x="14" y="907"/>
                            </a:lnTo>
                            <a:lnTo>
                              <a:pt x="23" y="907"/>
                            </a:lnTo>
                            <a:lnTo>
                              <a:pt x="27" y="903"/>
                            </a:lnTo>
                            <a:lnTo>
                              <a:pt x="23" y="894"/>
                            </a:lnTo>
                            <a:close/>
                            <a:moveTo>
                              <a:pt x="117" y="840"/>
                            </a:moveTo>
                            <a:lnTo>
                              <a:pt x="126" y="836"/>
                            </a:lnTo>
                            <a:lnTo>
                              <a:pt x="130" y="832"/>
                            </a:lnTo>
                            <a:lnTo>
                              <a:pt x="121" y="823"/>
                            </a:lnTo>
                            <a:lnTo>
                              <a:pt x="117" y="814"/>
                            </a:lnTo>
                            <a:lnTo>
                              <a:pt x="117" y="809"/>
                            </a:lnTo>
                            <a:lnTo>
                              <a:pt x="117" y="800"/>
                            </a:lnTo>
                            <a:lnTo>
                              <a:pt x="126" y="796"/>
                            </a:lnTo>
                            <a:lnTo>
                              <a:pt x="130" y="787"/>
                            </a:lnTo>
                            <a:lnTo>
                              <a:pt x="126" y="778"/>
                            </a:lnTo>
                            <a:lnTo>
                              <a:pt x="126" y="773"/>
                            </a:lnTo>
                            <a:lnTo>
                              <a:pt x="130" y="778"/>
                            </a:lnTo>
                            <a:lnTo>
                              <a:pt x="139" y="769"/>
                            </a:lnTo>
                            <a:lnTo>
                              <a:pt x="148" y="773"/>
                            </a:lnTo>
                            <a:lnTo>
                              <a:pt x="152" y="764"/>
                            </a:lnTo>
                            <a:lnTo>
                              <a:pt x="148" y="764"/>
                            </a:lnTo>
                            <a:lnTo>
                              <a:pt x="134" y="764"/>
                            </a:lnTo>
                            <a:lnTo>
                              <a:pt x="130" y="756"/>
                            </a:lnTo>
                            <a:lnTo>
                              <a:pt x="134" y="756"/>
                            </a:lnTo>
                            <a:lnTo>
                              <a:pt x="134" y="747"/>
                            </a:lnTo>
                            <a:lnTo>
                              <a:pt x="130" y="756"/>
                            </a:lnTo>
                            <a:lnTo>
                              <a:pt x="126" y="756"/>
                            </a:lnTo>
                            <a:lnTo>
                              <a:pt x="134" y="747"/>
                            </a:lnTo>
                            <a:lnTo>
                              <a:pt x="143" y="738"/>
                            </a:lnTo>
                            <a:lnTo>
                              <a:pt x="148" y="724"/>
                            </a:lnTo>
                            <a:lnTo>
                              <a:pt x="175" y="697"/>
                            </a:lnTo>
                            <a:lnTo>
                              <a:pt x="179" y="689"/>
                            </a:lnTo>
                            <a:lnTo>
                              <a:pt x="161" y="671"/>
                            </a:lnTo>
                            <a:lnTo>
                              <a:pt x="148" y="657"/>
                            </a:lnTo>
                            <a:lnTo>
                              <a:pt x="161" y="644"/>
                            </a:lnTo>
                            <a:lnTo>
                              <a:pt x="148" y="635"/>
                            </a:lnTo>
                            <a:lnTo>
                              <a:pt x="157" y="630"/>
                            </a:lnTo>
                            <a:lnTo>
                              <a:pt x="148" y="626"/>
                            </a:lnTo>
                            <a:lnTo>
                              <a:pt x="148" y="581"/>
                            </a:lnTo>
                            <a:lnTo>
                              <a:pt x="157" y="577"/>
                            </a:lnTo>
                            <a:lnTo>
                              <a:pt x="148" y="563"/>
                            </a:lnTo>
                            <a:lnTo>
                              <a:pt x="143" y="546"/>
                            </a:lnTo>
                            <a:lnTo>
                              <a:pt x="134" y="532"/>
                            </a:lnTo>
                            <a:lnTo>
                              <a:pt x="148" y="505"/>
                            </a:lnTo>
                            <a:lnTo>
                              <a:pt x="148" y="496"/>
                            </a:lnTo>
                            <a:lnTo>
                              <a:pt x="134" y="487"/>
                            </a:lnTo>
                            <a:lnTo>
                              <a:pt x="130" y="470"/>
                            </a:lnTo>
                            <a:lnTo>
                              <a:pt x="139" y="452"/>
                            </a:lnTo>
                            <a:lnTo>
                              <a:pt x="148" y="438"/>
                            </a:lnTo>
                            <a:lnTo>
                              <a:pt x="148" y="429"/>
                            </a:lnTo>
                            <a:lnTo>
                              <a:pt x="157" y="438"/>
                            </a:lnTo>
                            <a:lnTo>
                              <a:pt x="161" y="425"/>
                            </a:lnTo>
                            <a:lnTo>
                              <a:pt x="170" y="429"/>
                            </a:lnTo>
                            <a:lnTo>
                              <a:pt x="175" y="425"/>
                            </a:lnTo>
                            <a:lnTo>
                              <a:pt x="175" y="416"/>
                            </a:lnTo>
                            <a:lnTo>
                              <a:pt x="197" y="425"/>
                            </a:lnTo>
                            <a:lnTo>
                              <a:pt x="193" y="434"/>
                            </a:lnTo>
                            <a:lnTo>
                              <a:pt x="179" y="429"/>
                            </a:lnTo>
                            <a:lnTo>
                              <a:pt x="179" y="434"/>
                            </a:lnTo>
                            <a:lnTo>
                              <a:pt x="201" y="443"/>
                            </a:lnTo>
                            <a:lnTo>
                              <a:pt x="197" y="456"/>
                            </a:lnTo>
                            <a:lnTo>
                              <a:pt x="206" y="452"/>
                            </a:lnTo>
                            <a:lnTo>
                              <a:pt x="224" y="452"/>
                            </a:lnTo>
                            <a:lnTo>
                              <a:pt x="228" y="447"/>
                            </a:lnTo>
                            <a:lnTo>
                              <a:pt x="233" y="447"/>
                            </a:lnTo>
                            <a:lnTo>
                              <a:pt x="246" y="456"/>
                            </a:lnTo>
                            <a:lnTo>
                              <a:pt x="273" y="483"/>
                            </a:lnTo>
                            <a:lnTo>
                              <a:pt x="277" y="478"/>
                            </a:lnTo>
                            <a:lnTo>
                              <a:pt x="300" y="496"/>
                            </a:lnTo>
                            <a:lnTo>
                              <a:pt x="300" y="505"/>
                            </a:lnTo>
                            <a:lnTo>
                              <a:pt x="309" y="510"/>
                            </a:lnTo>
                            <a:lnTo>
                              <a:pt x="309" y="537"/>
                            </a:lnTo>
                            <a:lnTo>
                              <a:pt x="300" y="563"/>
                            </a:lnTo>
                            <a:lnTo>
                              <a:pt x="282" y="572"/>
                            </a:lnTo>
                            <a:lnTo>
                              <a:pt x="246" y="568"/>
                            </a:lnTo>
                            <a:lnTo>
                              <a:pt x="219" y="559"/>
                            </a:lnTo>
                            <a:lnTo>
                              <a:pt x="201" y="550"/>
                            </a:lnTo>
                            <a:lnTo>
                              <a:pt x="193" y="537"/>
                            </a:lnTo>
                            <a:lnTo>
                              <a:pt x="184" y="537"/>
                            </a:lnTo>
                            <a:lnTo>
                              <a:pt x="188" y="550"/>
                            </a:lnTo>
                            <a:lnTo>
                              <a:pt x="197" y="554"/>
                            </a:lnTo>
                            <a:lnTo>
                              <a:pt x="197" y="559"/>
                            </a:lnTo>
                            <a:lnTo>
                              <a:pt x="206" y="563"/>
                            </a:lnTo>
                            <a:lnTo>
                              <a:pt x="219" y="568"/>
                            </a:lnTo>
                            <a:lnTo>
                              <a:pt x="224" y="581"/>
                            </a:lnTo>
                            <a:lnTo>
                              <a:pt x="219" y="604"/>
                            </a:lnTo>
                            <a:lnTo>
                              <a:pt x="224" y="613"/>
                            </a:lnTo>
                            <a:lnTo>
                              <a:pt x="219" y="630"/>
                            </a:lnTo>
                            <a:lnTo>
                              <a:pt x="233" y="630"/>
                            </a:lnTo>
                            <a:lnTo>
                              <a:pt x="246" y="644"/>
                            </a:lnTo>
                            <a:lnTo>
                              <a:pt x="268" y="644"/>
                            </a:lnTo>
                            <a:lnTo>
                              <a:pt x="268" y="630"/>
                            </a:lnTo>
                            <a:lnTo>
                              <a:pt x="255" y="630"/>
                            </a:lnTo>
                            <a:lnTo>
                              <a:pt x="246" y="617"/>
                            </a:lnTo>
                            <a:lnTo>
                              <a:pt x="251" y="604"/>
                            </a:lnTo>
                            <a:lnTo>
                              <a:pt x="260" y="608"/>
                            </a:lnTo>
                            <a:lnTo>
                              <a:pt x="291" y="626"/>
                            </a:lnTo>
                            <a:lnTo>
                              <a:pt x="304" y="626"/>
                            </a:lnTo>
                            <a:lnTo>
                              <a:pt x="300" y="617"/>
                            </a:lnTo>
                            <a:lnTo>
                              <a:pt x="291" y="604"/>
                            </a:lnTo>
                            <a:lnTo>
                              <a:pt x="291" y="595"/>
                            </a:lnTo>
                            <a:lnTo>
                              <a:pt x="300" y="586"/>
                            </a:lnTo>
                            <a:lnTo>
                              <a:pt x="304" y="577"/>
                            </a:lnTo>
                            <a:lnTo>
                              <a:pt x="318" y="577"/>
                            </a:lnTo>
                            <a:lnTo>
                              <a:pt x="327" y="559"/>
                            </a:lnTo>
                            <a:lnTo>
                              <a:pt x="358" y="572"/>
                            </a:lnTo>
                            <a:lnTo>
                              <a:pt x="362" y="546"/>
                            </a:lnTo>
                            <a:lnTo>
                              <a:pt x="362" y="528"/>
                            </a:lnTo>
                            <a:lnTo>
                              <a:pt x="349" y="528"/>
                            </a:lnTo>
                            <a:lnTo>
                              <a:pt x="349" y="505"/>
                            </a:lnTo>
                            <a:lnTo>
                              <a:pt x="353" y="487"/>
                            </a:lnTo>
                            <a:lnTo>
                              <a:pt x="340" y="474"/>
                            </a:lnTo>
                            <a:lnTo>
                              <a:pt x="344" y="470"/>
                            </a:lnTo>
                            <a:lnTo>
                              <a:pt x="358" y="474"/>
                            </a:lnTo>
                            <a:lnTo>
                              <a:pt x="371" y="474"/>
                            </a:lnTo>
                            <a:lnTo>
                              <a:pt x="389" y="492"/>
                            </a:lnTo>
                            <a:lnTo>
                              <a:pt x="394" y="501"/>
                            </a:lnTo>
                            <a:lnTo>
                              <a:pt x="376" y="505"/>
                            </a:lnTo>
                            <a:lnTo>
                              <a:pt x="371" y="519"/>
                            </a:lnTo>
                            <a:lnTo>
                              <a:pt x="376" y="523"/>
                            </a:lnTo>
                            <a:lnTo>
                              <a:pt x="385" y="541"/>
                            </a:lnTo>
                            <a:lnTo>
                              <a:pt x="407" y="541"/>
                            </a:lnTo>
                            <a:lnTo>
                              <a:pt x="411" y="510"/>
                            </a:lnTo>
                            <a:lnTo>
                              <a:pt x="447" y="483"/>
                            </a:lnTo>
                            <a:lnTo>
                              <a:pt x="456" y="483"/>
                            </a:lnTo>
                            <a:lnTo>
                              <a:pt x="487" y="461"/>
                            </a:lnTo>
                            <a:lnTo>
                              <a:pt x="501" y="461"/>
                            </a:lnTo>
                            <a:lnTo>
                              <a:pt x="492" y="474"/>
                            </a:lnTo>
                            <a:lnTo>
                              <a:pt x="496" y="483"/>
                            </a:lnTo>
                            <a:lnTo>
                              <a:pt x="487" y="487"/>
                            </a:lnTo>
                            <a:lnTo>
                              <a:pt x="501" y="492"/>
                            </a:lnTo>
                            <a:lnTo>
                              <a:pt x="523" y="474"/>
                            </a:lnTo>
                            <a:lnTo>
                              <a:pt x="541" y="474"/>
                            </a:lnTo>
                            <a:lnTo>
                              <a:pt x="559" y="461"/>
                            </a:lnTo>
                            <a:lnTo>
                              <a:pt x="568" y="461"/>
                            </a:lnTo>
                            <a:lnTo>
                              <a:pt x="568" y="483"/>
                            </a:lnTo>
                            <a:lnTo>
                              <a:pt x="581" y="483"/>
                            </a:lnTo>
                            <a:lnTo>
                              <a:pt x="577" y="474"/>
                            </a:lnTo>
                            <a:lnTo>
                              <a:pt x="595" y="465"/>
                            </a:lnTo>
                            <a:lnTo>
                              <a:pt x="586" y="438"/>
                            </a:lnTo>
                            <a:lnTo>
                              <a:pt x="595" y="429"/>
                            </a:lnTo>
                            <a:lnTo>
                              <a:pt x="630" y="434"/>
                            </a:lnTo>
                            <a:lnTo>
                              <a:pt x="662" y="456"/>
                            </a:lnTo>
                            <a:lnTo>
                              <a:pt x="693" y="478"/>
                            </a:lnTo>
                            <a:lnTo>
                              <a:pt x="702" y="496"/>
                            </a:lnTo>
                            <a:lnTo>
                              <a:pt x="711" y="470"/>
                            </a:lnTo>
                            <a:lnTo>
                              <a:pt x="702" y="470"/>
                            </a:lnTo>
                            <a:lnTo>
                              <a:pt x="693" y="443"/>
                            </a:lnTo>
                            <a:lnTo>
                              <a:pt x="679" y="443"/>
                            </a:lnTo>
                            <a:lnTo>
                              <a:pt x="679" y="420"/>
                            </a:lnTo>
                            <a:lnTo>
                              <a:pt x="684" y="411"/>
                            </a:lnTo>
                            <a:lnTo>
                              <a:pt x="684" y="389"/>
                            </a:lnTo>
                            <a:lnTo>
                              <a:pt x="675" y="394"/>
                            </a:lnTo>
                            <a:lnTo>
                              <a:pt x="684" y="362"/>
                            </a:lnTo>
                            <a:lnTo>
                              <a:pt x="697" y="358"/>
                            </a:lnTo>
                            <a:lnTo>
                              <a:pt x="706" y="331"/>
                            </a:lnTo>
                            <a:lnTo>
                              <a:pt x="711" y="295"/>
                            </a:lnTo>
                            <a:lnTo>
                              <a:pt x="720" y="282"/>
                            </a:lnTo>
                            <a:lnTo>
                              <a:pt x="751" y="282"/>
                            </a:lnTo>
                            <a:lnTo>
                              <a:pt x="760" y="291"/>
                            </a:lnTo>
                            <a:lnTo>
                              <a:pt x="755" y="340"/>
                            </a:lnTo>
                            <a:lnTo>
                              <a:pt x="746" y="340"/>
                            </a:lnTo>
                            <a:lnTo>
                              <a:pt x="769" y="376"/>
                            </a:lnTo>
                            <a:lnTo>
                              <a:pt x="760" y="456"/>
                            </a:lnTo>
                            <a:lnTo>
                              <a:pt x="773" y="478"/>
                            </a:lnTo>
                            <a:lnTo>
                              <a:pt x="764" y="492"/>
                            </a:lnTo>
                            <a:lnTo>
                              <a:pt x="769" y="510"/>
                            </a:lnTo>
                            <a:lnTo>
                              <a:pt x="755" y="537"/>
                            </a:lnTo>
                            <a:lnTo>
                              <a:pt x="746" y="546"/>
                            </a:lnTo>
                            <a:lnTo>
                              <a:pt x="738" y="554"/>
                            </a:lnTo>
                            <a:lnTo>
                              <a:pt x="742" y="563"/>
                            </a:lnTo>
                            <a:lnTo>
                              <a:pt x="755" y="568"/>
                            </a:lnTo>
                            <a:lnTo>
                              <a:pt x="760" y="554"/>
                            </a:lnTo>
                            <a:lnTo>
                              <a:pt x="778" y="541"/>
                            </a:lnTo>
                            <a:lnTo>
                              <a:pt x="782" y="514"/>
                            </a:lnTo>
                            <a:lnTo>
                              <a:pt x="791" y="510"/>
                            </a:lnTo>
                            <a:lnTo>
                              <a:pt x="791" y="478"/>
                            </a:lnTo>
                            <a:lnTo>
                              <a:pt x="818" y="465"/>
                            </a:lnTo>
                            <a:lnTo>
                              <a:pt x="827" y="505"/>
                            </a:lnTo>
                            <a:lnTo>
                              <a:pt x="840" y="487"/>
                            </a:lnTo>
                            <a:lnTo>
                              <a:pt x="836" y="465"/>
                            </a:lnTo>
                            <a:lnTo>
                              <a:pt x="809" y="456"/>
                            </a:lnTo>
                            <a:lnTo>
                              <a:pt x="778" y="461"/>
                            </a:lnTo>
                            <a:lnTo>
                              <a:pt x="773" y="416"/>
                            </a:lnTo>
                            <a:lnTo>
                              <a:pt x="787" y="398"/>
                            </a:lnTo>
                            <a:lnTo>
                              <a:pt x="778" y="362"/>
                            </a:lnTo>
                            <a:lnTo>
                              <a:pt x="769" y="358"/>
                            </a:lnTo>
                            <a:lnTo>
                              <a:pt x="778" y="335"/>
                            </a:lnTo>
                            <a:lnTo>
                              <a:pt x="796" y="318"/>
                            </a:lnTo>
                            <a:lnTo>
                              <a:pt x="796" y="286"/>
                            </a:lnTo>
                            <a:lnTo>
                              <a:pt x="800" y="282"/>
                            </a:lnTo>
                            <a:lnTo>
                              <a:pt x="809" y="309"/>
                            </a:lnTo>
                            <a:lnTo>
                              <a:pt x="805" y="358"/>
                            </a:lnTo>
                            <a:lnTo>
                              <a:pt x="836" y="367"/>
                            </a:lnTo>
                            <a:lnTo>
                              <a:pt x="840" y="380"/>
                            </a:lnTo>
                            <a:lnTo>
                              <a:pt x="849" y="376"/>
                            </a:lnTo>
                            <a:lnTo>
                              <a:pt x="836" y="358"/>
                            </a:lnTo>
                            <a:lnTo>
                              <a:pt x="813" y="344"/>
                            </a:lnTo>
                            <a:lnTo>
                              <a:pt x="818" y="327"/>
                            </a:lnTo>
                            <a:lnTo>
                              <a:pt x="836" y="335"/>
                            </a:lnTo>
                            <a:lnTo>
                              <a:pt x="845" y="322"/>
                            </a:lnTo>
                            <a:lnTo>
                              <a:pt x="831" y="322"/>
                            </a:lnTo>
                            <a:lnTo>
                              <a:pt x="831" y="313"/>
                            </a:lnTo>
                            <a:lnTo>
                              <a:pt x="845" y="304"/>
                            </a:lnTo>
                            <a:lnTo>
                              <a:pt x="863" y="309"/>
                            </a:lnTo>
                            <a:lnTo>
                              <a:pt x="867" y="318"/>
                            </a:lnTo>
                            <a:lnTo>
                              <a:pt x="880" y="318"/>
                            </a:lnTo>
                            <a:lnTo>
                              <a:pt x="894" y="340"/>
                            </a:lnTo>
                            <a:lnTo>
                              <a:pt x="912" y="335"/>
                            </a:lnTo>
                            <a:lnTo>
                              <a:pt x="912" y="353"/>
                            </a:lnTo>
                            <a:lnTo>
                              <a:pt x="903" y="362"/>
                            </a:lnTo>
                            <a:lnTo>
                              <a:pt x="898" y="389"/>
                            </a:lnTo>
                            <a:lnTo>
                              <a:pt x="921" y="389"/>
                            </a:lnTo>
                            <a:lnTo>
                              <a:pt x="916" y="367"/>
                            </a:lnTo>
                            <a:lnTo>
                              <a:pt x="925" y="335"/>
                            </a:lnTo>
                            <a:lnTo>
                              <a:pt x="912" y="327"/>
                            </a:lnTo>
                            <a:lnTo>
                              <a:pt x="880" y="291"/>
                            </a:lnTo>
                            <a:lnTo>
                              <a:pt x="880" y="242"/>
                            </a:lnTo>
                            <a:lnTo>
                              <a:pt x="965" y="233"/>
                            </a:lnTo>
                            <a:lnTo>
                              <a:pt x="961" y="215"/>
                            </a:lnTo>
                            <a:lnTo>
                              <a:pt x="952" y="215"/>
                            </a:lnTo>
                            <a:lnTo>
                              <a:pt x="947" y="192"/>
                            </a:lnTo>
                            <a:lnTo>
                              <a:pt x="965" y="170"/>
                            </a:lnTo>
                            <a:lnTo>
                              <a:pt x="983" y="175"/>
                            </a:lnTo>
                            <a:lnTo>
                              <a:pt x="1001" y="157"/>
                            </a:lnTo>
                            <a:lnTo>
                              <a:pt x="1055" y="130"/>
                            </a:lnTo>
                            <a:lnTo>
                              <a:pt x="1050" y="117"/>
                            </a:lnTo>
                            <a:lnTo>
                              <a:pt x="1090" y="85"/>
                            </a:lnTo>
                            <a:lnTo>
                              <a:pt x="1113" y="90"/>
                            </a:lnTo>
                            <a:lnTo>
                              <a:pt x="1090" y="117"/>
                            </a:lnTo>
                            <a:lnTo>
                              <a:pt x="1108" y="117"/>
                            </a:lnTo>
                            <a:lnTo>
                              <a:pt x="1135" y="94"/>
                            </a:lnTo>
                            <a:lnTo>
                              <a:pt x="1144" y="94"/>
                            </a:lnTo>
                            <a:lnTo>
                              <a:pt x="1135" y="81"/>
                            </a:lnTo>
                            <a:lnTo>
                              <a:pt x="1166" y="76"/>
                            </a:lnTo>
                            <a:lnTo>
                              <a:pt x="1175" y="41"/>
                            </a:lnTo>
                            <a:lnTo>
                              <a:pt x="1198" y="14"/>
                            </a:lnTo>
                            <a:lnTo>
                              <a:pt x="1224" y="0"/>
                            </a:lnTo>
                            <a:lnTo>
                              <a:pt x="1247" y="18"/>
                            </a:lnTo>
                            <a:lnTo>
                              <a:pt x="1229" y="41"/>
                            </a:lnTo>
                            <a:lnTo>
                              <a:pt x="1256" y="54"/>
                            </a:lnTo>
                            <a:lnTo>
                              <a:pt x="1242" y="81"/>
                            </a:lnTo>
                            <a:lnTo>
                              <a:pt x="1260" y="81"/>
                            </a:lnTo>
                            <a:lnTo>
                              <a:pt x="1274" y="63"/>
                            </a:lnTo>
                            <a:lnTo>
                              <a:pt x="1323" y="58"/>
                            </a:lnTo>
                            <a:lnTo>
                              <a:pt x="1345" y="76"/>
                            </a:lnTo>
                            <a:lnTo>
                              <a:pt x="1349" y="94"/>
                            </a:lnTo>
                            <a:lnTo>
                              <a:pt x="1345" y="166"/>
                            </a:lnTo>
                            <a:lnTo>
                              <a:pt x="1332" y="184"/>
                            </a:lnTo>
                            <a:lnTo>
                              <a:pt x="1287" y="224"/>
                            </a:lnTo>
                            <a:lnTo>
                              <a:pt x="1269" y="255"/>
                            </a:lnTo>
                            <a:lnTo>
                              <a:pt x="1251" y="268"/>
                            </a:lnTo>
                            <a:lnTo>
                              <a:pt x="1251" y="273"/>
                            </a:lnTo>
                            <a:lnTo>
                              <a:pt x="1287" y="260"/>
                            </a:lnTo>
                            <a:lnTo>
                              <a:pt x="1300" y="233"/>
                            </a:lnTo>
                            <a:lnTo>
                              <a:pt x="1314" y="228"/>
                            </a:lnTo>
                            <a:lnTo>
                              <a:pt x="1314" y="242"/>
                            </a:lnTo>
                            <a:lnTo>
                              <a:pt x="1336" y="246"/>
                            </a:lnTo>
                            <a:lnTo>
                              <a:pt x="1341" y="233"/>
                            </a:lnTo>
                            <a:lnTo>
                              <a:pt x="1349" y="255"/>
                            </a:lnTo>
                            <a:lnTo>
                              <a:pt x="1372" y="242"/>
                            </a:lnTo>
                            <a:lnTo>
                              <a:pt x="1421" y="251"/>
                            </a:lnTo>
                            <a:lnTo>
                              <a:pt x="1416" y="273"/>
                            </a:lnTo>
                            <a:lnTo>
                              <a:pt x="1466" y="282"/>
                            </a:lnTo>
                            <a:lnTo>
                              <a:pt x="1479" y="286"/>
                            </a:lnTo>
                            <a:lnTo>
                              <a:pt x="1488" y="268"/>
                            </a:lnTo>
                            <a:lnTo>
                              <a:pt x="1475" y="255"/>
                            </a:lnTo>
                            <a:lnTo>
                              <a:pt x="1497" y="237"/>
                            </a:lnTo>
                            <a:lnTo>
                              <a:pt x="1528" y="255"/>
                            </a:lnTo>
                            <a:lnTo>
                              <a:pt x="1573" y="277"/>
                            </a:lnTo>
                            <a:lnTo>
                              <a:pt x="1564" y="335"/>
                            </a:lnTo>
                            <a:lnTo>
                              <a:pt x="1573" y="335"/>
                            </a:lnTo>
                            <a:lnTo>
                              <a:pt x="1577" y="344"/>
                            </a:lnTo>
                            <a:lnTo>
                              <a:pt x="1573" y="349"/>
                            </a:lnTo>
                            <a:lnTo>
                              <a:pt x="1582" y="371"/>
                            </a:lnTo>
                            <a:lnTo>
                              <a:pt x="1595" y="380"/>
                            </a:lnTo>
                            <a:lnTo>
                              <a:pt x="1600" y="394"/>
                            </a:lnTo>
                            <a:lnTo>
                              <a:pt x="1613" y="367"/>
                            </a:lnTo>
                            <a:lnTo>
                              <a:pt x="1617" y="331"/>
                            </a:lnTo>
                            <a:lnTo>
                              <a:pt x="1626" y="331"/>
                            </a:lnTo>
                            <a:lnTo>
                              <a:pt x="1635" y="358"/>
                            </a:lnTo>
                            <a:lnTo>
                              <a:pt x="1653" y="353"/>
                            </a:lnTo>
                            <a:lnTo>
                              <a:pt x="1662" y="344"/>
                            </a:lnTo>
                            <a:lnTo>
                              <a:pt x="1725" y="353"/>
                            </a:lnTo>
                            <a:lnTo>
                              <a:pt x="1720" y="331"/>
                            </a:lnTo>
                            <a:lnTo>
                              <a:pt x="1725" y="318"/>
                            </a:lnTo>
                            <a:lnTo>
                              <a:pt x="1711" y="318"/>
                            </a:lnTo>
                            <a:lnTo>
                              <a:pt x="1716" y="304"/>
                            </a:lnTo>
                            <a:lnTo>
                              <a:pt x="1734" y="304"/>
                            </a:lnTo>
                            <a:lnTo>
                              <a:pt x="1734" y="286"/>
                            </a:lnTo>
                            <a:lnTo>
                              <a:pt x="1823" y="309"/>
                            </a:lnTo>
                            <a:lnTo>
                              <a:pt x="1787" y="304"/>
                            </a:lnTo>
                            <a:lnTo>
                              <a:pt x="1783" y="322"/>
                            </a:lnTo>
                            <a:lnTo>
                              <a:pt x="1823" y="313"/>
                            </a:lnTo>
                            <a:lnTo>
                              <a:pt x="1796" y="344"/>
                            </a:lnTo>
                            <a:lnTo>
                              <a:pt x="1814" y="335"/>
                            </a:lnTo>
                            <a:lnTo>
                              <a:pt x="1832" y="313"/>
                            </a:lnTo>
                            <a:lnTo>
                              <a:pt x="1859" y="313"/>
                            </a:lnTo>
                            <a:lnTo>
                              <a:pt x="1868" y="331"/>
                            </a:lnTo>
                            <a:lnTo>
                              <a:pt x="1854" y="340"/>
                            </a:lnTo>
                            <a:lnTo>
                              <a:pt x="1868" y="349"/>
                            </a:lnTo>
                            <a:lnTo>
                              <a:pt x="1903" y="380"/>
                            </a:lnTo>
                            <a:lnTo>
                              <a:pt x="1975" y="376"/>
                            </a:lnTo>
                            <a:lnTo>
                              <a:pt x="1997" y="380"/>
                            </a:lnTo>
                            <a:lnTo>
                              <a:pt x="2011" y="411"/>
                            </a:lnTo>
                            <a:lnTo>
                              <a:pt x="2011" y="438"/>
                            </a:lnTo>
                            <a:lnTo>
                              <a:pt x="2037" y="443"/>
                            </a:lnTo>
                            <a:lnTo>
                              <a:pt x="2073" y="438"/>
                            </a:lnTo>
                            <a:lnTo>
                              <a:pt x="2078" y="447"/>
                            </a:lnTo>
                            <a:lnTo>
                              <a:pt x="2091" y="443"/>
                            </a:lnTo>
                            <a:lnTo>
                              <a:pt x="2104" y="447"/>
                            </a:lnTo>
                            <a:lnTo>
                              <a:pt x="2122" y="434"/>
                            </a:lnTo>
                            <a:lnTo>
                              <a:pt x="2122" y="420"/>
                            </a:lnTo>
                            <a:lnTo>
                              <a:pt x="2140" y="429"/>
                            </a:lnTo>
                            <a:lnTo>
                              <a:pt x="2127" y="443"/>
                            </a:lnTo>
                            <a:lnTo>
                              <a:pt x="2140" y="478"/>
                            </a:lnTo>
                            <a:lnTo>
                              <a:pt x="2167" y="470"/>
                            </a:lnTo>
                            <a:lnTo>
                              <a:pt x="2167" y="443"/>
                            </a:lnTo>
                            <a:lnTo>
                              <a:pt x="2158" y="438"/>
                            </a:lnTo>
                            <a:lnTo>
                              <a:pt x="2158" y="420"/>
                            </a:lnTo>
                            <a:lnTo>
                              <a:pt x="2203" y="429"/>
                            </a:lnTo>
                            <a:lnTo>
                              <a:pt x="2243" y="434"/>
                            </a:lnTo>
                            <a:lnTo>
                              <a:pt x="2283" y="452"/>
                            </a:lnTo>
                            <a:lnTo>
                              <a:pt x="2368" y="519"/>
                            </a:lnTo>
                            <a:lnTo>
                              <a:pt x="2377" y="537"/>
                            </a:lnTo>
                            <a:lnTo>
                              <a:pt x="2372" y="554"/>
                            </a:lnTo>
                            <a:lnTo>
                              <a:pt x="2386" y="559"/>
                            </a:lnTo>
                            <a:lnTo>
                              <a:pt x="2381" y="537"/>
                            </a:lnTo>
                            <a:lnTo>
                              <a:pt x="2422" y="541"/>
                            </a:lnTo>
                            <a:lnTo>
                              <a:pt x="2448" y="577"/>
                            </a:lnTo>
                            <a:lnTo>
                              <a:pt x="2435" y="595"/>
                            </a:lnTo>
                            <a:lnTo>
                              <a:pt x="2417" y="595"/>
                            </a:lnTo>
                            <a:lnTo>
                              <a:pt x="2417" y="617"/>
                            </a:lnTo>
                            <a:lnTo>
                              <a:pt x="2404" y="639"/>
                            </a:lnTo>
                            <a:lnTo>
                              <a:pt x="2377" y="626"/>
                            </a:lnTo>
                            <a:lnTo>
                              <a:pt x="2363" y="626"/>
                            </a:lnTo>
                            <a:lnTo>
                              <a:pt x="2359" y="604"/>
                            </a:lnTo>
                            <a:lnTo>
                              <a:pt x="2346" y="599"/>
                            </a:lnTo>
                            <a:lnTo>
                              <a:pt x="2319" y="599"/>
                            </a:lnTo>
                            <a:lnTo>
                              <a:pt x="2319" y="577"/>
                            </a:lnTo>
                            <a:lnTo>
                              <a:pt x="2305" y="581"/>
                            </a:lnTo>
                            <a:lnTo>
                              <a:pt x="2310" y="595"/>
                            </a:lnTo>
                            <a:lnTo>
                              <a:pt x="2305" y="608"/>
                            </a:lnTo>
                            <a:lnTo>
                              <a:pt x="2279" y="635"/>
                            </a:lnTo>
                            <a:lnTo>
                              <a:pt x="2256" y="621"/>
                            </a:lnTo>
                            <a:lnTo>
                              <a:pt x="2256" y="626"/>
                            </a:lnTo>
                            <a:lnTo>
                              <a:pt x="2274" y="644"/>
                            </a:lnTo>
                            <a:lnTo>
                              <a:pt x="2279" y="671"/>
                            </a:lnTo>
                            <a:lnTo>
                              <a:pt x="2292" y="684"/>
                            </a:lnTo>
                            <a:lnTo>
                              <a:pt x="2283" y="702"/>
                            </a:lnTo>
                            <a:lnTo>
                              <a:pt x="2261" y="693"/>
                            </a:lnTo>
                            <a:lnTo>
                              <a:pt x="2238" y="702"/>
                            </a:lnTo>
                            <a:lnTo>
                              <a:pt x="2207" y="724"/>
                            </a:lnTo>
                            <a:lnTo>
                              <a:pt x="2180" y="742"/>
                            </a:lnTo>
                            <a:lnTo>
                              <a:pt x="2162" y="782"/>
                            </a:lnTo>
                            <a:lnTo>
                              <a:pt x="2145" y="760"/>
                            </a:lnTo>
                            <a:lnTo>
                              <a:pt x="2127" y="760"/>
                            </a:lnTo>
                            <a:lnTo>
                              <a:pt x="2095" y="782"/>
                            </a:lnTo>
                            <a:lnTo>
                              <a:pt x="2095" y="760"/>
                            </a:lnTo>
                            <a:lnTo>
                              <a:pt x="2082" y="787"/>
                            </a:lnTo>
                            <a:lnTo>
                              <a:pt x="2064" y="778"/>
                            </a:lnTo>
                            <a:lnTo>
                              <a:pt x="2037" y="832"/>
                            </a:lnTo>
                            <a:lnTo>
                              <a:pt x="2055" y="836"/>
                            </a:lnTo>
                            <a:lnTo>
                              <a:pt x="2046" y="863"/>
                            </a:lnTo>
                            <a:lnTo>
                              <a:pt x="2055" y="876"/>
                            </a:lnTo>
                            <a:lnTo>
                              <a:pt x="2046" y="885"/>
                            </a:lnTo>
                            <a:lnTo>
                              <a:pt x="2033" y="881"/>
                            </a:lnTo>
                            <a:lnTo>
                              <a:pt x="2028" y="907"/>
                            </a:lnTo>
                            <a:lnTo>
                              <a:pt x="2037" y="912"/>
                            </a:lnTo>
                            <a:lnTo>
                              <a:pt x="2033" y="925"/>
                            </a:lnTo>
                            <a:lnTo>
                              <a:pt x="2024" y="916"/>
                            </a:lnTo>
                            <a:lnTo>
                              <a:pt x="2011" y="930"/>
                            </a:lnTo>
                            <a:lnTo>
                              <a:pt x="2006" y="948"/>
                            </a:lnTo>
                            <a:lnTo>
                              <a:pt x="2015" y="952"/>
                            </a:lnTo>
                            <a:lnTo>
                              <a:pt x="2011" y="957"/>
                            </a:lnTo>
                            <a:lnTo>
                              <a:pt x="2006" y="952"/>
                            </a:lnTo>
                            <a:lnTo>
                              <a:pt x="1988" y="961"/>
                            </a:lnTo>
                            <a:lnTo>
                              <a:pt x="1988" y="975"/>
                            </a:lnTo>
                            <a:lnTo>
                              <a:pt x="1961" y="1015"/>
                            </a:lnTo>
                            <a:lnTo>
                              <a:pt x="1953" y="961"/>
                            </a:lnTo>
                            <a:lnTo>
                              <a:pt x="1944" y="903"/>
                            </a:lnTo>
                            <a:lnTo>
                              <a:pt x="1944" y="881"/>
                            </a:lnTo>
                            <a:lnTo>
                              <a:pt x="1953" y="854"/>
                            </a:lnTo>
                            <a:lnTo>
                              <a:pt x="1966" y="845"/>
                            </a:lnTo>
                            <a:lnTo>
                              <a:pt x="1961" y="836"/>
                            </a:lnTo>
                            <a:lnTo>
                              <a:pt x="1984" y="827"/>
                            </a:lnTo>
                            <a:lnTo>
                              <a:pt x="2060" y="747"/>
                            </a:lnTo>
                            <a:lnTo>
                              <a:pt x="2069" y="706"/>
                            </a:lnTo>
                            <a:lnTo>
                              <a:pt x="2082" y="693"/>
                            </a:lnTo>
                            <a:lnTo>
                              <a:pt x="2073" y="689"/>
                            </a:lnTo>
                            <a:lnTo>
                              <a:pt x="2055" y="697"/>
                            </a:lnTo>
                            <a:lnTo>
                              <a:pt x="2055" y="724"/>
                            </a:lnTo>
                            <a:lnTo>
                              <a:pt x="2042" y="724"/>
                            </a:lnTo>
                            <a:lnTo>
                              <a:pt x="2011" y="760"/>
                            </a:lnTo>
                            <a:lnTo>
                              <a:pt x="2006" y="742"/>
                            </a:lnTo>
                            <a:lnTo>
                              <a:pt x="2020" y="715"/>
                            </a:lnTo>
                            <a:lnTo>
                              <a:pt x="2006" y="724"/>
                            </a:lnTo>
                            <a:lnTo>
                              <a:pt x="1997" y="715"/>
                            </a:lnTo>
                            <a:lnTo>
                              <a:pt x="1961" y="729"/>
                            </a:lnTo>
                            <a:lnTo>
                              <a:pt x="1961" y="738"/>
                            </a:lnTo>
                            <a:lnTo>
                              <a:pt x="1935" y="764"/>
                            </a:lnTo>
                            <a:lnTo>
                              <a:pt x="1926" y="791"/>
                            </a:lnTo>
                            <a:lnTo>
                              <a:pt x="1939" y="791"/>
                            </a:lnTo>
                            <a:lnTo>
                              <a:pt x="1944" y="800"/>
                            </a:lnTo>
                            <a:lnTo>
                              <a:pt x="1886" y="809"/>
                            </a:lnTo>
                            <a:lnTo>
                              <a:pt x="1881" y="800"/>
                            </a:lnTo>
                            <a:lnTo>
                              <a:pt x="1899" y="796"/>
                            </a:lnTo>
                            <a:lnTo>
                              <a:pt x="1886" y="787"/>
                            </a:lnTo>
                            <a:lnTo>
                              <a:pt x="1854" y="782"/>
                            </a:lnTo>
                            <a:lnTo>
                              <a:pt x="1850" y="796"/>
                            </a:lnTo>
                            <a:lnTo>
                              <a:pt x="1760" y="796"/>
                            </a:lnTo>
                            <a:lnTo>
                              <a:pt x="1747" y="814"/>
                            </a:lnTo>
                            <a:lnTo>
                              <a:pt x="1734" y="814"/>
                            </a:lnTo>
                            <a:lnTo>
                              <a:pt x="1662" y="912"/>
                            </a:lnTo>
                            <a:lnTo>
                              <a:pt x="1671" y="916"/>
                            </a:lnTo>
                            <a:lnTo>
                              <a:pt x="1680" y="907"/>
                            </a:lnTo>
                            <a:lnTo>
                              <a:pt x="1698" y="907"/>
                            </a:lnTo>
                            <a:lnTo>
                              <a:pt x="1689" y="930"/>
                            </a:lnTo>
                            <a:lnTo>
                              <a:pt x="1689" y="939"/>
                            </a:lnTo>
                            <a:lnTo>
                              <a:pt x="1707" y="921"/>
                            </a:lnTo>
                            <a:lnTo>
                              <a:pt x="1720" y="925"/>
                            </a:lnTo>
                            <a:lnTo>
                              <a:pt x="1743" y="948"/>
                            </a:lnTo>
                            <a:lnTo>
                              <a:pt x="1743" y="983"/>
                            </a:lnTo>
                            <a:lnTo>
                              <a:pt x="1734" y="1001"/>
                            </a:lnTo>
                            <a:lnTo>
                              <a:pt x="1729" y="1064"/>
                            </a:lnTo>
                            <a:lnTo>
                              <a:pt x="1716" y="1091"/>
                            </a:lnTo>
                            <a:lnTo>
                              <a:pt x="1711" y="1091"/>
                            </a:lnTo>
                            <a:lnTo>
                              <a:pt x="1662" y="1158"/>
                            </a:lnTo>
                            <a:lnTo>
                              <a:pt x="1644" y="1176"/>
                            </a:lnTo>
                            <a:lnTo>
                              <a:pt x="1626" y="1180"/>
                            </a:lnTo>
                            <a:lnTo>
                              <a:pt x="1613" y="1180"/>
                            </a:lnTo>
                            <a:lnTo>
                              <a:pt x="1613" y="1171"/>
                            </a:lnTo>
                            <a:lnTo>
                              <a:pt x="1604" y="1180"/>
                            </a:lnTo>
                            <a:lnTo>
                              <a:pt x="1600" y="1180"/>
                            </a:lnTo>
                            <a:lnTo>
                              <a:pt x="1591" y="1185"/>
                            </a:lnTo>
                            <a:lnTo>
                              <a:pt x="1586" y="1176"/>
                            </a:lnTo>
                            <a:lnTo>
                              <a:pt x="1595" y="1167"/>
                            </a:lnTo>
                            <a:lnTo>
                              <a:pt x="1600" y="1162"/>
                            </a:lnTo>
                            <a:lnTo>
                              <a:pt x="1595" y="1140"/>
                            </a:lnTo>
                            <a:lnTo>
                              <a:pt x="1604" y="1131"/>
                            </a:lnTo>
                            <a:lnTo>
                              <a:pt x="1622" y="1131"/>
                            </a:lnTo>
                            <a:lnTo>
                              <a:pt x="1653" y="1082"/>
                            </a:lnTo>
                            <a:lnTo>
                              <a:pt x="1649" y="1068"/>
                            </a:lnTo>
                            <a:lnTo>
                              <a:pt x="1640" y="1064"/>
                            </a:lnTo>
                            <a:lnTo>
                              <a:pt x="1617" y="1082"/>
                            </a:lnTo>
                            <a:lnTo>
                              <a:pt x="1595" y="1073"/>
                            </a:lnTo>
                            <a:lnTo>
                              <a:pt x="1591" y="1055"/>
                            </a:lnTo>
                            <a:lnTo>
                              <a:pt x="1573" y="1042"/>
                            </a:lnTo>
                            <a:lnTo>
                              <a:pt x="1564" y="1042"/>
                            </a:lnTo>
                            <a:lnTo>
                              <a:pt x="1559" y="1037"/>
                            </a:lnTo>
                            <a:lnTo>
                              <a:pt x="1546" y="1037"/>
                            </a:lnTo>
                            <a:lnTo>
                              <a:pt x="1542" y="1015"/>
                            </a:lnTo>
                            <a:lnTo>
                              <a:pt x="1519" y="957"/>
                            </a:lnTo>
                            <a:lnTo>
                              <a:pt x="1492" y="943"/>
                            </a:lnTo>
                            <a:lnTo>
                              <a:pt x="1479" y="939"/>
                            </a:lnTo>
                            <a:lnTo>
                              <a:pt x="1452" y="943"/>
                            </a:lnTo>
                            <a:lnTo>
                              <a:pt x="1439" y="961"/>
                            </a:lnTo>
                            <a:lnTo>
                              <a:pt x="1439" y="966"/>
                            </a:lnTo>
                            <a:lnTo>
                              <a:pt x="1448" y="966"/>
                            </a:lnTo>
                            <a:lnTo>
                              <a:pt x="1448" y="979"/>
                            </a:lnTo>
                            <a:lnTo>
                              <a:pt x="1421" y="1015"/>
                            </a:lnTo>
                            <a:lnTo>
                              <a:pt x="1430" y="1024"/>
                            </a:lnTo>
                            <a:lnTo>
                              <a:pt x="1416" y="1028"/>
                            </a:lnTo>
                            <a:lnTo>
                              <a:pt x="1403" y="1042"/>
                            </a:lnTo>
                            <a:lnTo>
                              <a:pt x="1390" y="1033"/>
                            </a:lnTo>
                            <a:lnTo>
                              <a:pt x="1385" y="1028"/>
                            </a:lnTo>
                            <a:lnTo>
                              <a:pt x="1376" y="1028"/>
                            </a:lnTo>
                            <a:lnTo>
                              <a:pt x="1358" y="1019"/>
                            </a:lnTo>
                            <a:lnTo>
                              <a:pt x="1349" y="1024"/>
                            </a:lnTo>
                            <a:lnTo>
                              <a:pt x="1336" y="1037"/>
                            </a:lnTo>
                            <a:lnTo>
                              <a:pt x="1305" y="1046"/>
                            </a:lnTo>
                            <a:lnTo>
                              <a:pt x="1274" y="1042"/>
                            </a:lnTo>
                            <a:lnTo>
                              <a:pt x="1233" y="1019"/>
                            </a:lnTo>
                            <a:lnTo>
                              <a:pt x="1211" y="1024"/>
                            </a:lnTo>
                            <a:lnTo>
                              <a:pt x="1189" y="1019"/>
                            </a:lnTo>
                            <a:lnTo>
                              <a:pt x="1184" y="992"/>
                            </a:lnTo>
                            <a:lnTo>
                              <a:pt x="1140" y="979"/>
                            </a:lnTo>
                            <a:lnTo>
                              <a:pt x="1126" y="1001"/>
                            </a:lnTo>
                            <a:lnTo>
                              <a:pt x="1131" y="1010"/>
                            </a:lnTo>
                            <a:lnTo>
                              <a:pt x="1126" y="1033"/>
                            </a:lnTo>
                            <a:lnTo>
                              <a:pt x="1086" y="1033"/>
                            </a:lnTo>
                            <a:lnTo>
                              <a:pt x="1068" y="1015"/>
                            </a:lnTo>
                            <a:lnTo>
                              <a:pt x="1055" y="1015"/>
                            </a:lnTo>
                            <a:lnTo>
                              <a:pt x="1050" y="1010"/>
                            </a:lnTo>
                            <a:lnTo>
                              <a:pt x="1023" y="1019"/>
                            </a:lnTo>
                            <a:lnTo>
                              <a:pt x="997" y="1037"/>
                            </a:lnTo>
                            <a:lnTo>
                              <a:pt x="988" y="1037"/>
                            </a:lnTo>
                            <a:lnTo>
                              <a:pt x="983" y="1046"/>
                            </a:lnTo>
                            <a:lnTo>
                              <a:pt x="974" y="1046"/>
                            </a:lnTo>
                            <a:lnTo>
                              <a:pt x="974" y="1042"/>
                            </a:lnTo>
                            <a:lnTo>
                              <a:pt x="952" y="1037"/>
                            </a:lnTo>
                            <a:lnTo>
                              <a:pt x="943" y="1037"/>
                            </a:lnTo>
                            <a:lnTo>
                              <a:pt x="939" y="1024"/>
                            </a:lnTo>
                            <a:lnTo>
                              <a:pt x="934" y="1028"/>
                            </a:lnTo>
                            <a:lnTo>
                              <a:pt x="921" y="1010"/>
                            </a:lnTo>
                            <a:lnTo>
                              <a:pt x="912" y="1006"/>
                            </a:lnTo>
                            <a:lnTo>
                              <a:pt x="907" y="1006"/>
                            </a:lnTo>
                            <a:lnTo>
                              <a:pt x="903" y="1010"/>
                            </a:lnTo>
                            <a:lnTo>
                              <a:pt x="898" y="1015"/>
                            </a:lnTo>
                            <a:lnTo>
                              <a:pt x="889" y="1010"/>
                            </a:lnTo>
                            <a:lnTo>
                              <a:pt x="889" y="1001"/>
                            </a:lnTo>
                            <a:lnTo>
                              <a:pt x="880" y="1001"/>
                            </a:lnTo>
                            <a:lnTo>
                              <a:pt x="876" y="1006"/>
                            </a:lnTo>
                            <a:lnTo>
                              <a:pt x="872" y="1010"/>
                            </a:lnTo>
                            <a:lnTo>
                              <a:pt x="840" y="957"/>
                            </a:lnTo>
                            <a:lnTo>
                              <a:pt x="822" y="934"/>
                            </a:lnTo>
                            <a:lnTo>
                              <a:pt x="827" y="925"/>
                            </a:lnTo>
                            <a:lnTo>
                              <a:pt x="822" y="921"/>
                            </a:lnTo>
                            <a:lnTo>
                              <a:pt x="813" y="925"/>
                            </a:lnTo>
                            <a:lnTo>
                              <a:pt x="805" y="930"/>
                            </a:lnTo>
                            <a:lnTo>
                              <a:pt x="800" y="934"/>
                            </a:lnTo>
                            <a:lnTo>
                              <a:pt x="791" y="943"/>
                            </a:lnTo>
                            <a:lnTo>
                              <a:pt x="782" y="939"/>
                            </a:lnTo>
                            <a:lnTo>
                              <a:pt x="773" y="943"/>
                            </a:lnTo>
                            <a:lnTo>
                              <a:pt x="773" y="939"/>
                            </a:lnTo>
                            <a:lnTo>
                              <a:pt x="778" y="934"/>
                            </a:lnTo>
                            <a:lnTo>
                              <a:pt x="764" y="930"/>
                            </a:lnTo>
                            <a:lnTo>
                              <a:pt x="760" y="934"/>
                            </a:lnTo>
                            <a:lnTo>
                              <a:pt x="760" y="925"/>
                            </a:lnTo>
                            <a:lnTo>
                              <a:pt x="746" y="930"/>
                            </a:lnTo>
                            <a:lnTo>
                              <a:pt x="742" y="925"/>
                            </a:lnTo>
                            <a:lnTo>
                              <a:pt x="742" y="916"/>
                            </a:lnTo>
                            <a:lnTo>
                              <a:pt x="738" y="903"/>
                            </a:lnTo>
                            <a:lnTo>
                              <a:pt x="729" y="903"/>
                            </a:lnTo>
                            <a:lnTo>
                              <a:pt x="711" y="899"/>
                            </a:lnTo>
                            <a:lnTo>
                              <a:pt x="706" y="903"/>
                            </a:lnTo>
                            <a:lnTo>
                              <a:pt x="702" y="894"/>
                            </a:lnTo>
                            <a:lnTo>
                              <a:pt x="697" y="912"/>
                            </a:lnTo>
                            <a:lnTo>
                              <a:pt x="693" y="907"/>
                            </a:lnTo>
                            <a:lnTo>
                              <a:pt x="688" y="912"/>
                            </a:lnTo>
                            <a:lnTo>
                              <a:pt x="666" y="916"/>
                            </a:lnTo>
                            <a:lnTo>
                              <a:pt x="657" y="916"/>
                            </a:lnTo>
                            <a:lnTo>
                              <a:pt x="653" y="921"/>
                            </a:lnTo>
                            <a:lnTo>
                              <a:pt x="653" y="916"/>
                            </a:lnTo>
                            <a:lnTo>
                              <a:pt x="635" y="925"/>
                            </a:lnTo>
                            <a:lnTo>
                              <a:pt x="626" y="930"/>
                            </a:lnTo>
                            <a:lnTo>
                              <a:pt x="604" y="930"/>
                            </a:lnTo>
                            <a:lnTo>
                              <a:pt x="599" y="934"/>
                            </a:lnTo>
                            <a:lnTo>
                              <a:pt x="595" y="943"/>
                            </a:lnTo>
                            <a:lnTo>
                              <a:pt x="608" y="943"/>
                            </a:lnTo>
                            <a:lnTo>
                              <a:pt x="599" y="948"/>
                            </a:lnTo>
                            <a:lnTo>
                              <a:pt x="608" y="948"/>
                            </a:lnTo>
                            <a:lnTo>
                              <a:pt x="612" y="957"/>
                            </a:lnTo>
                            <a:lnTo>
                              <a:pt x="599" y="957"/>
                            </a:lnTo>
                            <a:lnTo>
                              <a:pt x="590" y="961"/>
                            </a:lnTo>
                            <a:lnTo>
                              <a:pt x="595" y="970"/>
                            </a:lnTo>
                            <a:lnTo>
                              <a:pt x="581" y="979"/>
                            </a:lnTo>
                            <a:lnTo>
                              <a:pt x="590" y="988"/>
                            </a:lnTo>
                            <a:lnTo>
                              <a:pt x="595" y="997"/>
                            </a:lnTo>
                            <a:lnTo>
                              <a:pt x="604" y="997"/>
                            </a:lnTo>
                            <a:lnTo>
                              <a:pt x="604" y="1006"/>
                            </a:lnTo>
                            <a:lnTo>
                              <a:pt x="604" y="1010"/>
                            </a:lnTo>
                            <a:lnTo>
                              <a:pt x="590" y="1015"/>
                            </a:lnTo>
                            <a:lnTo>
                              <a:pt x="581" y="1006"/>
                            </a:lnTo>
                            <a:lnTo>
                              <a:pt x="572" y="1019"/>
                            </a:lnTo>
                            <a:lnTo>
                              <a:pt x="572" y="1010"/>
                            </a:lnTo>
                            <a:lnTo>
                              <a:pt x="568" y="1006"/>
                            </a:lnTo>
                            <a:lnTo>
                              <a:pt x="563" y="1001"/>
                            </a:lnTo>
                            <a:lnTo>
                              <a:pt x="554" y="1001"/>
                            </a:lnTo>
                            <a:lnTo>
                              <a:pt x="545" y="1006"/>
                            </a:lnTo>
                            <a:lnTo>
                              <a:pt x="541" y="1001"/>
                            </a:lnTo>
                            <a:lnTo>
                              <a:pt x="532" y="1001"/>
                            </a:lnTo>
                            <a:lnTo>
                              <a:pt x="528" y="1010"/>
                            </a:lnTo>
                            <a:lnTo>
                              <a:pt x="523" y="1015"/>
                            </a:lnTo>
                            <a:lnTo>
                              <a:pt x="514" y="1010"/>
                            </a:lnTo>
                            <a:lnTo>
                              <a:pt x="510" y="1010"/>
                            </a:lnTo>
                            <a:lnTo>
                              <a:pt x="510" y="1015"/>
                            </a:lnTo>
                            <a:lnTo>
                              <a:pt x="505" y="1015"/>
                            </a:lnTo>
                            <a:lnTo>
                              <a:pt x="501" y="1010"/>
                            </a:lnTo>
                            <a:lnTo>
                              <a:pt x="496" y="997"/>
                            </a:lnTo>
                            <a:lnTo>
                              <a:pt x="483" y="992"/>
                            </a:lnTo>
                            <a:lnTo>
                              <a:pt x="478" y="997"/>
                            </a:lnTo>
                            <a:lnTo>
                              <a:pt x="474" y="988"/>
                            </a:lnTo>
                            <a:lnTo>
                              <a:pt x="465" y="992"/>
                            </a:lnTo>
                            <a:lnTo>
                              <a:pt x="461" y="997"/>
                            </a:lnTo>
                            <a:lnTo>
                              <a:pt x="461" y="992"/>
                            </a:lnTo>
                            <a:lnTo>
                              <a:pt x="456" y="988"/>
                            </a:lnTo>
                            <a:lnTo>
                              <a:pt x="452" y="997"/>
                            </a:lnTo>
                            <a:lnTo>
                              <a:pt x="434" y="1010"/>
                            </a:lnTo>
                            <a:lnTo>
                              <a:pt x="425" y="1015"/>
                            </a:lnTo>
                            <a:lnTo>
                              <a:pt x="420" y="1010"/>
                            </a:lnTo>
                            <a:lnTo>
                              <a:pt x="425" y="1028"/>
                            </a:lnTo>
                            <a:lnTo>
                              <a:pt x="420" y="1033"/>
                            </a:lnTo>
                            <a:lnTo>
                              <a:pt x="407" y="1019"/>
                            </a:lnTo>
                            <a:lnTo>
                              <a:pt x="402" y="1019"/>
                            </a:lnTo>
                            <a:lnTo>
                              <a:pt x="402" y="1033"/>
                            </a:lnTo>
                            <a:lnTo>
                              <a:pt x="398" y="1033"/>
                            </a:lnTo>
                            <a:lnTo>
                              <a:pt x="394" y="1046"/>
                            </a:lnTo>
                            <a:lnTo>
                              <a:pt x="394" y="1050"/>
                            </a:lnTo>
                            <a:lnTo>
                              <a:pt x="389" y="1064"/>
                            </a:lnTo>
                            <a:lnTo>
                              <a:pt x="398" y="1068"/>
                            </a:lnTo>
                            <a:lnTo>
                              <a:pt x="398" y="1073"/>
                            </a:lnTo>
                            <a:lnTo>
                              <a:pt x="402" y="1082"/>
                            </a:lnTo>
                            <a:lnTo>
                              <a:pt x="402" y="1073"/>
                            </a:lnTo>
                            <a:lnTo>
                              <a:pt x="411" y="1077"/>
                            </a:lnTo>
                            <a:lnTo>
                              <a:pt x="420" y="1091"/>
                            </a:lnTo>
                            <a:lnTo>
                              <a:pt x="425" y="1095"/>
                            </a:lnTo>
                            <a:lnTo>
                              <a:pt x="420" y="1095"/>
                            </a:lnTo>
                            <a:lnTo>
                              <a:pt x="416" y="1100"/>
                            </a:lnTo>
                            <a:lnTo>
                              <a:pt x="425" y="1100"/>
                            </a:lnTo>
                            <a:lnTo>
                              <a:pt x="425" y="1104"/>
                            </a:lnTo>
                            <a:lnTo>
                              <a:pt x="416" y="1118"/>
                            </a:lnTo>
                            <a:lnTo>
                              <a:pt x="402" y="1118"/>
                            </a:lnTo>
                            <a:lnTo>
                              <a:pt x="394" y="1144"/>
                            </a:lnTo>
                            <a:lnTo>
                              <a:pt x="398" y="1144"/>
                            </a:lnTo>
                            <a:lnTo>
                              <a:pt x="402" y="1158"/>
                            </a:lnTo>
                            <a:lnTo>
                              <a:pt x="407" y="1153"/>
                            </a:lnTo>
                            <a:lnTo>
                              <a:pt x="402" y="1176"/>
                            </a:lnTo>
                            <a:lnTo>
                              <a:pt x="420" y="1198"/>
                            </a:lnTo>
                            <a:lnTo>
                              <a:pt x="425" y="1202"/>
                            </a:lnTo>
                            <a:lnTo>
                              <a:pt x="416" y="1207"/>
                            </a:lnTo>
                            <a:lnTo>
                              <a:pt x="411" y="1211"/>
                            </a:lnTo>
                            <a:lnTo>
                              <a:pt x="407" y="1211"/>
                            </a:lnTo>
                            <a:lnTo>
                              <a:pt x="398" y="1198"/>
                            </a:lnTo>
                            <a:lnTo>
                              <a:pt x="394" y="1198"/>
                            </a:lnTo>
                            <a:lnTo>
                              <a:pt x="389" y="1193"/>
                            </a:lnTo>
                            <a:lnTo>
                              <a:pt x="380" y="1189"/>
                            </a:lnTo>
                            <a:lnTo>
                              <a:pt x="385" y="1185"/>
                            </a:lnTo>
                            <a:lnTo>
                              <a:pt x="371" y="1185"/>
                            </a:lnTo>
                            <a:lnTo>
                              <a:pt x="371" y="1180"/>
                            </a:lnTo>
                            <a:lnTo>
                              <a:pt x="362" y="1180"/>
                            </a:lnTo>
                            <a:lnTo>
                              <a:pt x="362" y="1185"/>
                            </a:lnTo>
                            <a:lnTo>
                              <a:pt x="358" y="1180"/>
                            </a:lnTo>
                            <a:lnTo>
                              <a:pt x="353" y="1185"/>
                            </a:lnTo>
                            <a:lnTo>
                              <a:pt x="349" y="1176"/>
                            </a:lnTo>
                            <a:lnTo>
                              <a:pt x="344" y="1180"/>
                            </a:lnTo>
                            <a:lnTo>
                              <a:pt x="340" y="1171"/>
                            </a:lnTo>
                            <a:lnTo>
                              <a:pt x="322" y="1171"/>
                            </a:lnTo>
                            <a:lnTo>
                              <a:pt x="313" y="1167"/>
                            </a:lnTo>
                            <a:lnTo>
                              <a:pt x="300" y="1167"/>
                            </a:lnTo>
                            <a:lnTo>
                              <a:pt x="295" y="1167"/>
                            </a:lnTo>
                            <a:lnTo>
                              <a:pt x="291" y="1167"/>
                            </a:lnTo>
                            <a:lnTo>
                              <a:pt x="255" y="1131"/>
                            </a:lnTo>
                            <a:lnTo>
                              <a:pt x="251" y="1126"/>
                            </a:lnTo>
                            <a:lnTo>
                              <a:pt x="251" y="1122"/>
                            </a:lnTo>
                            <a:lnTo>
                              <a:pt x="260" y="1122"/>
                            </a:lnTo>
                            <a:lnTo>
                              <a:pt x="264" y="1122"/>
                            </a:lnTo>
                            <a:lnTo>
                              <a:pt x="264" y="1113"/>
                            </a:lnTo>
                            <a:lnTo>
                              <a:pt x="268" y="1109"/>
                            </a:lnTo>
                            <a:lnTo>
                              <a:pt x="273" y="1109"/>
                            </a:lnTo>
                            <a:lnTo>
                              <a:pt x="268" y="1104"/>
                            </a:lnTo>
                            <a:lnTo>
                              <a:pt x="264" y="1104"/>
                            </a:lnTo>
                            <a:lnTo>
                              <a:pt x="260" y="1100"/>
                            </a:lnTo>
                            <a:lnTo>
                              <a:pt x="268" y="1095"/>
                            </a:lnTo>
                            <a:lnTo>
                              <a:pt x="273" y="1091"/>
                            </a:lnTo>
                            <a:lnTo>
                              <a:pt x="286" y="1086"/>
                            </a:lnTo>
                            <a:lnTo>
                              <a:pt x="282" y="1082"/>
                            </a:lnTo>
                            <a:lnTo>
                              <a:pt x="273" y="1086"/>
                            </a:lnTo>
                            <a:lnTo>
                              <a:pt x="282" y="1073"/>
                            </a:lnTo>
                            <a:lnTo>
                              <a:pt x="291" y="1068"/>
                            </a:lnTo>
                            <a:lnTo>
                              <a:pt x="295" y="1059"/>
                            </a:lnTo>
                            <a:lnTo>
                              <a:pt x="291" y="1055"/>
                            </a:lnTo>
                            <a:lnTo>
                              <a:pt x="295" y="1050"/>
                            </a:lnTo>
                            <a:lnTo>
                              <a:pt x="291" y="1046"/>
                            </a:lnTo>
                            <a:lnTo>
                              <a:pt x="295" y="1042"/>
                            </a:lnTo>
                            <a:lnTo>
                              <a:pt x="282" y="1033"/>
                            </a:lnTo>
                            <a:lnTo>
                              <a:pt x="277" y="1028"/>
                            </a:lnTo>
                            <a:lnTo>
                              <a:pt x="273" y="1033"/>
                            </a:lnTo>
                            <a:lnTo>
                              <a:pt x="273" y="1028"/>
                            </a:lnTo>
                            <a:lnTo>
                              <a:pt x="264" y="1028"/>
                            </a:lnTo>
                            <a:lnTo>
                              <a:pt x="264" y="1024"/>
                            </a:lnTo>
                            <a:lnTo>
                              <a:pt x="260" y="1019"/>
                            </a:lnTo>
                            <a:lnTo>
                              <a:pt x="251" y="1019"/>
                            </a:lnTo>
                            <a:lnTo>
                              <a:pt x="246" y="1024"/>
                            </a:lnTo>
                            <a:lnTo>
                              <a:pt x="242" y="1019"/>
                            </a:lnTo>
                            <a:lnTo>
                              <a:pt x="233" y="1019"/>
                            </a:lnTo>
                            <a:lnTo>
                              <a:pt x="228" y="1006"/>
                            </a:lnTo>
                            <a:lnTo>
                              <a:pt x="228" y="997"/>
                            </a:lnTo>
                            <a:lnTo>
                              <a:pt x="210" y="992"/>
                            </a:lnTo>
                            <a:lnTo>
                              <a:pt x="215" y="983"/>
                            </a:lnTo>
                            <a:lnTo>
                              <a:pt x="210" y="983"/>
                            </a:lnTo>
                            <a:lnTo>
                              <a:pt x="206" y="975"/>
                            </a:lnTo>
                            <a:lnTo>
                              <a:pt x="197" y="975"/>
                            </a:lnTo>
                            <a:lnTo>
                              <a:pt x="188" y="979"/>
                            </a:lnTo>
                            <a:lnTo>
                              <a:pt x="184" y="975"/>
                            </a:lnTo>
                            <a:lnTo>
                              <a:pt x="179" y="979"/>
                            </a:lnTo>
                            <a:lnTo>
                              <a:pt x="175" y="979"/>
                            </a:lnTo>
                            <a:lnTo>
                              <a:pt x="175" y="970"/>
                            </a:lnTo>
                            <a:lnTo>
                              <a:pt x="170" y="957"/>
                            </a:lnTo>
                            <a:lnTo>
                              <a:pt x="175" y="952"/>
                            </a:lnTo>
                            <a:lnTo>
                              <a:pt x="179" y="957"/>
                            </a:lnTo>
                            <a:lnTo>
                              <a:pt x="184" y="952"/>
                            </a:lnTo>
                            <a:lnTo>
                              <a:pt x="188" y="948"/>
                            </a:lnTo>
                            <a:lnTo>
                              <a:pt x="184" y="948"/>
                            </a:lnTo>
                            <a:lnTo>
                              <a:pt x="179" y="939"/>
                            </a:lnTo>
                            <a:lnTo>
                              <a:pt x="170" y="943"/>
                            </a:lnTo>
                            <a:lnTo>
                              <a:pt x="170" y="930"/>
                            </a:lnTo>
                            <a:lnTo>
                              <a:pt x="166" y="925"/>
                            </a:lnTo>
                            <a:lnTo>
                              <a:pt x="166" y="921"/>
                            </a:lnTo>
                            <a:lnTo>
                              <a:pt x="166" y="912"/>
                            </a:lnTo>
                            <a:lnTo>
                              <a:pt x="166" y="907"/>
                            </a:lnTo>
                            <a:lnTo>
                              <a:pt x="161" y="894"/>
                            </a:lnTo>
                            <a:lnTo>
                              <a:pt x="152" y="885"/>
                            </a:lnTo>
                            <a:lnTo>
                              <a:pt x="143" y="890"/>
                            </a:lnTo>
                            <a:lnTo>
                              <a:pt x="139" y="881"/>
                            </a:lnTo>
                            <a:lnTo>
                              <a:pt x="130" y="881"/>
                            </a:lnTo>
                            <a:lnTo>
                              <a:pt x="130" y="876"/>
                            </a:lnTo>
                            <a:lnTo>
                              <a:pt x="126" y="876"/>
                            </a:lnTo>
                            <a:lnTo>
                              <a:pt x="121" y="876"/>
                            </a:lnTo>
                            <a:lnTo>
                              <a:pt x="121" y="867"/>
                            </a:lnTo>
                            <a:lnTo>
                              <a:pt x="121" y="849"/>
                            </a:lnTo>
                            <a:lnTo>
                              <a:pt x="126" y="845"/>
                            </a:lnTo>
                            <a:lnTo>
                              <a:pt x="121" y="840"/>
                            </a:lnTo>
                            <a:lnTo>
                              <a:pt x="117" y="840"/>
                            </a:lnTo>
                            <a:close/>
                            <a:moveTo>
                              <a:pt x="157" y="724"/>
                            </a:moveTo>
                            <a:lnTo>
                              <a:pt x="166" y="715"/>
                            </a:lnTo>
                            <a:lnTo>
                              <a:pt x="175" y="724"/>
                            </a:lnTo>
                            <a:lnTo>
                              <a:pt x="184" y="724"/>
                            </a:lnTo>
                            <a:lnTo>
                              <a:pt x="188" y="733"/>
                            </a:lnTo>
                            <a:lnTo>
                              <a:pt x="197" y="747"/>
                            </a:lnTo>
                            <a:lnTo>
                              <a:pt x="188" y="751"/>
                            </a:lnTo>
                            <a:lnTo>
                              <a:pt x="188" y="764"/>
                            </a:lnTo>
                            <a:lnTo>
                              <a:pt x="184" y="760"/>
                            </a:lnTo>
                            <a:lnTo>
                              <a:pt x="175" y="760"/>
                            </a:lnTo>
                            <a:lnTo>
                              <a:pt x="175" y="769"/>
                            </a:lnTo>
                            <a:lnTo>
                              <a:pt x="170" y="769"/>
                            </a:lnTo>
                            <a:lnTo>
                              <a:pt x="157" y="738"/>
                            </a:lnTo>
                            <a:lnTo>
                              <a:pt x="152" y="742"/>
                            </a:lnTo>
                            <a:lnTo>
                              <a:pt x="148" y="733"/>
                            </a:lnTo>
                            <a:lnTo>
                              <a:pt x="157" y="733"/>
                            </a:lnTo>
                            <a:lnTo>
                              <a:pt x="157" y="724"/>
                            </a:lnTo>
                            <a:close/>
                            <a:moveTo>
                              <a:pt x="429" y="443"/>
                            </a:moveTo>
                            <a:lnTo>
                              <a:pt x="420" y="447"/>
                            </a:lnTo>
                            <a:lnTo>
                              <a:pt x="416" y="452"/>
                            </a:lnTo>
                            <a:lnTo>
                              <a:pt x="416" y="465"/>
                            </a:lnTo>
                            <a:lnTo>
                              <a:pt x="429" y="470"/>
                            </a:lnTo>
                            <a:lnTo>
                              <a:pt x="434" y="465"/>
                            </a:lnTo>
                            <a:lnTo>
                              <a:pt x="438" y="452"/>
                            </a:lnTo>
                            <a:lnTo>
                              <a:pt x="429" y="443"/>
                            </a:lnTo>
                            <a:close/>
                            <a:moveTo>
                              <a:pt x="532" y="268"/>
                            </a:moveTo>
                            <a:lnTo>
                              <a:pt x="541" y="255"/>
                            </a:lnTo>
                            <a:lnTo>
                              <a:pt x="537" y="251"/>
                            </a:lnTo>
                            <a:lnTo>
                              <a:pt x="545" y="246"/>
                            </a:lnTo>
                            <a:lnTo>
                              <a:pt x="541" y="242"/>
                            </a:lnTo>
                            <a:lnTo>
                              <a:pt x="550" y="237"/>
                            </a:lnTo>
                            <a:lnTo>
                              <a:pt x="563" y="215"/>
                            </a:lnTo>
                            <a:lnTo>
                              <a:pt x="559" y="201"/>
                            </a:lnTo>
                            <a:lnTo>
                              <a:pt x="568" y="197"/>
                            </a:lnTo>
                            <a:lnTo>
                              <a:pt x="568" y="188"/>
                            </a:lnTo>
                            <a:lnTo>
                              <a:pt x="577" y="192"/>
                            </a:lnTo>
                            <a:lnTo>
                              <a:pt x="590" y="184"/>
                            </a:lnTo>
                            <a:lnTo>
                              <a:pt x="590" y="175"/>
                            </a:lnTo>
                            <a:lnTo>
                              <a:pt x="630" y="143"/>
                            </a:lnTo>
                            <a:lnTo>
                              <a:pt x="635" y="148"/>
                            </a:lnTo>
                            <a:lnTo>
                              <a:pt x="702" y="99"/>
                            </a:lnTo>
                            <a:lnTo>
                              <a:pt x="711" y="67"/>
                            </a:lnTo>
                            <a:lnTo>
                              <a:pt x="702" y="54"/>
                            </a:lnTo>
                            <a:lnTo>
                              <a:pt x="688" y="49"/>
                            </a:lnTo>
                            <a:lnTo>
                              <a:pt x="671" y="63"/>
                            </a:lnTo>
                            <a:lnTo>
                              <a:pt x="644" y="85"/>
                            </a:lnTo>
                            <a:lnTo>
                              <a:pt x="612" y="94"/>
                            </a:lnTo>
                            <a:lnTo>
                              <a:pt x="595" y="94"/>
                            </a:lnTo>
                            <a:lnTo>
                              <a:pt x="595" y="108"/>
                            </a:lnTo>
                            <a:lnTo>
                              <a:pt x="586" y="103"/>
                            </a:lnTo>
                            <a:lnTo>
                              <a:pt x="563" y="125"/>
                            </a:lnTo>
                            <a:lnTo>
                              <a:pt x="554" y="143"/>
                            </a:lnTo>
                            <a:lnTo>
                              <a:pt x="528" y="166"/>
                            </a:lnTo>
                            <a:lnTo>
                              <a:pt x="519" y="161"/>
                            </a:lnTo>
                            <a:lnTo>
                              <a:pt x="519" y="179"/>
                            </a:lnTo>
                            <a:lnTo>
                              <a:pt x="523" y="175"/>
                            </a:lnTo>
                            <a:lnTo>
                              <a:pt x="528" y="179"/>
                            </a:lnTo>
                            <a:lnTo>
                              <a:pt x="519" y="188"/>
                            </a:lnTo>
                            <a:lnTo>
                              <a:pt x="528" y="188"/>
                            </a:lnTo>
                            <a:lnTo>
                              <a:pt x="514" y="192"/>
                            </a:lnTo>
                            <a:lnTo>
                              <a:pt x="523" y="201"/>
                            </a:lnTo>
                            <a:lnTo>
                              <a:pt x="514" y="201"/>
                            </a:lnTo>
                            <a:lnTo>
                              <a:pt x="519" y="215"/>
                            </a:lnTo>
                            <a:lnTo>
                              <a:pt x="510" y="215"/>
                            </a:lnTo>
                            <a:lnTo>
                              <a:pt x="505" y="219"/>
                            </a:lnTo>
                            <a:lnTo>
                              <a:pt x="505" y="224"/>
                            </a:lnTo>
                            <a:lnTo>
                              <a:pt x="487" y="237"/>
                            </a:lnTo>
                            <a:lnTo>
                              <a:pt x="496" y="246"/>
                            </a:lnTo>
                            <a:lnTo>
                              <a:pt x="514" y="242"/>
                            </a:lnTo>
                            <a:lnTo>
                              <a:pt x="496" y="260"/>
                            </a:lnTo>
                            <a:lnTo>
                              <a:pt x="501" y="260"/>
                            </a:lnTo>
                            <a:lnTo>
                              <a:pt x="514" y="255"/>
                            </a:lnTo>
                            <a:lnTo>
                              <a:pt x="528" y="264"/>
                            </a:lnTo>
                            <a:lnTo>
                              <a:pt x="532" y="268"/>
                            </a:lnTo>
                            <a:close/>
                            <a:moveTo>
                              <a:pt x="550" y="385"/>
                            </a:moveTo>
                            <a:lnTo>
                              <a:pt x="537" y="376"/>
                            </a:lnTo>
                            <a:lnTo>
                              <a:pt x="519" y="349"/>
                            </a:lnTo>
                            <a:lnTo>
                              <a:pt x="519" y="327"/>
                            </a:lnTo>
                            <a:lnTo>
                              <a:pt x="523" y="300"/>
                            </a:lnTo>
                            <a:lnTo>
                              <a:pt x="528" y="268"/>
                            </a:lnTo>
                            <a:lnTo>
                              <a:pt x="510" y="260"/>
                            </a:lnTo>
                            <a:lnTo>
                              <a:pt x="501" y="264"/>
                            </a:lnTo>
                            <a:lnTo>
                              <a:pt x="487" y="268"/>
                            </a:lnTo>
                            <a:lnTo>
                              <a:pt x="483" y="282"/>
                            </a:lnTo>
                            <a:lnTo>
                              <a:pt x="478" y="282"/>
                            </a:lnTo>
                            <a:lnTo>
                              <a:pt x="470" y="291"/>
                            </a:lnTo>
                            <a:lnTo>
                              <a:pt x="474" y="295"/>
                            </a:lnTo>
                            <a:lnTo>
                              <a:pt x="470" y="322"/>
                            </a:lnTo>
                            <a:lnTo>
                              <a:pt x="461" y="322"/>
                            </a:lnTo>
                            <a:lnTo>
                              <a:pt x="456" y="335"/>
                            </a:lnTo>
                            <a:lnTo>
                              <a:pt x="461" y="344"/>
                            </a:lnTo>
                            <a:lnTo>
                              <a:pt x="465" y="349"/>
                            </a:lnTo>
                            <a:lnTo>
                              <a:pt x="483" y="353"/>
                            </a:lnTo>
                            <a:lnTo>
                              <a:pt x="487" y="358"/>
                            </a:lnTo>
                            <a:lnTo>
                              <a:pt x="474" y="358"/>
                            </a:lnTo>
                            <a:lnTo>
                              <a:pt x="474" y="362"/>
                            </a:lnTo>
                            <a:lnTo>
                              <a:pt x="478" y="362"/>
                            </a:lnTo>
                            <a:lnTo>
                              <a:pt x="483" y="380"/>
                            </a:lnTo>
                            <a:lnTo>
                              <a:pt x="483" y="367"/>
                            </a:lnTo>
                            <a:lnTo>
                              <a:pt x="492" y="367"/>
                            </a:lnTo>
                            <a:lnTo>
                              <a:pt x="501" y="371"/>
                            </a:lnTo>
                            <a:lnTo>
                              <a:pt x="492" y="376"/>
                            </a:lnTo>
                            <a:lnTo>
                              <a:pt x="487" y="389"/>
                            </a:lnTo>
                            <a:lnTo>
                              <a:pt x="501" y="398"/>
                            </a:lnTo>
                            <a:lnTo>
                              <a:pt x="514" y="403"/>
                            </a:lnTo>
                            <a:lnTo>
                              <a:pt x="519" y="394"/>
                            </a:lnTo>
                            <a:lnTo>
                              <a:pt x="532" y="398"/>
                            </a:lnTo>
                            <a:lnTo>
                              <a:pt x="528" y="385"/>
                            </a:lnTo>
                            <a:lnTo>
                              <a:pt x="541" y="394"/>
                            </a:lnTo>
                            <a:lnTo>
                              <a:pt x="550" y="385"/>
                            </a:lnTo>
                            <a:close/>
                            <a:moveTo>
                              <a:pt x="729" y="255"/>
                            </a:moveTo>
                            <a:lnTo>
                              <a:pt x="729" y="277"/>
                            </a:lnTo>
                            <a:lnTo>
                              <a:pt x="733" y="277"/>
                            </a:lnTo>
                            <a:lnTo>
                              <a:pt x="751" y="268"/>
                            </a:lnTo>
                            <a:lnTo>
                              <a:pt x="751" y="260"/>
                            </a:lnTo>
                            <a:lnTo>
                              <a:pt x="738" y="251"/>
                            </a:lnTo>
                            <a:lnTo>
                              <a:pt x="729" y="255"/>
                            </a:lnTo>
                            <a:close/>
                            <a:moveTo>
                              <a:pt x="1224" y="979"/>
                            </a:moveTo>
                            <a:lnTo>
                              <a:pt x="1229" y="979"/>
                            </a:lnTo>
                            <a:lnTo>
                              <a:pt x="1256" y="957"/>
                            </a:lnTo>
                            <a:lnTo>
                              <a:pt x="1265" y="948"/>
                            </a:lnTo>
                            <a:lnTo>
                              <a:pt x="1260" y="943"/>
                            </a:lnTo>
                            <a:lnTo>
                              <a:pt x="1278" y="921"/>
                            </a:lnTo>
                            <a:lnTo>
                              <a:pt x="1282" y="912"/>
                            </a:lnTo>
                            <a:lnTo>
                              <a:pt x="1282" y="894"/>
                            </a:lnTo>
                            <a:lnTo>
                              <a:pt x="1291" y="885"/>
                            </a:lnTo>
                            <a:lnTo>
                              <a:pt x="1296" y="890"/>
                            </a:lnTo>
                            <a:lnTo>
                              <a:pt x="1287" y="925"/>
                            </a:lnTo>
                            <a:lnTo>
                              <a:pt x="1291" y="930"/>
                            </a:lnTo>
                            <a:lnTo>
                              <a:pt x="1287" y="939"/>
                            </a:lnTo>
                            <a:lnTo>
                              <a:pt x="1282" y="934"/>
                            </a:lnTo>
                            <a:lnTo>
                              <a:pt x="1278" y="939"/>
                            </a:lnTo>
                            <a:lnTo>
                              <a:pt x="1278" y="943"/>
                            </a:lnTo>
                            <a:lnTo>
                              <a:pt x="1265" y="961"/>
                            </a:lnTo>
                            <a:lnTo>
                              <a:pt x="1256" y="970"/>
                            </a:lnTo>
                            <a:lnTo>
                              <a:pt x="1251" y="979"/>
                            </a:lnTo>
                            <a:lnTo>
                              <a:pt x="1247" y="975"/>
                            </a:lnTo>
                            <a:lnTo>
                              <a:pt x="1238" y="988"/>
                            </a:lnTo>
                            <a:lnTo>
                              <a:pt x="1224" y="992"/>
                            </a:lnTo>
                            <a:lnTo>
                              <a:pt x="1207" y="988"/>
                            </a:lnTo>
                            <a:lnTo>
                              <a:pt x="1220" y="983"/>
                            </a:lnTo>
                            <a:lnTo>
                              <a:pt x="1224" y="979"/>
                            </a:lnTo>
                            <a:close/>
                            <a:moveTo>
                              <a:pt x="1716" y="108"/>
                            </a:moveTo>
                            <a:lnTo>
                              <a:pt x="1693" y="121"/>
                            </a:lnTo>
                            <a:lnTo>
                              <a:pt x="1680" y="139"/>
                            </a:lnTo>
                            <a:lnTo>
                              <a:pt x="1676" y="166"/>
                            </a:lnTo>
                            <a:lnTo>
                              <a:pt x="1680" y="179"/>
                            </a:lnTo>
                            <a:lnTo>
                              <a:pt x="1698" y="192"/>
                            </a:lnTo>
                            <a:lnTo>
                              <a:pt x="1716" y="201"/>
                            </a:lnTo>
                            <a:lnTo>
                              <a:pt x="1725" y="188"/>
                            </a:lnTo>
                            <a:lnTo>
                              <a:pt x="1729" y="197"/>
                            </a:lnTo>
                            <a:lnTo>
                              <a:pt x="1738" y="192"/>
                            </a:lnTo>
                            <a:lnTo>
                              <a:pt x="1747" y="184"/>
                            </a:lnTo>
                            <a:lnTo>
                              <a:pt x="1751" y="188"/>
                            </a:lnTo>
                            <a:lnTo>
                              <a:pt x="1760" y="184"/>
                            </a:lnTo>
                            <a:lnTo>
                              <a:pt x="1765" y="188"/>
                            </a:lnTo>
                            <a:lnTo>
                              <a:pt x="1769" y="184"/>
                            </a:lnTo>
                            <a:lnTo>
                              <a:pt x="1760" y="179"/>
                            </a:lnTo>
                            <a:lnTo>
                              <a:pt x="1756" y="166"/>
                            </a:lnTo>
                            <a:lnTo>
                              <a:pt x="1756" y="148"/>
                            </a:lnTo>
                            <a:lnTo>
                              <a:pt x="1760" y="130"/>
                            </a:lnTo>
                            <a:lnTo>
                              <a:pt x="1765" y="139"/>
                            </a:lnTo>
                            <a:lnTo>
                              <a:pt x="1760" y="152"/>
                            </a:lnTo>
                            <a:lnTo>
                              <a:pt x="1765" y="175"/>
                            </a:lnTo>
                            <a:lnTo>
                              <a:pt x="1774" y="179"/>
                            </a:lnTo>
                            <a:lnTo>
                              <a:pt x="1783" y="175"/>
                            </a:lnTo>
                            <a:lnTo>
                              <a:pt x="1792" y="161"/>
                            </a:lnTo>
                            <a:lnTo>
                              <a:pt x="1787" y="148"/>
                            </a:lnTo>
                            <a:lnTo>
                              <a:pt x="1796" y="139"/>
                            </a:lnTo>
                            <a:lnTo>
                              <a:pt x="1765" y="121"/>
                            </a:lnTo>
                            <a:lnTo>
                              <a:pt x="1747" y="103"/>
                            </a:lnTo>
                            <a:lnTo>
                              <a:pt x="1738" y="121"/>
                            </a:lnTo>
                            <a:lnTo>
                              <a:pt x="1734" y="134"/>
                            </a:lnTo>
                            <a:lnTo>
                              <a:pt x="1729" y="134"/>
                            </a:lnTo>
                            <a:lnTo>
                              <a:pt x="1716" y="108"/>
                            </a:lnTo>
                            <a:close/>
                            <a:moveTo>
                              <a:pt x="1729" y="219"/>
                            </a:moveTo>
                            <a:lnTo>
                              <a:pt x="1729" y="237"/>
                            </a:lnTo>
                            <a:lnTo>
                              <a:pt x="1734" y="242"/>
                            </a:lnTo>
                            <a:lnTo>
                              <a:pt x="1738" y="233"/>
                            </a:lnTo>
                            <a:lnTo>
                              <a:pt x="1738" y="224"/>
                            </a:lnTo>
                            <a:lnTo>
                              <a:pt x="1729" y="219"/>
                            </a:lnTo>
                            <a:close/>
                            <a:moveTo>
                              <a:pt x="1738" y="242"/>
                            </a:moveTo>
                            <a:lnTo>
                              <a:pt x="1734" y="255"/>
                            </a:lnTo>
                            <a:lnTo>
                              <a:pt x="1720" y="260"/>
                            </a:lnTo>
                            <a:lnTo>
                              <a:pt x="1720" y="264"/>
                            </a:lnTo>
                            <a:lnTo>
                              <a:pt x="1734" y="264"/>
                            </a:lnTo>
                            <a:lnTo>
                              <a:pt x="1774" y="268"/>
                            </a:lnTo>
                            <a:lnTo>
                              <a:pt x="1774" y="251"/>
                            </a:lnTo>
                            <a:lnTo>
                              <a:pt x="1760" y="246"/>
                            </a:lnTo>
                            <a:lnTo>
                              <a:pt x="1760" y="242"/>
                            </a:lnTo>
                            <a:lnTo>
                              <a:pt x="1751" y="237"/>
                            </a:lnTo>
                            <a:lnTo>
                              <a:pt x="1738" y="242"/>
                            </a:lnTo>
                            <a:close/>
                            <a:moveTo>
                              <a:pt x="1765" y="921"/>
                            </a:moveTo>
                            <a:lnTo>
                              <a:pt x="1756" y="921"/>
                            </a:lnTo>
                            <a:lnTo>
                              <a:pt x="1756" y="939"/>
                            </a:lnTo>
                            <a:lnTo>
                              <a:pt x="1747" y="948"/>
                            </a:lnTo>
                            <a:lnTo>
                              <a:pt x="1747" y="988"/>
                            </a:lnTo>
                            <a:lnTo>
                              <a:pt x="1751" y="1006"/>
                            </a:lnTo>
                            <a:lnTo>
                              <a:pt x="1747" y="1055"/>
                            </a:lnTo>
                            <a:lnTo>
                              <a:pt x="1756" y="1068"/>
                            </a:lnTo>
                            <a:lnTo>
                              <a:pt x="1747" y="1082"/>
                            </a:lnTo>
                            <a:lnTo>
                              <a:pt x="1751" y="1091"/>
                            </a:lnTo>
                            <a:lnTo>
                              <a:pt x="1747" y="1104"/>
                            </a:lnTo>
                            <a:lnTo>
                              <a:pt x="1751" y="1118"/>
                            </a:lnTo>
                            <a:lnTo>
                              <a:pt x="1760" y="1100"/>
                            </a:lnTo>
                            <a:lnTo>
                              <a:pt x="1769" y="1104"/>
                            </a:lnTo>
                            <a:lnTo>
                              <a:pt x="1774" y="1113"/>
                            </a:lnTo>
                            <a:lnTo>
                              <a:pt x="1774" y="1095"/>
                            </a:lnTo>
                            <a:lnTo>
                              <a:pt x="1760" y="1077"/>
                            </a:lnTo>
                            <a:lnTo>
                              <a:pt x="1769" y="1046"/>
                            </a:lnTo>
                            <a:lnTo>
                              <a:pt x="1783" y="1046"/>
                            </a:lnTo>
                            <a:lnTo>
                              <a:pt x="1792" y="1055"/>
                            </a:lnTo>
                            <a:lnTo>
                              <a:pt x="1787" y="1046"/>
                            </a:lnTo>
                            <a:lnTo>
                              <a:pt x="1778" y="1019"/>
                            </a:lnTo>
                            <a:lnTo>
                              <a:pt x="1769" y="952"/>
                            </a:lnTo>
                            <a:lnTo>
                              <a:pt x="1765" y="921"/>
                            </a:lnTo>
                            <a:close/>
                            <a:moveTo>
                              <a:pt x="1805" y="1158"/>
                            </a:moveTo>
                            <a:lnTo>
                              <a:pt x="1805" y="1162"/>
                            </a:lnTo>
                            <a:lnTo>
                              <a:pt x="1819" y="1144"/>
                            </a:lnTo>
                            <a:lnTo>
                              <a:pt x="1814" y="1144"/>
                            </a:lnTo>
                            <a:lnTo>
                              <a:pt x="1805" y="1158"/>
                            </a:lnTo>
                            <a:close/>
                            <a:moveTo>
                              <a:pt x="1850" y="1118"/>
                            </a:moveTo>
                            <a:lnTo>
                              <a:pt x="1841" y="1126"/>
                            </a:lnTo>
                            <a:lnTo>
                              <a:pt x="1836" y="1122"/>
                            </a:lnTo>
                            <a:lnTo>
                              <a:pt x="1827" y="1131"/>
                            </a:lnTo>
                            <a:lnTo>
                              <a:pt x="1823" y="1140"/>
                            </a:lnTo>
                            <a:lnTo>
                              <a:pt x="1819" y="1144"/>
                            </a:lnTo>
                            <a:lnTo>
                              <a:pt x="1823" y="1144"/>
                            </a:lnTo>
                            <a:lnTo>
                              <a:pt x="1836" y="1135"/>
                            </a:lnTo>
                            <a:lnTo>
                              <a:pt x="1850" y="1126"/>
                            </a:lnTo>
                            <a:lnTo>
                              <a:pt x="1850" y="1118"/>
                            </a:lnTo>
                            <a:close/>
                            <a:moveTo>
                              <a:pt x="1854" y="161"/>
                            </a:moveTo>
                            <a:lnTo>
                              <a:pt x="1850" y="166"/>
                            </a:lnTo>
                            <a:lnTo>
                              <a:pt x="1845" y="166"/>
                            </a:lnTo>
                            <a:lnTo>
                              <a:pt x="1850" y="152"/>
                            </a:lnTo>
                            <a:lnTo>
                              <a:pt x="1832" y="152"/>
                            </a:lnTo>
                            <a:lnTo>
                              <a:pt x="1827" y="157"/>
                            </a:lnTo>
                            <a:lnTo>
                              <a:pt x="1819" y="157"/>
                            </a:lnTo>
                            <a:lnTo>
                              <a:pt x="1823" y="143"/>
                            </a:lnTo>
                            <a:lnTo>
                              <a:pt x="1814" y="143"/>
                            </a:lnTo>
                            <a:lnTo>
                              <a:pt x="1814" y="157"/>
                            </a:lnTo>
                            <a:lnTo>
                              <a:pt x="1810" y="161"/>
                            </a:lnTo>
                            <a:lnTo>
                              <a:pt x="1810" y="170"/>
                            </a:lnTo>
                            <a:lnTo>
                              <a:pt x="1823" y="184"/>
                            </a:lnTo>
                            <a:lnTo>
                              <a:pt x="1832" y="188"/>
                            </a:lnTo>
                            <a:lnTo>
                              <a:pt x="1841" y="197"/>
                            </a:lnTo>
                            <a:lnTo>
                              <a:pt x="1863" y="197"/>
                            </a:lnTo>
                            <a:lnTo>
                              <a:pt x="1868" y="192"/>
                            </a:lnTo>
                            <a:lnTo>
                              <a:pt x="1877" y="188"/>
                            </a:lnTo>
                            <a:lnTo>
                              <a:pt x="1872" y="184"/>
                            </a:lnTo>
                            <a:lnTo>
                              <a:pt x="1877" y="175"/>
                            </a:lnTo>
                            <a:lnTo>
                              <a:pt x="1872" y="175"/>
                            </a:lnTo>
                            <a:lnTo>
                              <a:pt x="1868" y="175"/>
                            </a:lnTo>
                            <a:lnTo>
                              <a:pt x="1868" y="170"/>
                            </a:lnTo>
                            <a:lnTo>
                              <a:pt x="1854" y="161"/>
                            </a:lnTo>
                            <a:close/>
                            <a:moveTo>
                              <a:pt x="1877" y="1109"/>
                            </a:moveTo>
                            <a:lnTo>
                              <a:pt x="1872" y="1109"/>
                            </a:lnTo>
                            <a:lnTo>
                              <a:pt x="1859" y="1122"/>
                            </a:lnTo>
                            <a:lnTo>
                              <a:pt x="1863" y="1126"/>
                            </a:lnTo>
                            <a:lnTo>
                              <a:pt x="1877" y="1109"/>
                            </a:lnTo>
                            <a:close/>
                            <a:moveTo>
                              <a:pt x="1899" y="1086"/>
                            </a:moveTo>
                            <a:lnTo>
                              <a:pt x="1903" y="1086"/>
                            </a:lnTo>
                            <a:lnTo>
                              <a:pt x="1899" y="1082"/>
                            </a:lnTo>
                            <a:lnTo>
                              <a:pt x="1890" y="1091"/>
                            </a:lnTo>
                            <a:lnTo>
                              <a:pt x="1890" y="1100"/>
                            </a:lnTo>
                            <a:lnTo>
                              <a:pt x="1899" y="1091"/>
                            </a:lnTo>
                            <a:lnTo>
                              <a:pt x="1899" y="1086"/>
                            </a:lnTo>
                            <a:close/>
                            <a:moveTo>
                              <a:pt x="1935" y="1037"/>
                            </a:moveTo>
                            <a:lnTo>
                              <a:pt x="1930" y="1042"/>
                            </a:lnTo>
                            <a:lnTo>
                              <a:pt x="1935" y="1046"/>
                            </a:lnTo>
                            <a:lnTo>
                              <a:pt x="1939" y="1037"/>
                            </a:lnTo>
                            <a:lnTo>
                              <a:pt x="1935" y="1037"/>
                            </a:lnTo>
                            <a:close/>
                            <a:moveTo>
                              <a:pt x="1957" y="1015"/>
                            </a:moveTo>
                            <a:lnTo>
                              <a:pt x="1957" y="1019"/>
                            </a:lnTo>
                            <a:lnTo>
                              <a:pt x="1961" y="1015"/>
                            </a:lnTo>
                            <a:lnTo>
                              <a:pt x="1957" y="1010"/>
                            </a:lnTo>
                            <a:lnTo>
                              <a:pt x="1953" y="1015"/>
                            </a:lnTo>
                            <a:lnTo>
                              <a:pt x="1957" y="1015"/>
                            </a:lnTo>
                            <a:lnTo>
                              <a:pt x="1953" y="1015"/>
                            </a:lnTo>
                            <a:lnTo>
                              <a:pt x="1948" y="1024"/>
                            </a:lnTo>
                            <a:lnTo>
                              <a:pt x="1944" y="1024"/>
                            </a:lnTo>
                            <a:lnTo>
                              <a:pt x="1944" y="1033"/>
                            </a:lnTo>
                            <a:lnTo>
                              <a:pt x="1948" y="1028"/>
                            </a:lnTo>
                            <a:lnTo>
                              <a:pt x="1957" y="1019"/>
                            </a:lnTo>
                            <a:lnTo>
                              <a:pt x="1957" y="1015"/>
                            </a:lnTo>
                            <a:close/>
                            <a:moveTo>
                              <a:pt x="2064" y="800"/>
                            </a:moveTo>
                            <a:lnTo>
                              <a:pt x="2060" y="809"/>
                            </a:lnTo>
                            <a:lnTo>
                              <a:pt x="2055" y="818"/>
                            </a:lnTo>
                            <a:lnTo>
                              <a:pt x="2060" y="823"/>
                            </a:lnTo>
                            <a:lnTo>
                              <a:pt x="2078" y="805"/>
                            </a:lnTo>
                            <a:lnTo>
                              <a:pt x="2073" y="796"/>
                            </a:lnTo>
                            <a:lnTo>
                              <a:pt x="2069" y="796"/>
                            </a:lnTo>
                            <a:lnTo>
                              <a:pt x="2069" y="800"/>
                            </a:lnTo>
                            <a:lnTo>
                              <a:pt x="2064" y="800"/>
                            </a:lnTo>
                            <a:close/>
                            <a:moveTo>
                              <a:pt x="2100" y="903"/>
                            </a:moveTo>
                            <a:lnTo>
                              <a:pt x="2091" y="903"/>
                            </a:lnTo>
                            <a:lnTo>
                              <a:pt x="2095" y="907"/>
                            </a:lnTo>
                            <a:lnTo>
                              <a:pt x="2104" y="921"/>
                            </a:lnTo>
                            <a:lnTo>
                              <a:pt x="2104" y="912"/>
                            </a:lnTo>
                            <a:lnTo>
                              <a:pt x="2100" y="903"/>
                            </a:lnTo>
                            <a:close/>
                            <a:moveTo>
                              <a:pt x="2274" y="371"/>
                            </a:moveTo>
                            <a:lnTo>
                              <a:pt x="2279" y="385"/>
                            </a:lnTo>
                            <a:lnTo>
                              <a:pt x="2288" y="380"/>
                            </a:lnTo>
                            <a:lnTo>
                              <a:pt x="2292" y="380"/>
                            </a:lnTo>
                            <a:lnTo>
                              <a:pt x="2301" y="376"/>
                            </a:lnTo>
                            <a:lnTo>
                              <a:pt x="2305" y="380"/>
                            </a:lnTo>
                            <a:lnTo>
                              <a:pt x="2319" y="380"/>
                            </a:lnTo>
                            <a:lnTo>
                              <a:pt x="2337" y="367"/>
                            </a:lnTo>
                            <a:lnTo>
                              <a:pt x="2328" y="353"/>
                            </a:lnTo>
                            <a:lnTo>
                              <a:pt x="2305" y="349"/>
                            </a:lnTo>
                            <a:lnTo>
                              <a:pt x="2296" y="349"/>
                            </a:lnTo>
                            <a:lnTo>
                              <a:pt x="2274" y="371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0" name="Freeform 160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243" y="2166"/>
                        <a:ext cx="308" cy="253"/>
                      </a:xfrm>
                      <a:custGeom>
                        <a:avLst/>
                        <a:gdLst>
                          <a:gd name="T0" fmla="*/ 9 w 326"/>
                          <a:gd name="T1" fmla="*/ 8 h 268"/>
                          <a:gd name="T2" fmla="*/ 9 w 326"/>
                          <a:gd name="T3" fmla="*/ 8 h 268"/>
                          <a:gd name="T4" fmla="*/ 9 w 326"/>
                          <a:gd name="T5" fmla="*/ 8 h 268"/>
                          <a:gd name="T6" fmla="*/ 9 w 326"/>
                          <a:gd name="T7" fmla="*/ 8 h 268"/>
                          <a:gd name="T8" fmla="*/ 9 w 326"/>
                          <a:gd name="T9" fmla="*/ 8 h 268"/>
                          <a:gd name="T10" fmla="*/ 14 w 326"/>
                          <a:gd name="T11" fmla="*/ 0 h 268"/>
                          <a:gd name="T12" fmla="*/ 19 w 326"/>
                          <a:gd name="T13" fmla="*/ 4 h 268"/>
                          <a:gd name="T14" fmla="*/ 24 w 326"/>
                          <a:gd name="T15" fmla="*/ 8 h 268"/>
                          <a:gd name="T16" fmla="*/ 24 w 326"/>
                          <a:gd name="T17" fmla="*/ 8 h 268"/>
                          <a:gd name="T18" fmla="*/ 25 w 326"/>
                          <a:gd name="T19" fmla="*/ 8 h 268"/>
                          <a:gd name="T20" fmla="*/ 25 w 326"/>
                          <a:gd name="T21" fmla="*/ 8 h 268"/>
                          <a:gd name="T22" fmla="*/ 27 w 326"/>
                          <a:gd name="T23" fmla="*/ 8 h 268"/>
                          <a:gd name="T24" fmla="*/ 32 w 326"/>
                          <a:gd name="T25" fmla="*/ 8 h 268"/>
                          <a:gd name="T26" fmla="*/ 35 w 326"/>
                          <a:gd name="T27" fmla="*/ 9 h 268"/>
                          <a:gd name="T28" fmla="*/ 35 w 326"/>
                          <a:gd name="T29" fmla="*/ 11 h 268"/>
                          <a:gd name="T30" fmla="*/ 37 w 326"/>
                          <a:gd name="T31" fmla="*/ 9 h 268"/>
                          <a:gd name="T32" fmla="*/ 39 w 326"/>
                          <a:gd name="T33" fmla="*/ 13 h 268"/>
                          <a:gd name="T34" fmla="*/ 39 w 326"/>
                          <a:gd name="T35" fmla="*/ 15 h 268"/>
                          <a:gd name="T36" fmla="*/ 41 w 326"/>
                          <a:gd name="T37" fmla="*/ 17 h 268"/>
                          <a:gd name="T38" fmla="*/ 41 w 326"/>
                          <a:gd name="T39" fmla="*/ 19 h 268"/>
                          <a:gd name="T40" fmla="*/ 43 w 326"/>
                          <a:gd name="T41" fmla="*/ 22 h 268"/>
                          <a:gd name="T42" fmla="*/ 45 w 326"/>
                          <a:gd name="T43" fmla="*/ 25 h 268"/>
                          <a:gd name="T44" fmla="*/ 47 w 326"/>
                          <a:gd name="T45" fmla="*/ 26 h 268"/>
                          <a:gd name="T46" fmla="*/ 51 w 326"/>
                          <a:gd name="T47" fmla="*/ 25 h 268"/>
                          <a:gd name="T48" fmla="*/ 55 w 326"/>
                          <a:gd name="T49" fmla="*/ 24 h 268"/>
                          <a:gd name="T50" fmla="*/ 55 w 326"/>
                          <a:gd name="T51" fmla="*/ 28 h 268"/>
                          <a:gd name="T52" fmla="*/ 57 w 326"/>
                          <a:gd name="T53" fmla="*/ 28 h 268"/>
                          <a:gd name="T54" fmla="*/ 58 w 326"/>
                          <a:gd name="T55" fmla="*/ 28 h 268"/>
                          <a:gd name="T56" fmla="*/ 60 w 326"/>
                          <a:gd name="T57" fmla="*/ 33 h 268"/>
                          <a:gd name="T58" fmla="*/ 58 w 326"/>
                          <a:gd name="T59" fmla="*/ 36 h 268"/>
                          <a:gd name="T60" fmla="*/ 57 w 326"/>
                          <a:gd name="T61" fmla="*/ 36 h 268"/>
                          <a:gd name="T62" fmla="*/ 49 w 326"/>
                          <a:gd name="T63" fmla="*/ 40 h 268"/>
                          <a:gd name="T64" fmla="*/ 46 w 326"/>
                          <a:gd name="T65" fmla="*/ 42 h 268"/>
                          <a:gd name="T66" fmla="*/ 43 w 326"/>
                          <a:gd name="T67" fmla="*/ 42 h 268"/>
                          <a:gd name="T68" fmla="*/ 29 w 326"/>
                          <a:gd name="T69" fmla="*/ 48 h 268"/>
                          <a:gd name="T70" fmla="*/ 31 w 326"/>
                          <a:gd name="T71" fmla="*/ 43 h 268"/>
                          <a:gd name="T72" fmla="*/ 25 w 326"/>
                          <a:gd name="T73" fmla="*/ 42 h 268"/>
                          <a:gd name="T74" fmla="*/ 24 w 326"/>
                          <a:gd name="T75" fmla="*/ 44 h 268"/>
                          <a:gd name="T76" fmla="*/ 24 w 326"/>
                          <a:gd name="T77" fmla="*/ 44 h 268"/>
                          <a:gd name="T78" fmla="*/ 23 w 326"/>
                          <a:gd name="T79" fmla="*/ 43 h 268"/>
                          <a:gd name="T80" fmla="*/ 23 w 326"/>
                          <a:gd name="T81" fmla="*/ 43 h 268"/>
                          <a:gd name="T82" fmla="*/ 19 w 326"/>
                          <a:gd name="T83" fmla="*/ 37 h 268"/>
                          <a:gd name="T84" fmla="*/ 18 w 326"/>
                          <a:gd name="T85" fmla="*/ 36 h 268"/>
                          <a:gd name="T86" fmla="*/ 16 w 326"/>
                          <a:gd name="T87" fmla="*/ 34 h 268"/>
                          <a:gd name="T88" fmla="*/ 13 w 326"/>
                          <a:gd name="T89" fmla="*/ 32 h 268"/>
                          <a:gd name="T90" fmla="*/ 13 w 326"/>
                          <a:gd name="T91" fmla="*/ 30 h 268"/>
                          <a:gd name="T92" fmla="*/ 11 w 326"/>
                          <a:gd name="T93" fmla="*/ 30 h 268"/>
                          <a:gd name="T94" fmla="*/ 11 w 326"/>
                          <a:gd name="T95" fmla="*/ 28 h 268"/>
                          <a:gd name="T96" fmla="*/ 13 w 326"/>
                          <a:gd name="T97" fmla="*/ 30 h 268"/>
                          <a:gd name="T98" fmla="*/ 13 w 326"/>
                          <a:gd name="T99" fmla="*/ 28 h 268"/>
                          <a:gd name="T100" fmla="*/ 11 w 326"/>
                          <a:gd name="T101" fmla="*/ 26 h 268"/>
                          <a:gd name="T102" fmla="*/ 10 w 326"/>
                          <a:gd name="T103" fmla="*/ 25 h 268"/>
                          <a:gd name="T104" fmla="*/ 9 w 326"/>
                          <a:gd name="T105" fmla="*/ 23 h 268"/>
                          <a:gd name="T106" fmla="*/ 9 w 326"/>
                          <a:gd name="T107" fmla="*/ 23 h 268"/>
                          <a:gd name="T108" fmla="*/ 9 w 326"/>
                          <a:gd name="T109" fmla="*/ 22 h 268"/>
                          <a:gd name="T110" fmla="*/ 9 w 326"/>
                          <a:gd name="T111" fmla="*/ 22 h 268"/>
                          <a:gd name="T112" fmla="*/ 9 w 326"/>
                          <a:gd name="T113" fmla="*/ 20 h 268"/>
                          <a:gd name="T114" fmla="*/ 9 w 326"/>
                          <a:gd name="T115" fmla="*/ 19 h 268"/>
                          <a:gd name="T116" fmla="*/ 9 w 326"/>
                          <a:gd name="T117" fmla="*/ 12 h 268"/>
                          <a:gd name="T118" fmla="*/ 0 w 326"/>
                          <a:gd name="T119" fmla="*/ 12 h 268"/>
                          <a:gd name="T120" fmla="*/ 0 w 326"/>
                          <a:gd name="T121" fmla="*/ 11 h 268"/>
                          <a:gd name="T122" fmla="*/ 9 w 326"/>
                          <a:gd name="T123" fmla="*/ 8 h 268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60000 65536"/>
                          <a:gd name="T178" fmla="*/ 0 60000 65536"/>
                          <a:gd name="T179" fmla="*/ 0 60000 65536"/>
                          <a:gd name="T180" fmla="*/ 0 60000 65536"/>
                          <a:gd name="T181" fmla="*/ 0 60000 65536"/>
                          <a:gd name="T182" fmla="*/ 0 60000 65536"/>
                          <a:gd name="T183" fmla="*/ 0 60000 65536"/>
                          <a:gd name="T184" fmla="*/ 0 60000 65536"/>
                          <a:gd name="T185" fmla="*/ 0 60000 65536"/>
                          <a:gd name="T186" fmla="*/ 0 w 326"/>
                          <a:gd name="T187" fmla="*/ 0 h 268"/>
                          <a:gd name="T188" fmla="*/ 326 w 326"/>
                          <a:gd name="T189" fmla="*/ 268 h 268"/>
                        </a:gdLst>
                        <a:ahLst/>
                        <a:cxnLst>
                          <a:cxn ang="T124">
                            <a:pos x="T0" y="T1"/>
                          </a:cxn>
                          <a:cxn ang="T125">
                            <a:pos x="T2" y="T3"/>
                          </a:cxn>
                          <a:cxn ang="T126">
                            <a:pos x="T4" y="T5"/>
                          </a:cxn>
                          <a:cxn ang="T127">
                            <a:pos x="T6" y="T7"/>
                          </a:cxn>
                          <a:cxn ang="T128">
                            <a:pos x="T8" y="T9"/>
                          </a:cxn>
                          <a:cxn ang="T129">
                            <a:pos x="T10" y="T11"/>
                          </a:cxn>
                          <a:cxn ang="T130">
                            <a:pos x="T12" y="T13"/>
                          </a:cxn>
                          <a:cxn ang="T131">
                            <a:pos x="T14" y="T15"/>
                          </a:cxn>
                          <a:cxn ang="T132">
                            <a:pos x="T16" y="T17"/>
                          </a:cxn>
                          <a:cxn ang="T133">
                            <a:pos x="T18" y="T19"/>
                          </a:cxn>
                          <a:cxn ang="T134">
                            <a:pos x="T20" y="T21"/>
                          </a:cxn>
                          <a:cxn ang="T135">
                            <a:pos x="T22" y="T23"/>
                          </a:cxn>
                          <a:cxn ang="T136">
                            <a:pos x="T24" y="T25"/>
                          </a:cxn>
                          <a:cxn ang="T137">
                            <a:pos x="T26" y="T27"/>
                          </a:cxn>
                          <a:cxn ang="T138">
                            <a:pos x="T28" y="T29"/>
                          </a:cxn>
                          <a:cxn ang="T139">
                            <a:pos x="T30" y="T31"/>
                          </a:cxn>
                          <a:cxn ang="T140">
                            <a:pos x="T32" y="T33"/>
                          </a:cxn>
                          <a:cxn ang="T141">
                            <a:pos x="T34" y="T35"/>
                          </a:cxn>
                          <a:cxn ang="T142">
                            <a:pos x="T36" y="T37"/>
                          </a:cxn>
                          <a:cxn ang="T143">
                            <a:pos x="T38" y="T39"/>
                          </a:cxn>
                          <a:cxn ang="T144">
                            <a:pos x="T40" y="T41"/>
                          </a:cxn>
                          <a:cxn ang="T145">
                            <a:pos x="T42" y="T43"/>
                          </a:cxn>
                          <a:cxn ang="T146">
                            <a:pos x="T44" y="T45"/>
                          </a:cxn>
                          <a:cxn ang="T147">
                            <a:pos x="T46" y="T47"/>
                          </a:cxn>
                          <a:cxn ang="T148">
                            <a:pos x="T48" y="T49"/>
                          </a:cxn>
                          <a:cxn ang="T149">
                            <a:pos x="T50" y="T51"/>
                          </a:cxn>
                          <a:cxn ang="T150">
                            <a:pos x="T52" y="T53"/>
                          </a:cxn>
                          <a:cxn ang="T151">
                            <a:pos x="T54" y="T55"/>
                          </a:cxn>
                          <a:cxn ang="T152">
                            <a:pos x="T56" y="T57"/>
                          </a:cxn>
                          <a:cxn ang="T153">
                            <a:pos x="T58" y="T59"/>
                          </a:cxn>
                          <a:cxn ang="T154">
                            <a:pos x="T60" y="T61"/>
                          </a:cxn>
                          <a:cxn ang="T155">
                            <a:pos x="T62" y="T63"/>
                          </a:cxn>
                          <a:cxn ang="T156">
                            <a:pos x="T64" y="T65"/>
                          </a:cxn>
                          <a:cxn ang="T157">
                            <a:pos x="T66" y="T67"/>
                          </a:cxn>
                          <a:cxn ang="T158">
                            <a:pos x="T68" y="T69"/>
                          </a:cxn>
                          <a:cxn ang="T159">
                            <a:pos x="T70" y="T71"/>
                          </a:cxn>
                          <a:cxn ang="T160">
                            <a:pos x="T72" y="T73"/>
                          </a:cxn>
                          <a:cxn ang="T161">
                            <a:pos x="T74" y="T75"/>
                          </a:cxn>
                          <a:cxn ang="T162">
                            <a:pos x="T76" y="T77"/>
                          </a:cxn>
                          <a:cxn ang="T163">
                            <a:pos x="T78" y="T79"/>
                          </a:cxn>
                          <a:cxn ang="T164">
                            <a:pos x="T80" y="T81"/>
                          </a:cxn>
                          <a:cxn ang="T165">
                            <a:pos x="T82" y="T83"/>
                          </a:cxn>
                          <a:cxn ang="T166">
                            <a:pos x="T84" y="T85"/>
                          </a:cxn>
                          <a:cxn ang="T167">
                            <a:pos x="T86" y="T87"/>
                          </a:cxn>
                          <a:cxn ang="T168">
                            <a:pos x="T88" y="T89"/>
                          </a:cxn>
                          <a:cxn ang="T169">
                            <a:pos x="T90" y="T91"/>
                          </a:cxn>
                          <a:cxn ang="T170">
                            <a:pos x="T92" y="T93"/>
                          </a:cxn>
                          <a:cxn ang="T171">
                            <a:pos x="T94" y="T95"/>
                          </a:cxn>
                          <a:cxn ang="T172">
                            <a:pos x="T96" y="T97"/>
                          </a:cxn>
                          <a:cxn ang="T173">
                            <a:pos x="T98" y="T99"/>
                          </a:cxn>
                          <a:cxn ang="T174">
                            <a:pos x="T100" y="T101"/>
                          </a:cxn>
                          <a:cxn ang="T175">
                            <a:pos x="T102" y="T103"/>
                          </a:cxn>
                          <a:cxn ang="T176">
                            <a:pos x="T104" y="T105"/>
                          </a:cxn>
                          <a:cxn ang="T177">
                            <a:pos x="T106" y="T107"/>
                          </a:cxn>
                          <a:cxn ang="T178">
                            <a:pos x="T108" y="T109"/>
                          </a:cxn>
                          <a:cxn ang="T179">
                            <a:pos x="T110" y="T111"/>
                          </a:cxn>
                          <a:cxn ang="T180">
                            <a:pos x="T112" y="T113"/>
                          </a:cxn>
                          <a:cxn ang="T181">
                            <a:pos x="T114" y="T115"/>
                          </a:cxn>
                          <a:cxn ang="T182">
                            <a:pos x="T116" y="T117"/>
                          </a:cxn>
                          <a:cxn ang="T183">
                            <a:pos x="T118" y="T119"/>
                          </a:cxn>
                          <a:cxn ang="T184">
                            <a:pos x="T120" y="T121"/>
                          </a:cxn>
                          <a:cxn ang="T185">
                            <a:pos x="T122" y="T123"/>
                          </a:cxn>
                        </a:cxnLst>
                        <a:rect l="T186" t="T187" r="T188" b="T189"/>
                        <a:pathLst>
                          <a:path w="326" h="268">
                            <a:moveTo>
                              <a:pt x="9" y="49"/>
                            </a:moveTo>
                            <a:lnTo>
                              <a:pt x="31" y="49"/>
                            </a:lnTo>
                            <a:lnTo>
                              <a:pt x="36" y="40"/>
                            </a:lnTo>
                            <a:lnTo>
                              <a:pt x="49" y="31"/>
                            </a:lnTo>
                            <a:lnTo>
                              <a:pt x="45" y="13"/>
                            </a:lnTo>
                            <a:lnTo>
                              <a:pt x="71" y="0"/>
                            </a:lnTo>
                            <a:lnTo>
                              <a:pt x="94" y="4"/>
                            </a:lnTo>
                            <a:lnTo>
                              <a:pt x="125" y="27"/>
                            </a:lnTo>
                            <a:lnTo>
                              <a:pt x="125" y="35"/>
                            </a:lnTo>
                            <a:lnTo>
                              <a:pt x="134" y="35"/>
                            </a:lnTo>
                            <a:lnTo>
                              <a:pt x="134" y="49"/>
                            </a:lnTo>
                            <a:lnTo>
                              <a:pt x="147" y="53"/>
                            </a:lnTo>
                            <a:lnTo>
                              <a:pt x="174" y="53"/>
                            </a:lnTo>
                            <a:lnTo>
                              <a:pt x="187" y="58"/>
                            </a:lnTo>
                            <a:lnTo>
                              <a:pt x="192" y="62"/>
                            </a:lnTo>
                            <a:lnTo>
                              <a:pt x="205" y="58"/>
                            </a:lnTo>
                            <a:lnTo>
                              <a:pt x="214" y="71"/>
                            </a:lnTo>
                            <a:lnTo>
                              <a:pt x="214" y="80"/>
                            </a:lnTo>
                            <a:lnTo>
                              <a:pt x="228" y="89"/>
                            </a:lnTo>
                            <a:lnTo>
                              <a:pt x="228" y="102"/>
                            </a:lnTo>
                            <a:lnTo>
                              <a:pt x="237" y="116"/>
                            </a:lnTo>
                            <a:lnTo>
                              <a:pt x="246" y="143"/>
                            </a:lnTo>
                            <a:lnTo>
                              <a:pt x="259" y="152"/>
                            </a:lnTo>
                            <a:lnTo>
                              <a:pt x="281" y="143"/>
                            </a:lnTo>
                            <a:lnTo>
                              <a:pt x="299" y="134"/>
                            </a:lnTo>
                            <a:lnTo>
                              <a:pt x="299" y="161"/>
                            </a:lnTo>
                            <a:lnTo>
                              <a:pt x="308" y="156"/>
                            </a:lnTo>
                            <a:lnTo>
                              <a:pt x="322" y="161"/>
                            </a:lnTo>
                            <a:lnTo>
                              <a:pt x="326" y="183"/>
                            </a:lnTo>
                            <a:lnTo>
                              <a:pt x="322" y="196"/>
                            </a:lnTo>
                            <a:lnTo>
                              <a:pt x="308" y="201"/>
                            </a:lnTo>
                            <a:lnTo>
                              <a:pt x="268" y="223"/>
                            </a:lnTo>
                            <a:lnTo>
                              <a:pt x="255" y="237"/>
                            </a:lnTo>
                            <a:lnTo>
                              <a:pt x="232" y="241"/>
                            </a:lnTo>
                            <a:lnTo>
                              <a:pt x="161" y="268"/>
                            </a:lnTo>
                            <a:lnTo>
                              <a:pt x="165" y="245"/>
                            </a:lnTo>
                            <a:lnTo>
                              <a:pt x="134" y="237"/>
                            </a:lnTo>
                            <a:lnTo>
                              <a:pt x="129" y="250"/>
                            </a:lnTo>
                            <a:lnTo>
                              <a:pt x="125" y="250"/>
                            </a:lnTo>
                            <a:lnTo>
                              <a:pt x="120" y="245"/>
                            </a:lnTo>
                            <a:lnTo>
                              <a:pt x="94" y="205"/>
                            </a:lnTo>
                            <a:lnTo>
                              <a:pt x="89" y="196"/>
                            </a:lnTo>
                            <a:lnTo>
                              <a:pt x="80" y="192"/>
                            </a:lnTo>
                            <a:lnTo>
                              <a:pt x="67" y="178"/>
                            </a:lnTo>
                            <a:lnTo>
                              <a:pt x="67" y="170"/>
                            </a:lnTo>
                            <a:lnTo>
                              <a:pt x="62" y="165"/>
                            </a:lnTo>
                            <a:lnTo>
                              <a:pt x="62" y="161"/>
                            </a:lnTo>
                            <a:lnTo>
                              <a:pt x="67" y="165"/>
                            </a:lnTo>
                            <a:lnTo>
                              <a:pt x="67" y="156"/>
                            </a:lnTo>
                            <a:lnTo>
                              <a:pt x="62" y="152"/>
                            </a:lnTo>
                            <a:lnTo>
                              <a:pt x="58" y="138"/>
                            </a:lnTo>
                            <a:lnTo>
                              <a:pt x="49" y="129"/>
                            </a:lnTo>
                            <a:lnTo>
                              <a:pt x="40" y="125"/>
                            </a:lnTo>
                            <a:lnTo>
                              <a:pt x="36" y="116"/>
                            </a:lnTo>
                            <a:lnTo>
                              <a:pt x="40" y="116"/>
                            </a:lnTo>
                            <a:lnTo>
                              <a:pt x="36" y="107"/>
                            </a:lnTo>
                            <a:lnTo>
                              <a:pt x="27" y="98"/>
                            </a:lnTo>
                            <a:lnTo>
                              <a:pt x="9" y="67"/>
                            </a:lnTo>
                            <a:lnTo>
                              <a:pt x="0" y="67"/>
                            </a:lnTo>
                            <a:lnTo>
                              <a:pt x="0" y="62"/>
                            </a:lnTo>
                            <a:lnTo>
                              <a:pt x="9" y="49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1" name="Freeform 161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180" y="2609"/>
                        <a:ext cx="8" cy="8"/>
                      </a:xfrm>
                      <a:custGeom>
                        <a:avLst/>
                        <a:gdLst>
                          <a:gd name="T0" fmla="*/ 0 w 8"/>
                          <a:gd name="T1" fmla="*/ 4 h 9"/>
                          <a:gd name="T2" fmla="*/ 4 w 8"/>
                          <a:gd name="T3" fmla="*/ 0 h 9"/>
                          <a:gd name="T4" fmla="*/ 8 w 8"/>
                          <a:gd name="T5" fmla="*/ 4 h 9"/>
                          <a:gd name="T6" fmla="*/ 4 w 8"/>
                          <a:gd name="T7" fmla="*/ 4 h 9"/>
                          <a:gd name="T8" fmla="*/ 0 w 8"/>
                          <a:gd name="T9" fmla="*/ 4 h 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"/>
                          <a:gd name="T16" fmla="*/ 0 h 9"/>
                          <a:gd name="T17" fmla="*/ 8 w 8"/>
                          <a:gd name="T18" fmla="*/ 9 h 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" h="9">
                            <a:moveTo>
                              <a:pt x="0" y="4"/>
                            </a:moveTo>
                            <a:lnTo>
                              <a:pt x="4" y="0"/>
                            </a:lnTo>
                            <a:lnTo>
                              <a:pt x="8" y="4"/>
                            </a:lnTo>
                            <a:lnTo>
                              <a:pt x="4" y="9"/>
                            </a:lnTo>
                            <a:lnTo>
                              <a:pt x="0" y="4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2" name="Freeform 162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158" y="2305"/>
                        <a:ext cx="101" cy="212"/>
                      </a:xfrm>
                      <a:custGeom>
                        <a:avLst/>
                        <a:gdLst>
                          <a:gd name="T0" fmla="*/ 0 w 107"/>
                          <a:gd name="T1" fmla="*/ 9 h 224"/>
                          <a:gd name="T2" fmla="*/ 5 w 107"/>
                          <a:gd name="T3" fmla="*/ 9 h 224"/>
                          <a:gd name="T4" fmla="*/ 8 w 107"/>
                          <a:gd name="T5" fmla="*/ 9 h 224"/>
                          <a:gd name="T6" fmla="*/ 8 w 107"/>
                          <a:gd name="T7" fmla="*/ 5 h 224"/>
                          <a:gd name="T8" fmla="*/ 8 w 107"/>
                          <a:gd name="T9" fmla="*/ 0 h 224"/>
                          <a:gd name="T10" fmla="*/ 12 w 107"/>
                          <a:gd name="T11" fmla="*/ 9 h 224"/>
                          <a:gd name="T12" fmla="*/ 11 w 107"/>
                          <a:gd name="T13" fmla="*/ 9 h 224"/>
                          <a:gd name="T14" fmla="*/ 15 w 107"/>
                          <a:gd name="T15" fmla="*/ 9 h 224"/>
                          <a:gd name="T16" fmla="*/ 15 w 107"/>
                          <a:gd name="T17" fmla="*/ 9 h 224"/>
                          <a:gd name="T18" fmla="*/ 14 w 107"/>
                          <a:gd name="T19" fmla="*/ 9 h 224"/>
                          <a:gd name="T20" fmla="*/ 14 w 107"/>
                          <a:gd name="T21" fmla="*/ 9 h 224"/>
                          <a:gd name="T22" fmla="*/ 12 w 107"/>
                          <a:gd name="T23" fmla="*/ 9 h 224"/>
                          <a:gd name="T24" fmla="*/ 12 w 107"/>
                          <a:gd name="T25" fmla="*/ 9 h 224"/>
                          <a:gd name="T26" fmla="*/ 8 w 107"/>
                          <a:gd name="T27" fmla="*/ 9 h 224"/>
                          <a:gd name="T28" fmla="*/ 8 w 107"/>
                          <a:gd name="T29" fmla="*/ 13 h 224"/>
                          <a:gd name="T30" fmla="*/ 11 w 107"/>
                          <a:gd name="T31" fmla="*/ 16 h 224"/>
                          <a:gd name="T32" fmla="*/ 12 w 107"/>
                          <a:gd name="T33" fmla="*/ 20 h 224"/>
                          <a:gd name="T34" fmla="*/ 19 w 107"/>
                          <a:gd name="T35" fmla="*/ 25 h 224"/>
                          <a:gd name="T36" fmla="*/ 20 w 107"/>
                          <a:gd name="T37" fmla="*/ 30 h 224"/>
                          <a:gd name="T38" fmla="*/ 20 w 107"/>
                          <a:gd name="T39" fmla="*/ 32 h 224"/>
                          <a:gd name="T40" fmla="*/ 20 w 107"/>
                          <a:gd name="T41" fmla="*/ 32 h 224"/>
                          <a:gd name="T42" fmla="*/ 19 w 107"/>
                          <a:gd name="T43" fmla="*/ 36 h 224"/>
                          <a:gd name="T44" fmla="*/ 17 w 107"/>
                          <a:gd name="T45" fmla="*/ 36 h 224"/>
                          <a:gd name="T46" fmla="*/ 15 w 107"/>
                          <a:gd name="T47" fmla="*/ 38 h 224"/>
                          <a:gd name="T48" fmla="*/ 13 w 107"/>
                          <a:gd name="T49" fmla="*/ 38 h 224"/>
                          <a:gd name="T50" fmla="*/ 12 w 107"/>
                          <a:gd name="T51" fmla="*/ 38 h 224"/>
                          <a:gd name="T52" fmla="*/ 12 w 107"/>
                          <a:gd name="T53" fmla="*/ 40 h 224"/>
                          <a:gd name="T54" fmla="*/ 9 w 107"/>
                          <a:gd name="T55" fmla="*/ 40 h 224"/>
                          <a:gd name="T56" fmla="*/ 9 w 107"/>
                          <a:gd name="T57" fmla="*/ 40 h 224"/>
                          <a:gd name="T58" fmla="*/ 8 w 107"/>
                          <a:gd name="T59" fmla="*/ 42 h 224"/>
                          <a:gd name="T60" fmla="*/ 8 w 107"/>
                          <a:gd name="T61" fmla="*/ 42 h 224"/>
                          <a:gd name="T62" fmla="*/ 8 w 107"/>
                          <a:gd name="T63" fmla="*/ 42 h 224"/>
                          <a:gd name="T64" fmla="*/ 8 w 107"/>
                          <a:gd name="T65" fmla="*/ 42 h 224"/>
                          <a:gd name="T66" fmla="*/ 8 w 107"/>
                          <a:gd name="T67" fmla="*/ 40 h 224"/>
                          <a:gd name="T68" fmla="*/ 8 w 107"/>
                          <a:gd name="T69" fmla="*/ 40 h 224"/>
                          <a:gd name="T70" fmla="*/ 8 w 107"/>
                          <a:gd name="T71" fmla="*/ 38 h 224"/>
                          <a:gd name="T72" fmla="*/ 8 w 107"/>
                          <a:gd name="T73" fmla="*/ 36 h 224"/>
                          <a:gd name="T74" fmla="*/ 9 w 107"/>
                          <a:gd name="T75" fmla="*/ 36 h 224"/>
                          <a:gd name="T76" fmla="*/ 9 w 107"/>
                          <a:gd name="T77" fmla="*/ 34 h 224"/>
                          <a:gd name="T78" fmla="*/ 12 w 107"/>
                          <a:gd name="T79" fmla="*/ 34 h 224"/>
                          <a:gd name="T80" fmla="*/ 14 w 107"/>
                          <a:gd name="T81" fmla="*/ 32 h 224"/>
                          <a:gd name="T82" fmla="*/ 14 w 107"/>
                          <a:gd name="T83" fmla="*/ 27 h 224"/>
                          <a:gd name="T84" fmla="*/ 13 w 107"/>
                          <a:gd name="T85" fmla="*/ 26 h 224"/>
                          <a:gd name="T86" fmla="*/ 12 w 107"/>
                          <a:gd name="T87" fmla="*/ 22 h 224"/>
                          <a:gd name="T88" fmla="*/ 9 w 107"/>
                          <a:gd name="T89" fmla="*/ 21 h 224"/>
                          <a:gd name="T90" fmla="*/ 8 w 107"/>
                          <a:gd name="T91" fmla="*/ 15 h 224"/>
                          <a:gd name="T92" fmla="*/ 8 w 107"/>
                          <a:gd name="T93" fmla="*/ 12 h 224"/>
                          <a:gd name="T94" fmla="*/ 8 w 107"/>
                          <a:gd name="T95" fmla="*/ 9 h 224"/>
                          <a:gd name="T96" fmla="*/ 8 w 107"/>
                          <a:gd name="T97" fmla="*/ 9 h 224"/>
                          <a:gd name="T98" fmla="*/ 8 w 107"/>
                          <a:gd name="T99" fmla="*/ 9 h 224"/>
                          <a:gd name="T100" fmla="*/ 8 w 107"/>
                          <a:gd name="T101" fmla="*/ 9 h 224"/>
                          <a:gd name="T102" fmla="*/ 8 w 107"/>
                          <a:gd name="T103" fmla="*/ 9 h 224"/>
                          <a:gd name="T104" fmla="*/ 8 w 107"/>
                          <a:gd name="T105" fmla="*/ 9 h 224"/>
                          <a:gd name="T106" fmla="*/ 0 w 107"/>
                          <a:gd name="T107" fmla="*/ 9 h 224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w 107"/>
                          <a:gd name="T163" fmla="*/ 0 h 224"/>
                          <a:gd name="T164" fmla="*/ 107 w 107"/>
                          <a:gd name="T165" fmla="*/ 224 h 224"/>
                        </a:gdLst>
                        <a:ahLst/>
                        <a:cxnLst>
                          <a:cxn ang="T108">
                            <a:pos x="T0" y="T1"/>
                          </a:cxn>
                          <a:cxn ang="T109">
                            <a:pos x="T2" y="T3"/>
                          </a:cxn>
                          <a:cxn ang="T110">
                            <a:pos x="T4" y="T5"/>
                          </a:cxn>
                          <a:cxn ang="T111">
                            <a:pos x="T6" y="T7"/>
                          </a:cxn>
                          <a:cxn ang="T112">
                            <a:pos x="T8" y="T9"/>
                          </a:cxn>
                          <a:cxn ang="T113">
                            <a:pos x="T10" y="T11"/>
                          </a:cxn>
                          <a:cxn ang="T114">
                            <a:pos x="T12" y="T13"/>
                          </a:cxn>
                          <a:cxn ang="T115">
                            <a:pos x="T14" y="T15"/>
                          </a:cxn>
                          <a:cxn ang="T116">
                            <a:pos x="T16" y="T17"/>
                          </a:cxn>
                          <a:cxn ang="T117">
                            <a:pos x="T18" y="T19"/>
                          </a:cxn>
                          <a:cxn ang="T118">
                            <a:pos x="T20" y="T21"/>
                          </a:cxn>
                          <a:cxn ang="T119">
                            <a:pos x="T22" y="T23"/>
                          </a:cxn>
                          <a:cxn ang="T120">
                            <a:pos x="T24" y="T25"/>
                          </a:cxn>
                          <a:cxn ang="T121">
                            <a:pos x="T26" y="T27"/>
                          </a:cxn>
                          <a:cxn ang="T122">
                            <a:pos x="T28" y="T29"/>
                          </a:cxn>
                          <a:cxn ang="T123">
                            <a:pos x="T30" y="T31"/>
                          </a:cxn>
                          <a:cxn ang="T124">
                            <a:pos x="T32" y="T33"/>
                          </a:cxn>
                          <a:cxn ang="T125">
                            <a:pos x="T34" y="T35"/>
                          </a:cxn>
                          <a:cxn ang="T126">
                            <a:pos x="T36" y="T37"/>
                          </a:cxn>
                          <a:cxn ang="T127">
                            <a:pos x="T38" y="T39"/>
                          </a:cxn>
                          <a:cxn ang="T128">
                            <a:pos x="T40" y="T41"/>
                          </a:cxn>
                          <a:cxn ang="T129">
                            <a:pos x="T42" y="T43"/>
                          </a:cxn>
                          <a:cxn ang="T130">
                            <a:pos x="T44" y="T45"/>
                          </a:cxn>
                          <a:cxn ang="T131">
                            <a:pos x="T46" y="T47"/>
                          </a:cxn>
                          <a:cxn ang="T132">
                            <a:pos x="T48" y="T49"/>
                          </a:cxn>
                          <a:cxn ang="T133">
                            <a:pos x="T50" y="T51"/>
                          </a:cxn>
                          <a:cxn ang="T134">
                            <a:pos x="T52" y="T53"/>
                          </a:cxn>
                          <a:cxn ang="T135">
                            <a:pos x="T54" y="T55"/>
                          </a:cxn>
                          <a:cxn ang="T136">
                            <a:pos x="T56" y="T57"/>
                          </a:cxn>
                          <a:cxn ang="T137">
                            <a:pos x="T58" y="T59"/>
                          </a:cxn>
                          <a:cxn ang="T138">
                            <a:pos x="T60" y="T61"/>
                          </a:cxn>
                          <a:cxn ang="T139">
                            <a:pos x="T62" y="T63"/>
                          </a:cxn>
                          <a:cxn ang="T140">
                            <a:pos x="T64" y="T65"/>
                          </a:cxn>
                          <a:cxn ang="T141">
                            <a:pos x="T66" y="T67"/>
                          </a:cxn>
                          <a:cxn ang="T142">
                            <a:pos x="T68" y="T69"/>
                          </a:cxn>
                          <a:cxn ang="T143">
                            <a:pos x="T70" y="T71"/>
                          </a:cxn>
                          <a:cxn ang="T144">
                            <a:pos x="T72" y="T73"/>
                          </a:cxn>
                          <a:cxn ang="T145">
                            <a:pos x="T74" y="T75"/>
                          </a:cxn>
                          <a:cxn ang="T146">
                            <a:pos x="T76" y="T77"/>
                          </a:cxn>
                          <a:cxn ang="T147">
                            <a:pos x="T78" y="T79"/>
                          </a:cxn>
                          <a:cxn ang="T148">
                            <a:pos x="T80" y="T81"/>
                          </a:cxn>
                          <a:cxn ang="T149">
                            <a:pos x="T82" y="T83"/>
                          </a:cxn>
                          <a:cxn ang="T150">
                            <a:pos x="T84" y="T85"/>
                          </a:cxn>
                          <a:cxn ang="T151">
                            <a:pos x="T86" y="T87"/>
                          </a:cxn>
                          <a:cxn ang="T152">
                            <a:pos x="T88" y="T89"/>
                          </a:cxn>
                          <a:cxn ang="T153">
                            <a:pos x="T90" y="T91"/>
                          </a:cxn>
                          <a:cxn ang="T154">
                            <a:pos x="T92" y="T93"/>
                          </a:cxn>
                          <a:cxn ang="T155">
                            <a:pos x="T94" y="T95"/>
                          </a:cxn>
                          <a:cxn ang="T156">
                            <a:pos x="T96" y="T97"/>
                          </a:cxn>
                          <a:cxn ang="T157">
                            <a:pos x="T98" y="T99"/>
                          </a:cxn>
                          <a:cxn ang="T158">
                            <a:pos x="T100" y="T101"/>
                          </a:cxn>
                          <a:cxn ang="T159">
                            <a:pos x="T102" y="T103"/>
                          </a:cxn>
                          <a:cxn ang="T160">
                            <a:pos x="T104" y="T105"/>
                          </a:cxn>
                          <a:cxn ang="T161">
                            <a:pos x="T106" y="T107"/>
                          </a:cxn>
                        </a:cxnLst>
                        <a:rect l="T162" t="T163" r="T164" b="T165"/>
                        <a:pathLst>
                          <a:path w="107" h="224">
                            <a:moveTo>
                              <a:pt x="0" y="14"/>
                            </a:moveTo>
                            <a:lnTo>
                              <a:pt x="5" y="9"/>
                            </a:lnTo>
                            <a:lnTo>
                              <a:pt x="27" y="9"/>
                            </a:lnTo>
                            <a:lnTo>
                              <a:pt x="36" y="5"/>
                            </a:lnTo>
                            <a:lnTo>
                              <a:pt x="49" y="0"/>
                            </a:lnTo>
                            <a:lnTo>
                              <a:pt x="67" y="9"/>
                            </a:lnTo>
                            <a:lnTo>
                              <a:pt x="63" y="18"/>
                            </a:lnTo>
                            <a:lnTo>
                              <a:pt x="81" y="18"/>
                            </a:lnTo>
                            <a:lnTo>
                              <a:pt x="81" y="23"/>
                            </a:lnTo>
                            <a:lnTo>
                              <a:pt x="76" y="31"/>
                            </a:lnTo>
                            <a:lnTo>
                              <a:pt x="76" y="36"/>
                            </a:lnTo>
                            <a:lnTo>
                              <a:pt x="67" y="36"/>
                            </a:lnTo>
                            <a:lnTo>
                              <a:pt x="67" y="40"/>
                            </a:lnTo>
                            <a:lnTo>
                              <a:pt x="54" y="49"/>
                            </a:lnTo>
                            <a:lnTo>
                              <a:pt x="49" y="67"/>
                            </a:lnTo>
                            <a:lnTo>
                              <a:pt x="63" y="76"/>
                            </a:lnTo>
                            <a:lnTo>
                              <a:pt x="67" y="94"/>
                            </a:lnTo>
                            <a:lnTo>
                              <a:pt x="98" y="125"/>
                            </a:lnTo>
                            <a:lnTo>
                              <a:pt x="107" y="161"/>
                            </a:lnTo>
                            <a:lnTo>
                              <a:pt x="107" y="166"/>
                            </a:lnTo>
                            <a:lnTo>
                              <a:pt x="107" y="170"/>
                            </a:lnTo>
                            <a:lnTo>
                              <a:pt x="103" y="188"/>
                            </a:lnTo>
                            <a:lnTo>
                              <a:pt x="90" y="188"/>
                            </a:lnTo>
                            <a:lnTo>
                              <a:pt x="81" y="197"/>
                            </a:lnTo>
                            <a:lnTo>
                              <a:pt x="72" y="197"/>
                            </a:lnTo>
                            <a:lnTo>
                              <a:pt x="67" y="197"/>
                            </a:lnTo>
                            <a:lnTo>
                              <a:pt x="67" y="210"/>
                            </a:lnTo>
                            <a:lnTo>
                              <a:pt x="58" y="206"/>
                            </a:lnTo>
                            <a:lnTo>
                              <a:pt x="58" y="210"/>
                            </a:lnTo>
                            <a:lnTo>
                              <a:pt x="49" y="215"/>
                            </a:lnTo>
                            <a:lnTo>
                              <a:pt x="45" y="224"/>
                            </a:lnTo>
                            <a:lnTo>
                              <a:pt x="36" y="224"/>
                            </a:lnTo>
                            <a:lnTo>
                              <a:pt x="40" y="224"/>
                            </a:lnTo>
                            <a:lnTo>
                              <a:pt x="40" y="210"/>
                            </a:lnTo>
                            <a:lnTo>
                              <a:pt x="45" y="206"/>
                            </a:lnTo>
                            <a:lnTo>
                              <a:pt x="36" y="197"/>
                            </a:lnTo>
                            <a:lnTo>
                              <a:pt x="45" y="183"/>
                            </a:lnTo>
                            <a:lnTo>
                              <a:pt x="58" y="183"/>
                            </a:lnTo>
                            <a:lnTo>
                              <a:pt x="58" y="174"/>
                            </a:lnTo>
                            <a:lnTo>
                              <a:pt x="67" y="174"/>
                            </a:lnTo>
                            <a:lnTo>
                              <a:pt x="76" y="166"/>
                            </a:lnTo>
                            <a:lnTo>
                              <a:pt x="76" y="139"/>
                            </a:lnTo>
                            <a:lnTo>
                              <a:pt x="72" y="134"/>
                            </a:lnTo>
                            <a:lnTo>
                              <a:pt x="67" y="107"/>
                            </a:lnTo>
                            <a:lnTo>
                              <a:pt x="58" y="103"/>
                            </a:lnTo>
                            <a:lnTo>
                              <a:pt x="40" y="72"/>
                            </a:lnTo>
                            <a:lnTo>
                              <a:pt x="27" y="63"/>
                            </a:lnTo>
                            <a:lnTo>
                              <a:pt x="27" y="49"/>
                            </a:lnTo>
                            <a:lnTo>
                              <a:pt x="31" y="54"/>
                            </a:lnTo>
                            <a:lnTo>
                              <a:pt x="36" y="45"/>
                            </a:lnTo>
                            <a:lnTo>
                              <a:pt x="27" y="36"/>
                            </a:lnTo>
                            <a:lnTo>
                              <a:pt x="14" y="36"/>
                            </a:lnTo>
                            <a:lnTo>
                              <a:pt x="9" y="23"/>
                            </a:lnTo>
                            <a:lnTo>
                              <a:pt x="0" y="14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3" name="Freeform 163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260" y="2081"/>
                        <a:ext cx="96" cy="85"/>
                      </a:xfrm>
                      <a:custGeom>
                        <a:avLst/>
                        <a:gdLst>
                          <a:gd name="T0" fmla="*/ 0 w 102"/>
                          <a:gd name="T1" fmla="*/ 9 h 90"/>
                          <a:gd name="T2" fmla="*/ 0 w 102"/>
                          <a:gd name="T3" fmla="*/ 9 h 90"/>
                          <a:gd name="T4" fmla="*/ 4 w 102"/>
                          <a:gd name="T5" fmla="*/ 9 h 90"/>
                          <a:gd name="T6" fmla="*/ 0 w 102"/>
                          <a:gd name="T7" fmla="*/ 9 h 90"/>
                          <a:gd name="T8" fmla="*/ 8 w 102"/>
                          <a:gd name="T9" fmla="*/ 9 h 90"/>
                          <a:gd name="T10" fmla="*/ 8 w 102"/>
                          <a:gd name="T11" fmla="*/ 9 h 90"/>
                          <a:gd name="T12" fmla="*/ 4 w 102"/>
                          <a:gd name="T13" fmla="*/ 12 h 90"/>
                          <a:gd name="T14" fmla="*/ 4 w 102"/>
                          <a:gd name="T15" fmla="*/ 15 h 90"/>
                          <a:gd name="T16" fmla="*/ 8 w 102"/>
                          <a:gd name="T17" fmla="*/ 17 h 90"/>
                          <a:gd name="T18" fmla="*/ 8 w 102"/>
                          <a:gd name="T19" fmla="*/ 14 h 90"/>
                          <a:gd name="T20" fmla="*/ 8 w 102"/>
                          <a:gd name="T21" fmla="*/ 13 h 90"/>
                          <a:gd name="T22" fmla="*/ 8 w 102"/>
                          <a:gd name="T23" fmla="*/ 13 h 90"/>
                          <a:gd name="T24" fmla="*/ 14 w 102"/>
                          <a:gd name="T25" fmla="*/ 9 h 90"/>
                          <a:gd name="T26" fmla="*/ 15 w 102"/>
                          <a:gd name="T27" fmla="*/ 9 h 90"/>
                          <a:gd name="T28" fmla="*/ 17 w 102"/>
                          <a:gd name="T29" fmla="*/ 9 h 90"/>
                          <a:gd name="T30" fmla="*/ 18 w 102"/>
                          <a:gd name="T31" fmla="*/ 5 h 90"/>
                          <a:gd name="T32" fmla="*/ 16 w 102"/>
                          <a:gd name="T33" fmla="*/ 0 h 90"/>
                          <a:gd name="T34" fmla="*/ 12 w 102"/>
                          <a:gd name="T35" fmla="*/ 5 h 90"/>
                          <a:gd name="T36" fmla="*/ 8 w 102"/>
                          <a:gd name="T37" fmla="*/ 9 h 90"/>
                          <a:gd name="T38" fmla="*/ 8 w 102"/>
                          <a:gd name="T39" fmla="*/ 5 h 90"/>
                          <a:gd name="T40" fmla="*/ 8 w 102"/>
                          <a:gd name="T41" fmla="*/ 9 h 90"/>
                          <a:gd name="T42" fmla="*/ 8 w 102"/>
                          <a:gd name="T43" fmla="*/ 9 h 90"/>
                          <a:gd name="T44" fmla="*/ 8 w 102"/>
                          <a:gd name="T45" fmla="*/ 9 h 90"/>
                          <a:gd name="T46" fmla="*/ 0 w 102"/>
                          <a:gd name="T47" fmla="*/ 9 h 90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w 102"/>
                          <a:gd name="T73" fmla="*/ 0 h 90"/>
                          <a:gd name="T74" fmla="*/ 102 w 102"/>
                          <a:gd name="T75" fmla="*/ 90 h 90"/>
                        </a:gdLst>
                        <a:ahLst/>
                        <a:cxnLst>
                          <a:cxn ang="T48">
                            <a:pos x="T0" y="T1"/>
                          </a:cxn>
                          <a:cxn ang="T49">
                            <a:pos x="T2" y="T3"/>
                          </a:cxn>
                          <a:cxn ang="T50">
                            <a:pos x="T4" y="T5"/>
                          </a:cxn>
                          <a:cxn ang="T51">
                            <a:pos x="T6" y="T7"/>
                          </a:cxn>
                          <a:cxn ang="T52">
                            <a:pos x="T8" y="T9"/>
                          </a:cxn>
                          <a:cxn ang="T53">
                            <a:pos x="T10" y="T11"/>
                          </a:cxn>
                          <a:cxn ang="T54">
                            <a:pos x="T12" y="T13"/>
                          </a:cxn>
                          <a:cxn ang="T55">
                            <a:pos x="T14" y="T15"/>
                          </a:cxn>
                          <a:cxn ang="T56">
                            <a:pos x="T16" y="T17"/>
                          </a:cxn>
                          <a:cxn ang="T57">
                            <a:pos x="T18" y="T19"/>
                          </a:cxn>
                          <a:cxn ang="T58">
                            <a:pos x="T20" y="T21"/>
                          </a:cxn>
                          <a:cxn ang="T59">
                            <a:pos x="T22" y="T23"/>
                          </a:cxn>
                          <a:cxn ang="T60">
                            <a:pos x="T24" y="T25"/>
                          </a:cxn>
                          <a:cxn ang="T61">
                            <a:pos x="T26" y="T27"/>
                          </a:cxn>
                          <a:cxn ang="T62">
                            <a:pos x="T28" y="T29"/>
                          </a:cxn>
                          <a:cxn ang="T63">
                            <a:pos x="T30" y="T31"/>
                          </a:cxn>
                          <a:cxn ang="T64">
                            <a:pos x="T32" y="T33"/>
                          </a:cxn>
                          <a:cxn ang="T65">
                            <a:pos x="T34" y="T35"/>
                          </a:cxn>
                          <a:cxn ang="T66">
                            <a:pos x="T36" y="T37"/>
                          </a:cxn>
                          <a:cxn ang="T67">
                            <a:pos x="T38" y="T39"/>
                          </a:cxn>
                          <a:cxn ang="T68">
                            <a:pos x="T40" y="T41"/>
                          </a:cxn>
                          <a:cxn ang="T69">
                            <a:pos x="T42" y="T43"/>
                          </a:cxn>
                          <a:cxn ang="T70">
                            <a:pos x="T44" y="T45"/>
                          </a:cxn>
                          <a:cxn ang="T71">
                            <a:pos x="T46" y="T47"/>
                          </a:cxn>
                        </a:cxnLst>
                        <a:rect l="T72" t="T73" r="T74" b="T75"/>
                        <a:pathLst>
                          <a:path w="102" h="90">
                            <a:moveTo>
                              <a:pt x="0" y="27"/>
                            </a:moveTo>
                            <a:lnTo>
                              <a:pt x="0" y="36"/>
                            </a:lnTo>
                            <a:lnTo>
                              <a:pt x="4" y="41"/>
                            </a:lnTo>
                            <a:lnTo>
                              <a:pt x="0" y="45"/>
                            </a:lnTo>
                            <a:lnTo>
                              <a:pt x="9" y="45"/>
                            </a:lnTo>
                            <a:lnTo>
                              <a:pt x="13" y="54"/>
                            </a:lnTo>
                            <a:lnTo>
                              <a:pt x="4" y="67"/>
                            </a:lnTo>
                            <a:lnTo>
                              <a:pt x="4" y="81"/>
                            </a:lnTo>
                            <a:lnTo>
                              <a:pt x="18" y="90"/>
                            </a:lnTo>
                            <a:lnTo>
                              <a:pt x="35" y="76"/>
                            </a:lnTo>
                            <a:lnTo>
                              <a:pt x="40" y="72"/>
                            </a:lnTo>
                            <a:lnTo>
                              <a:pt x="44" y="72"/>
                            </a:lnTo>
                            <a:lnTo>
                              <a:pt x="80" y="45"/>
                            </a:lnTo>
                            <a:lnTo>
                              <a:pt x="85" y="18"/>
                            </a:lnTo>
                            <a:lnTo>
                              <a:pt x="98" y="9"/>
                            </a:lnTo>
                            <a:lnTo>
                              <a:pt x="102" y="5"/>
                            </a:lnTo>
                            <a:lnTo>
                              <a:pt x="94" y="0"/>
                            </a:lnTo>
                            <a:lnTo>
                              <a:pt x="71" y="5"/>
                            </a:lnTo>
                            <a:lnTo>
                              <a:pt x="58" y="9"/>
                            </a:lnTo>
                            <a:lnTo>
                              <a:pt x="40" y="5"/>
                            </a:lnTo>
                            <a:lnTo>
                              <a:pt x="18" y="9"/>
                            </a:lnTo>
                            <a:lnTo>
                              <a:pt x="18" y="18"/>
                            </a:lnTo>
                            <a:lnTo>
                              <a:pt x="9" y="27"/>
                            </a:lnTo>
                            <a:lnTo>
                              <a:pt x="0" y="27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4" name="Freeform 164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690" y="2010"/>
                        <a:ext cx="106" cy="80"/>
                      </a:xfrm>
                      <a:custGeom>
                        <a:avLst/>
                        <a:gdLst>
                          <a:gd name="T0" fmla="*/ 9 w 112"/>
                          <a:gd name="T1" fmla="*/ 8 h 85"/>
                          <a:gd name="T2" fmla="*/ 9 w 112"/>
                          <a:gd name="T3" fmla="*/ 8 h 85"/>
                          <a:gd name="T4" fmla="*/ 9 w 112"/>
                          <a:gd name="T5" fmla="*/ 8 h 85"/>
                          <a:gd name="T6" fmla="*/ 9 w 112"/>
                          <a:gd name="T7" fmla="*/ 8 h 85"/>
                          <a:gd name="T8" fmla="*/ 9 w 112"/>
                          <a:gd name="T9" fmla="*/ 8 h 85"/>
                          <a:gd name="T10" fmla="*/ 9 w 112"/>
                          <a:gd name="T11" fmla="*/ 0 h 85"/>
                          <a:gd name="T12" fmla="*/ 9 w 112"/>
                          <a:gd name="T13" fmla="*/ 0 h 85"/>
                          <a:gd name="T14" fmla="*/ 9 w 112"/>
                          <a:gd name="T15" fmla="*/ 5 h 85"/>
                          <a:gd name="T16" fmla="*/ 9 w 112"/>
                          <a:gd name="T17" fmla="*/ 5 h 85"/>
                          <a:gd name="T18" fmla="*/ 9 w 112"/>
                          <a:gd name="T19" fmla="*/ 8 h 85"/>
                          <a:gd name="T20" fmla="*/ 9 w 112"/>
                          <a:gd name="T21" fmla="*/ 8 h 85"/>
                          <a:gd name="T22" fmla="*/ 9 w 112"/>
                          <a:gd name="T23" fmla="*/ 8 h 85"/>
                          <a:gd name="T24" fmla="*/ 9 w 112"/>
                          <a:gd name="T25" fmla="*/ 8 h 85"/>
                          <a:gd name="T26" fmla="*/ 5 w 112"/>
                          <a:gd name="T27" fmla="*/ 8 h 85"/>
                          <a:gd name="T28" fmla="*/ 0 w 112"/>
                          <a:gd name="T29" fmla="*/ 8 h 85"/>
                          <a:gd name="T30" fmla="*/ 5 w 112"/>
                          <a:gd name="T31" fmla="*/ 8 h 85"/>
                          <a:gd name="T32" fmla="*/ 5 w 112"/>
                          <a:gd name="T33" fmla="*/ 8 h 85"/>
                          <a:gd name="T34" fmla="*/ 9 w 112"/>
                          <a:gd name="T35" fmla="*/ 8 h 85"/>
                          <a:gd name="T36" fmla="*/ 9 w 112"/>
                          <a:gd name="T37" fmla="*/ 8 h 85"/>
                          <a:gd name="T38" fmla="*/ 9 w 112"/>
                          <a:gd name="T39" fmla="*/ 8 h 85"/>
                          <a:gd name="T40" fmla="*/ 9 w 112"/>
                          <a:gd name="T41" fmla="*/ 8 h 85"/>
                          <a:gd name="T42" fmla="*/ 9 w 112"/>
                          <a:gd name="T43" fmla="*/ 11 h 85"/>
                          <a:gd name="T44" fmla="*/ 5 w 112"/>
                          <a:gd name="T45" fmla="*/ 13 h 85"/>
                          <a:gd name="T46" fmla="*/ 9 w 112"/>
                          <a:gd name="T47" fmla="*/ 13 h 85"/>
                          <a:gd name="T48" fmla="*/ 9 w 112"/>
                          <a:gd name="T49" fmla="*/ 12 h 85"/>
                          <a:gd name="T50" fmla="*/ 9 w 112"/>
                          <a:gd name="T51" fmla="*/ 11 h 85"/>
                          <a:gd name="T52" fmla="*/ 9 w 112"/>
                          <a:gd name="T53" fmla="*/ 11 h 85"/>
                          <a:gd name="T54" fmla="*/ 9 w 112"/>
                          <a:gd name="T55" fmla="*/ 8 h 85"/>
                          <a:gd name="T56" fmla="*/ 11 w 112"/>
                          <a:gd name="T57" fmla="*/ 8 h 85"/>
                          <a:gd name="T58" fmla="*/ 12 w 112"/>
                          <a:gd name="T59" fmla="*/ 11 h 85"/>
                          <a:gd name="T60" fmla="*/ 11 w 112"/>
                          <a:gd name="T61" fmla="*/ 15 h 85"/>
                          <a:gd name="T62" fmla="*/ 17 w 112"/>
                          <a:gd name="T63" fmla="*/ 12 h 85"/>
                          <a:gd name="T64" fmla="*/ 22 w 112"/>
                          <a:gd name="T65" fmla="*/ 13 h 85"/>
                          <a:gd name="T66" fmla="*/ 23 w 112"/>
                          <a:gd name="T67" fmla="*/ 12 h 85"/>
                          <a:gd name="T68" fmla="*/ 23 w 112"/>
                          <a:gd name="T69" fmla="*/ 11 h 85"/>
                          <a:gd name="T70" fmla="*/ 22 w 112"/>
                          <a:gd name="T71" fmla="*/ 11 h 85"/>
                          <a:gd name="T72" fmla="*/ 22 w 112"/>
                          <a:gd name="T73" fmla="*/ 8 h 85"/>
                          <a:gd name="T74" fmla="*/ 19 w 112"/>
                          <a:gd name="T75" fmla="*/ 8 h 85"/>
                          <a:gd name="T76" fmla="*/ 19 w 112"/>
                          <a:gd name="T77" fmla="*/ 8 h 85"/>
                          <a:gd name="T78" fmla="*/ 17 w 112"/>
                          <a:gd name="T79" fmla="*/ 8 h 85"/>
                          <a:gd name="T80" fmla="*/ 16 w 112"/>
                          <a:gd name="T81" fmla="*/ 8 h 85"/>
                          <a:gd name="T82" fmla="*/ 12 w 112"/>
                          <a:gd name="T83" fmla="*/ 8 h 85"/>
                          <a:gd name="T84" fmla="*/ 12 w 112"/>
                          <a:gd name="T85" fmla="*/ 8 h 85"/>
                          <a:gd name="T86" fmla="*/ 11 w 112"/>
                          <a:gd name="T87" fmla="*/ 8 h 85"/>
                          <a:gd name="T88" fmla="*/ 9 w 112"/>
                          <a:gd name="T89" fmla="*/ 8 h 85"/>
                          <a:gd name="T90" fmla="*/ 9 w 112"/>
                          <a:gd name="T91" fmla="*/ 8 h 85"/>
                          <a:gd name="T92" fmla="*/ 9 w 112"/>
                          <a:gd name="T93" fmla="*/ 8 h 85"/>
                          <a:gd name="T94" fmla="*/ 9 w 112"/>
                          <a:gd name="T95" fmla="*/ 8 h 85"/>
                          <a:gd name="T96" fmla="*/ 9 w 112"/>
                          <a:gd name="T97" fmla="*/ 8 h 85"/>
                          <a:gd name="T98" fmla="*/ 9 w 112"/>
                          <a:gd name="T99" fmla="*/ 8 h 85"/>
                          <a:gd name="T100" fmla="*/ 9 w 112"/>
                          <a:gd name="T101" fmla="*/ 8 h 85"/>
                          <a:gd name="T102" fmla="*/ 9 w 112"/>
                          <a:gd name="T103" fmla="*/ 8 h 85"/>
                          <a:gd name="T104" fmla="*/ 9 w 112"/>
                          <a:gd name="T105" fmla="*/ 8 h 85"/>
                          <a:gd name="T106" fmla="*/ 9 w 112"/>
                          <a:gd name="T107" fmla="*/ 8 h 85"/>
                          <a:gd name="T108" fmla="*/ 9 w 112"/>
                          <a:gd name="T109" fmla="*/ 8 h 85"/>
                          <a:gd name="T110" fmla="*/ 9 w 112"/>
                          <a:gd name="T111" fmla="*/ 8 h 85"/>
                          <a:gd name="T112" fmla="*/ 9 w 112"/>
                          <a:gd name="T113" fmla="*/ 8 h 85"/>
                          <a:gd name="T114" fmla="*/ 9 w 112"/>
                          <a:gd name="T115" fmla="*/ 8 h 85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w 112"/>
                          <a:gd name="T175" fmla="*/ 0 h 85"/>
                          <a:gd name="T176" fmla="*/ 112 w 112"/>
                          <a:gd name="T177" fmla="*/ 85 h 85"/>
                        </a:gdLst>
                        <a:ahLst/>
                        <a:cxnLst>
                          <a:cxn ang="T116">
                            <a:pos x="T0" y="T1"/>
                          </a:cxn>
                          <a:cxn ang="T117">
                            <a:pos x="T2" y="T3"/>
                          </a:cxn>
                          <a:cxn ang="T118">
                            <a:pos x="T4" y="T5"/>
                          </a:cxn>
                          <a:cxn ang="T119">
                            <a:pos x="T6" y="T7"/>
                          </a:cxn>
                          <a:cxn ang="T120">
                            <a:pos x="T8" y="T9"/>
                          </a:cxn>
                          <a:cxn ang="T121">
                            <a:pos x="T10" y="T11"/>
                          </a:cxn>
                          <a:cxn ang="T122">
                            <a:pos x="T12" y="T13"/>
                          </a:cxn>
                          <a:cxn ang="T123">
                            <a:pos x="T14" y="T15"/>
                          </a:cxn>
                          <a:cxn ang="T124">
                            <a:pos x="T16" y="T17"/>
                          </a:cxn>
                          <a:cxn ang="T125">
                            <a:pos x="T18" y="T19"/>
                          </a:cxn>
                          <a:cxn ang="T126">
                            <a:pos x="T20" y="T21"/>
                          </a:cxn>
                          <a:cxn ang="T127">
                            <a:pos x="T22" y="T23"/>
                          </a:cxn>
                          <a:cxn ang="T128">
                            <a:pos x="T24" y="T25"/>
                          </a:cxn>
                          <a:cxn ang="T129">
                            <a:pos x="T26" y="T27"/>
                          </a:cxn>
                          <a:cxn ang="T130">
                            <a:pos x="T28" y="T29"/>
                          </a:cxn>
                          <a:cxn ang="T131">
                            <a:pos x="T30" y="T31"/>
                          </a:cxn>
                          <a:cxn ang="T132">
                            <a:pos x="T32" y="T33"/>
                          </a:cxn>
                          <a:cxn ang="T133">
                            <a:pos x="T34" y="T35"/>
                          </a:cxn>
                          <a:cxn ang="T134">
                            <a:pos x="T36" y="T37"/>
                          </a:cxn>
                          <a:cxn ang="T135">
                            <a:pos x="T38" y="T39"/>
                          </a:cxn>
                          <a:cxn ang="T136">
                            <a:pos x="T40" y="T41"/>
                          </a:cxn>
                          <a:cxn ang="T137">
                            <a:pos x="T42" y="T43"/>
                          </a:cxn>
                          <a:cxn ang="T138">
                            <a:pos x="T44" y="T45"/>
                          </a:cxn>
                          <a:cxn ang="T139">
                            <a:pos x="T46" y="T47"/>
                          </a:cxn>
                          <a:cxn ang="T140">
                            <a:pos x="T48" y="T49"/>
                          </a:cxn>
                          <a:cxn ang="T141">
                            <a:pos x="T50" y="T51"/>
                          </a:cxn>
                          <a:cxn ang="T142">
                            <a:pos x="T52" y="T53"/>
                          </a:cxn>
                          <a:cxn ang="T143">
                            <a:pos x="T54" y="T55"/>
                          </a:cxn>
                          <a:cxn ang="T144">
                            <a:pos x="T56" y="T57"/>
                          </a:cxn>
                          <a:cxn ang="T145">
                            <a:pos x="T58" y="T59"/>
                          </a:cxn>
                          <a:cxn ang="T146">
                            <a:pos x="T60" y="T61"/>
                          </a:cxn>
                          <a:cxn ang="T147">
                            <a:pos x="T62" y="T63"/>
                          </a:cxn>
                          <a:cxn ang="T148">
                            <a:pos x="T64" y="T65"/>
                          </a:cxn>
                          <a:cxn ang="T149">
                            <a:pos x="T66" y="T67"/>
                          </a:cxn>
                          <a:cxn ang="T150">
                            <a:pos x="T68" y="T69"/>
                          </a:cxn>
                          <a:cxn ang="T151">
                            <a:pos x="T70" y="T71"/>
                          </a:cxn>
                          <a:cxn ang="T152">
                            <a:pos x="T72" y="T73"/>
                          </a:cxn>
                          <a:cxn ang="T153">
                            <a:pos x="T74" y="T75"/>
                          </a:cxn>
                          <a:cxn ang="T154">
                            <a:pos x="T76" y="T77"/>
                          </a:cxn>
                          <a:cxn ang="T155">
                            <a:pos x="T78" y="T79"/>
                          </a:cxn>
                          <a:cxn ang="T156">
                            <a:pos x="T80" y="T81"/>
                          </a:cxn>
                          <a:cxn ang="T157">
                            <a:pos x="T82" y="T83"/>
                          </a:cxn>
                          <a:cxn ang="T158">
                            <a:pos x="T84" y="T85"/>
                          </a:cxn>
                          <a:cxn ang="T159">
                            <a:pos x="T86" y="T87"/>
                          </a:cxn>
                          <a:cxn ang="T160">
                            <a:pos x="T88" y="T89"/>
                          </a:cxn>
                          <a:cxn ang="T161">
                            <a:pos x="T90" y="T91"/>
                          </a:cxn>
                          <a:cxn ang="T162">
                            <a:pos x="T92" y="T93"/>
                          </a:cxn>
                          <a:cxn ang="T163">
                            <a:pos x="T94" y="T95"/>
                          </a:cxn>
                          <a:cxn ang="T164">
                            <a:pos x="T96" y="T97"/>
                          </a:cxn>
                          <a:cxn ang="T165">
                            <a:pos x="T98" y="T99"/>
                          </a:cxn>
                          <a:cxn ang="T166">
                            <a:pos x="T100" y="T101"/>
                          </a:cxn>
                          <a:cxn ang="T167">
                            <a:pos x="T102" y="T103"/>
                          </a:cxn>
                          <a:cxn ang="T168">
                            <a:pos x="T104" y="T105"/>
                          </a:cxn>
                          <a:cxn ang="T169">
                            <a:pos x="T106" y="T107"/>
                          </a:cxn>
                          <a:cxn ang="T170">
                            <a:pos x="T108" y="T109"/>
                          </a:cxn>
                          <a:cxn ang="T171">
                            <a:pos x="T110" y="T111"/>
                          </a:cxn>
                          <a:cxn ang="T172">
                            <a:pos x="T112" y="T113"/>
                          </a:cxn>
                          <a:cxn ang="T173">
                            <a:pos x="T114" y="T115"/>
                          </a:cxn>
                        </a:cxnLst>
                        <a:rect l="T174" t="T175" r="T176" b="T177"/>
                        <a:pathLst>
                          <a:path w="112" h="85">
                            <a:moveTo>
                              <a:pt x="54" y="18"/>
                            </a:moveTo>
                            <a:lnTo>
                              <a:pt x="50" y="18"/>
                            </a:lnTo>
                            <a:lnTo>
                              <a:pt x="45" y="18"/>
                            </a:lnTo>
                            <a:lnTo>
                              <a:pt x="45" y="9"/>
                            </a:lnTo>
                            <a:lnTo>
                              <a:pt x="45" y="0"/>
                            </a:lnTo>
                            <a:lnTo>
                              <a:pt x="41" y="0"/>
                            </a:lnTo>
                            <a:lnTo>
                              <a:pt x="41" y="5"/>
                            </a:lnTo>
                            <a:lnTo>
                              <a:pt x="27" y="5"/>
                            </a:lnTo>
                            <a:lnTo>
                              <a:pt x="32" y="9"/>
                            </a:lnTo>
                            <a:lnTo>
                              <a:pt x="23" y="18"/>
                            </a:lnTo>
                            <a:lnTo>
                              <a:pt x="9" y="27"/>
                            </a:lnTo>
                            <a:lnTo>
                              <a:pt x="5" y="32"/>
                            </a:lnTo>
                            <a:lnTo>
                              <a:pt x="0" y="36"/>
                            </a:lnTo>
                            <a:lnTo>
                              <a:pt x="5" y="41"/>
                            </a:lnTo>
                            <a:lnTo>
                              <a:pt x="9" y="45"/>
                            </a:lnTo>
                            <a:lnTo>
                              <a:pt x="14" y="45"/>
                            </a:lnTo>
                            <a:lnTo>
                              <a:pt x="9" y="54"/>
                            </a:lnTo>
                            <a:lnTo>
                              <a:pt x="14" y="58"/>
                            </a:lnTo>
                            <a:lnTo>
                              <a:pt x="9" y="67"/>
                            </a:lnTo>
                            <a:lnTo>
                              <a:pt x="5" y="76"/>
                            </a:lnTo>
                            <a:lnTo>
                              <a:pt x="9" y="76"/>
                            </a:lnTo>
                            <a:lnTo>
                              <a:pt x="23" y="72"/>
                            </a:lnTo>
                            <a:lnTo>
                              <a:pt x="36" y="67"/>
                            </a:lnTo>
                            <a:lnTo>
                              <a:pt x="41" y="67"/>
                            </a:lnTo>
                            <a:lnTo>
                              <a:pt x="54" y="50"/>
                            </a:lnTo>
                            <a:lnTo>
                              <a:pt x="58" y="54"/>
                            </a:lnTo>
                            <a:lnTo>
                              <a:pt x="63" y="67"/>
                            </a:lnTo>
                            <a:lnTo>
                              <a:pt x="58" y="85"/>
                            </a:lnTo>
                            <a:lnTo>
                              <a:pt x="81" y="72"/>
                            </a:lnTo>
                            <a:lnTo>
                              <a:pt x="108" y="76"/>
                            </a:lnTo>
                            <a:lnTo>
                              <a:pt x="112" y="72"/>
                            </a:lnTo>
                            <a:lnTo>
                              <a:pt x="112" y="67"/>
                            </a:lnTo>
                            <a:lnTo>
                              <a:pt x="108" y="67"/>
                            </a:lnTo>
                            <a:lnTo>
                              <a:pt x="108" y="54"/>
                            </a:lnTo>
                            <a:lnTo>
                              <a:pt x="90" y="50"/>
                            </a:lnTo>
                            <a:lnTo>
                              <a:pt x="90" y="32"/>
                            </a:lnTo>
                            <a:lnTo>
                              <a:pt x="81" y="32"/>
                            </a:lnTo>
                            <a:lnTo>
                              <a:pt x="76" y="36"/>
                            </a:lnTo>
                            <a:lnTo>
                              <a:pt x="63" y="36"/>
                            </a:lnTo>
                            <a:lnTo>
                              <a:pt x="63" y="32"/>
                            </a:lnTo>
                            <a:lnTo>
                              <a:pt x="58" y="32"/>
                            </a:lnTo>
                            <a:lnTo>
                              <a:pt x="54" y="36"/>
                            </a:lnTo>
                            <a:lnTo>
                              <a:pt x="50" y="32"/>
                            </a:lnTo>
                            <a:lnTo>
                              <a:pt x="45" y="32"/>
                            </a:lnTo>
                            <a:lnTo>
                              <a:pt x="41" y="32"/>
                            </a:lnTo>
                            <a:lnTo>
                              <a:pt x="27" y="32"/>
                            </a:lnTo>
                            <a:lnTo>
                              <a:pt x="27" y="27"/>
                            </a:lnTo>
                            <a:lnTo>
                              <a:pt x="32" y="23"/>
                            </a:lnTo>
                            <a:lnTo>
                              <a:pt x="32" y="18"/>
                            </a:lnTo>
                            <a:lnTo>
                              <a:pt x="41" y="18"/>
                            </a:lnTo>
                            <a:lnTo>
                              <a:pt x="45" y="23"/>
                            </a:lnTo>
                            <a:lnTo>
                              <a:pt x="45" y="27"/>
                            </a:lnTo>
                            <a:lnTo>
                              <a:pt x="50" y="27"/>
                            </a:lnTo>
                            <a:lnTo>
                              <a:pt x="50" y="23"/>
                            </a:lnTo>
                            <a:lnTo>
                              <a:pt x="54" y="18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5" name="Freeform 165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4095" y="2348"/>
                        <a:ext cx="110" cy="207"/>
                      </a:xfrm>
                      <a:custGeom>
                        <a:avLst/>
                        <a:gdLst>
                          <a:gd name="T0" fmla="*/ 9 w 116"/>
                          <a:gd name="T1" fmla="*/ 29 h 219"/>
                          <a:gd name="T2" fmla="*/ 9 w 116"/>
                          <a:gd name="T3" fmla="*/ 27 h 219"/>
                          <a:gd name="T4" fmla="*/ 9 w 116"/>
                          <a:gd name="T5" fmla="*/ 26 h 219"/>
                          <a:gd name="T6" fmla="*/ 9 w 116"/>
                          <a:gd name="T7" fmla="*/ 25 h 219"/>
                          <a:gd name="T8" fmla="*/ 9 w 116"/>
                          <a:gd name="T9" fmla="*/ 23 h 219"/>
                          <a:gd name="T10" fmla="*/ 9 w 116"/>
                          <a:gd name="T11" fmla="*/ 20 h 219"/>
                          <a:gd name="T12" fmla="*/ 9 w 116"/>
                          <a:gd name="T13" fmla="*/ 17 h 219"/>
                          <a:gd name="T14" fmla="*/ 9 w 116"/>
                          <a:gd name="T15" fmla="*/ 16 h 219"/>
                          <a:gd name="T16" fmla="*/ 9 w 116"/>
                          <a:gd name="T17" fmla="*/ 14 h 219"/>
                          <a:gd name="T18" fmla="*/ 9 w 116"/>
                          <a:gd name="T19" fmla="*/ 10 h 219"/>
                          <a:gd name="T20" fmla="*/ 5 w 116"/>
                          <a:gd name="T21" fmla="*/ 9 h 219"/>
                          <a:gd name="T22" fmla="*/ 5 w 116"/>
                          <a:gd name="T23" fmla="*/ 9 h 219"/>
                          <a:gd name="T24" fmla="*/ 0 w 116"/>
                          <a:gd name="T25" fmla="*/ 9 h 219"/>
                          <a:gd name="T26" fmla="*/ 9 w 116"/>
                          <a:gd name="T27" fmla="*/ 9 h 219"/>
                          <a:gd name="T28" fmla="*/ 9 w 116"/>
                          <a:gd name="T29" fmla="*/ 9 h 219"/>
                          <a:gd name="T30" fmla="*/ 9 w 116"/>
                          <a:gd name="T31" fmla="*/ 0 h 219"/>
                          <a:gd name="T32" fmla="*/ 9 w 116"/>
                          <a:gd name="T33" fmla="*/ 0 h 219"/>
                          <a:gd name="T34" fmla="*/ 9 w 116"/>
                          <a:gd name="T35" fmla="*/ 4 h 219"/>
                          <a:gd name="T36" fmla="*/ 9 w 116"/>
                          <a:gd name="T37" fmla="*/ 9 h 219"/>
                          <a:gd name="T38" fmla="*/ 10 w 116"/>
                          <a:gd name="T39" fmla="*/ 9 h 219"/>
                          <a:gd name="T40" fmla="*/ 10 w 116"/>
                          <a:gd name="T41" fmla="*/ 9 h 219"/>
                          <a:gd name="T42" fmla="*/ 14 w 116"/>
                          <a:gd name="T43" fmla="*/ 9 h 219"/>
                          <a:gd name="T44" fmla="*/ 16 w 116"/>
                          <a:gd name="T45" fmla="*/ 9 h 219"/>
                          <a:gd name="T46" fmla="*/ 19 w 116"/>
                          <a:gd name="T47" fmla="*/ 9 h 219"/>
                          <a:gd name="T48" fmla="*/ 20 w 116"/>
                          <a:gd name="T49" fmla="*/ 9 h 219"/>
                          <a:gd name="T50" fmla="*/ 22 w 116"/>
                          <a:gd name="T51" fmla="*/ 10 h 219"/>
                          <a:gd name="T52" fmla="*/ 24 w 116"/>
                          <a:gd name="T53" fmla="*/ 14 h 219"/>
                          <a:gd name="T54" fmla="*/ 23 w 116"/>
                          <a:gd name="T55" fmla="*/ 18 h 219"/>
                          <a:gd name="T56" fmla="*/ 18 w 116"/>
                          <a:gd name="T57" fmla="*/ 19 h 219"/>
                          <a:gd name="T58" fmla="*/ 15 w 116"/>
                          <a:gd name="T59" fmla="*/ 21 h 219"/>
                          <a:gd name="T60" fmla="*/ 18 w 116"/>
                          <a:gd name="T61" fmla="*/ 24 h 219"/>
                          <a:gd name="T62" fmla="*/ 18 w 116"/>
                          <a:gd name="T63" fmla="*/ 25 h 219"/>
                          <a:gd name="T64" fmla="*/ 15 w 116"/>
                          <a:gd name="T65" fmla="*/ 24 h 219"/>
                          <a:gd name="T66" fmla="*/ 13 w 116"/>
                          <a:gd name="T67" fmla="*/ 23 h 219"/>
                          <a:gd name="T68" fmla="*/ 9 w 116"/>
                          <a:gd name="T69" fmla="*/ 23 h 219"/>
                          <a:gd name="T70" fmla="*/ 9 w 116"/>
                          <a:gd name="T71" fmla="*/ 21 h 219"/>
                          <a:gd name="T72" fmla="*/ 9 w 116"/>
                          <a:gd name="T73" fmla="*/ 21 h 219"/>
                          <a:gd name="T74" fmla="*/ 9 w 116"/>
                          <a:gd name="T75" fmla="*/ 24 h 219"/>
                          <a:gd name="T76" fmla="*/ 9 w 116"/>
                          <a:gd name="T77" fmla="*/ 25 h 219"/>
                          <a:gd name="T78" fmla="*/ 9 w 116"/>
                          <a:gd name="T79" fmla="*/ 32 h 219"/>
                          <a:gd name="T80" fmla="*/ 9 w 116"/>
                          <a:gd name="T81" fmla="*/ 32 h 219"/>
                          <a:gd name="T82" fmla="*/ 9 w 116"/>
                          <a:gd name="T83" fmla="*/ 35 h 219"/>
                          <a:gd name="T84" fmla="*/ 9 w 116"/>
                          <a:gd name="T85" fmla="*/ 37 h 219"/>
                          <a:gd name="T86" fmla="*/ 11 w 116"/>
                          <a:gd name="T87" fmla="*/ 38 h 219"/>
                          <a:gd name="T88" fmla="*/ 14 w 116"/>
                          <a:gd name="T89" fmla="*/ 39 h 219"/>
                          <a:gd name="T90" fmla="*/ 13 w 116"/>
                          <a:gd name="T91" fmla="*/ 41 h 219"/>
                          <a:gd name="T92" fmla="*/ 10 w 116"/>
                          <a:gd name="T93" fmla="*/ 41 h 219"/>
                          <a:gd name="T94" fmla="*/ 9 w 116"/>
                          <a:gd name="T95" fmla="*/ 39 h 219"/>
                          <a:gd name="T96" fmla="*/ 9 w 116"/>
                          <a:gd name="T97" fmla="*/ 39 h 219"/>
                          <a:gd name="T98" fmla="*/ 9 w 116"/>
                          <a:gd name="T99" fmla="*/ 39 h 219"/>
                          <a:gd name="T100" fmla="*/ 9 w 116"/>
                          <a:gd name="T101" fmla="*/ 37 h 219"/>
                          <a:gd name="T102" fmla="*/ 9 w 116"/>
                          <a:gd name="T103" fmla="*/ 38 h 219"/>
                          <a:gd name="T104" fmla="*/ 9 w 116"/>
                          <a:gd name="T105" fmla="*/ 37 h 219"/>
                          <a:gd name="T106" fmla="*/ 9 w 116"/>
                          <a:gd name="T107" fmla="*/ 36 h 219"/>
                          <a:gd name="T108" fmla="*/ 9 w 116"/>
                          <a:gd name="T109" fmla="*/ 35 h 219"/>
                          <a:gd name="T110" fmla="*/ 9 w 116"/>
                          <a:gd name="T111" fmla="*/ 36 h 219"/>
                          <a:gd name="T112" fmla="*/ 9 w 116"/>
                          <a:gd name="T113" fmla="*/ 35 h 219"/>
                          <a:gd name="T114" fmla="*/ 9 w 116"/>
                          <a:gd name="T115" fmla="*/ 32 h 219"/>
                          <a:gd name="T116" fmla="*/ 9 w 116"/>
                          <a:gd name="T117" fmla="*/ 29 h 219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60000 65536"/>
                          <a:gd name="T151" fmla="*/ 0 60000 65536"/>
                          <a:gd name="T152" fmla="*/ 0 60000 65536"/>
                          <a:gd name="T153" fmla="*/ 0 60000 65536"/>
                          <a:gd name="T154" fmla="*/ 0 60000 65536"/>
                          <a:gd name="T155" fmla="*/ 0 60000 65536"/>
                          <a:gd name="T156" fmla="*/ 0 60000 65536"/>
                          <a:gd name="T157" fmla="*/ 0 60000 65536"/>
                          <a:gd name="T158" fmla="*/ 0 60000 65536"/>
                          <a:gd name="T159" fmla="*/ 0 60000 65536"/>
                          <a:gd name="T160" fmla="*/ 0 60000 65536"/>
                          <a:gd name="T161" fmla="*/ 0 60000 65536"/>
                          <a:gd name="T162" fmla="*/ 0 60000 65536"/>
                          <a:gd name="T163" fmla="*/ 0 60000 65536"/>
                          <a:gd name="T164" fmla="*/ 0 60000 65536"/>
                          <a:gd name="T165" fmla="*/ 0 60000 65536"/>
                          <a:gd name="T166" fmla="*/ 0 60000 65536"/>
                          <a:gd name="T167" fmla="*/ 0 60000 65536"/>
                          <a:gd name="T168" fmla="*/ 0 60000 65536"/>
                          <a:gd name="T169" fmla="*/ 0 60000 65536"/>
                          <a:gd name="T170" fmla="*/ 0 60000 65536"/>
                          <a:gd name="T171" fmla="*/ 0 60000 65536"/>
                          <a:gd name="T172" fmla="*/ 0 60000 65536"/>
                          <a:gd name="T173" fmla="*/ 0 60000 65536"/>
                          <a:gd name="T174" fmla="*/ 0 60000 65536"/>
                          <a:gd name="T175" fmla="*/ 0 60000 65536"/>
                          <a:gd name="T176" fmla="*/ 0 60000 65536"/>
                          <a:gd name="T177" fmla="*/ 0 w 116"/>
                          <a:gd name="T178" fmla="*/ 0 h 219"/>
                          <a:gd name="T179" fmla="*/ 116 w 116"/>
                          <a:gd name="T180" fmla="*/ 219 h 219"/>
                        </a:gdLst>
                        <a:ahLst/>
                        <a:cxnLst>
                          <a:cxn ang="T118">
                            <a:pos x="T0" y="T1"/>
                          </a:cxn>
                          <a:cxn ang="T119">
                            <a:pos x="T2" y="T3"/>
                          </a:cxn>
                          <a:cxn ang="T120">
                            <a:pos x="T4" y="T5"/>
                          </a:cxn>
                          <a:cxn ang="T121">
                            <a:pos x="T6" y="T7"/>
                          </a:cxn>
                          <a:cxn ang="T122">
                            <a:pos x="T8" y="T9"/>
                          </a:cxn>
                          <a:cxn ang="T123">
                            <a:pos x="T10" y="T11"/>
                          </a:cxn>
                          <a:cxn ang="T124">
                            <a:pos x="T12" y="T13"/>
                          </a:cxn>
                          <a:cxn ang="T125">
                            <a:pos x="T14" y="T15"/>
                          </a:cxn>
                          <a:cxn ang="T126">
                            <a:pos x="T16" y="T17"/>
                          </a:cxn>
                          <a:cxn ang="T127">
                            <a:pos x="T18" y="T19"/>
                          </a:cxn>
                          <a:cxn ang="T128">
                            <a:pos x="T20" y="T21"/>
                          </a:cxn>
                          <a:cxn ang="T129">
                            <a:pos x="T22" y="T23"/>
                          </a:cxn>
                          <a:cxn ang="T130">
                            <a:pos x="T24" y="T25"/>
                          </a:cxn>
                          <a:cxn ang="T131">
                            <a:pos x="T26" y="T27"/>
                          </a:cxn>
                          <a:cxn ang="T132">
                            <a:pos x="T28" y="T29"/>
                          </a:cxn>
                          <a:cxn ang="T133">
                            <a:pos x="T30" y="T31"/>
                          </a:cxn>
                          <a:cxn ang="T134">
                            <a:pos x="T32" y="T33"/>
                          </a:cxn>
                          <a:cxn ang="T135">
                            <a:pos x="T34" y="T35"/>
                          </a:cxn>
                          <a:cxn ang="T136">
                            <a:pos x="T36" y="T37"/>
                          </a:cxn>
                          <a:cxn ang="T137">
                            <a:pos x="T38" y="T39"/>
                          </a:cxn>
                          <a:cxn ang="T138">
                            <a:pos x="T40" y="T41"/>
                          </a:cxn>
                          <a:cxn ang="T139">
                            <a:pos x="T42" y="T43"/>
                          </a:cxn>
                          <a:cxn ang="T140">
                            <a:pos x="T44" y="T45"/>
                          </a:cxn>
                          <a:cxn ang="T141">
                            <a:pos x="T46" y="T47"/>
                          </a:cxn>
                          <a:cxn ang="T142">
                            <a:pos x="T48" y="T49"/>
                          </a:cxn>
                          <a:cxn ang="T143">
                            <a:pos x="T50" y="T51"/>
                          </a:cxn>
                          <a:cxn ang="T144">
                            <a:pos x="T52" y="T53"/>
                          </a:cxn>
                          <a:cxn ang="T145">
                            <a:pos x="T54" y="T55"/>
                          </a:cxn>
                          <a:cxn ang="T146">
                            <a:pos x="T56" y="T57"/>
                          </a:cxn>
                          <a:cxn ang="T147">
                            <a:pos x="T58" y="T59"/>
                          </a:cxn>
                          <a:cxn ang="T148">
                            <a:pos x="T60" y="T61"/>
                          </a:cxn>
                          <a:cxn ang="T149">
                            <a:pos x="T62" y="T63"/>
                          </a:cxn>
                          <a:cxn ang="T150">
                            <a:pos x="T64" y="T65"/>
                          </a:cxn>
                          <a:cxn ang="T151">
                            <a:pos x="T66" y="T67"/>
                          </a:cxn>
                          <a:cxn ang="T152">
                            <a:pos x="T68" y="T69"/>
                          </a:cxn>
                          <a:cxn ang="T153">
                            <a:pos x="T70" y="T71"/>
                          </a:cxn>
                          <a:cxn ang="T154">
                            <a:pos x="T72" y="T73"/>
                          </a:cxn>
                          <a:cxn ang="T155">
                            <a:pos x="T74" y="T75"/>
                          </a:cxn>
                          <a:cxn ang="T156">
                            <a:pos x="T76" y="T77"/>
                          </a:cxn>
                          <a:cxn ang="T157">
                            <a:pos x="T78" y="T79"/>
                          </a:cxn>
                          <a:cxn ang="T158">
                            <a:pos x="T80" y="T81"/>
                          </a:cxn>
                          <a:cxn ang="T159">
                            <a:pos x="T82" y="T83"/>
                          </a:cxn>
                          <a:cxn ang="T160">
                            <a:pos x="T84" y="T85"/>
                          </a:cxn>
                          <a:cxn ang="T161">
                            <a:pos x="T86" y="T87"/>
                          </a:cxn>
                          <a:cxn ang="T162">
                            <a:pos x="T88" y="T89"/>
                          </a:cxn>
                          <a:cxn ang="T163">
                            <a:pos x="T90" y="T91"/>
                          </a:cxn>
                          <a:cxn ang="T164">
                            <a:pos x="T92" y="T93"/>
                          </a:cxn>
                          <a:cxn ang="T165">
                            <a:pos x="T94" y="T95"/>
                          </a:cxn>
                          <a:cxn ang="T166">
                            <a:pos x="T96" y="T97"/>
                          </a:cxn>
                          <a:cxn ang="T167">
                            <a:pos x="T98" y="T99"/>
                          </a:cxn>
                          <a:cxn ang="T168">
                            <a:pos x="T100" y="T101"/>
                          </a:cxn>
                          <a:cxn ang="T169">
                            <a:pos x="T102" y="T103"/>
                          </a:cxn>
                          <a:cxn ang="T170">
                            <a:pos x="T104" y="T105"/>
                          </a:cxn>
                          <a:cxn ang="T171">
                            <a:pos x="T106" y="T107"/>
                          </a:cxn>
                          <a:cxn ang="T172">
                            <a:pos x="T108" y="T109"/>
                          </a:cxn>
                          <a:cxn ang="T173">
                            <a:pos x="T110" y="T111"/>
                          </a:cxn>
                          <a:cxn ang="T174">
                            <a:pos x="T112" y="T113"/>
                          </a:cxn>
                          <a:cxn ang="T175">
                            <a:pos x="T114" y="T115"/>
                          </a:cxn>
                          <a:cxn ang="T176">
                            <a:pos x="T116" y="T117"/>
                          </a:cxn>
                        </a:cxnLst>
                        <a:rect l="T177" t="T178" r="T179" b="T180"/>
                        <a:pathLst>
                          <a:path w="116" h="219">
                            <a:moveTo>
                              <a:pt x="18" y="156"/>
                            </a:moveTo>
                            <a:lnTo>
                              <a:pt x="23" y="147"/>
                            </a:lnTo>
                            <a:lnTo>
                              <a:pt x="27" y="143"/>
                            </a:lnTo>
                            <a:lnTo>
                              <a:pt x="31" y="134"/>
                            </a:lnTo>
                            <a:lnTo>
                              <a:pt x="27" y="121"/>
                            </a:lnTo>
                            <a:lnTo>
                              <a:pt x="31" y="103"/>
                            </a:lnTo>
                            <a:lnTo>
                              <a:pt x="14" y="85"/>
                            </a:lnTo>
                            <a:lnTo>
                              <a:pt x="9" y="80"/>
                            </a:lnTo>
                            <a:lnTo>
                              <a:pt x="18" y="71"/>
                            </a:lnTo>
                            <a:lnTo>
                              <a:pt x="14" y="58"/>
                            </a:lnTo>
                            <a:lnTo>
                              <a:pt x="5" y="49"/>
                            </a:lnTo>
                            <a:lnTo>
                              <a:pt x="5" y="36"/>
                            </a:lnTo>
                            <a:lnTo>
                              <a:pt x="0" y="31"/>
                            </a:lnTo>
                            <a:lnTo>
                              <a:pt x="9" y="13"/>
                            </a:lnTo>
                            <a:lnTo>
                              <a:pt x="18" y="9"/>
                            </a:lnTo>
                            <a:lnTo>
                              <a:pt x="31" y="0"/>
                            </a:lnTo>
                            <a:lnTo>
                              <a:pt x="40" y="0"/>
                            </a:lnTo>
                            <a:lnTo>
                              <a:pt x="49" y="4"/>
                            </a:lnTo>
                            <a:lnTo>
                              <a:pt x="45" y="9"/>
                            </a:lnTo>
                            <a:lnTo>
                              <a:pt x="54" y="13"/>
                            </a:lnTo>
                            <a:lnTo>
                              <a:pt x="54" y="49"/>
                            </a:lnTo>
                            <a:lnTo>
                              <a:pt x="67" y="36"/>
                            </a:lnTo>
                            <a:lnTo>
                              <a:pt x="76" y="40"/>
                            </a:lnTo>
                            <a:lnTo>
                              <a:pt x="85" y="31"/>
                            </a:lnTo>
                            <a:lnTo>
                              <a:pt x="94" y="31"/>
                            </a:lnTo>
                            <a:lnTo>
                              <a:pt x="103" y="58"/>
                            </a:lnTo>
                            <a:lnTo>
                              <a:pt x="116" y="71"/>
                            </a:lnTo>
                            <a:lnTo>
                              <a:pt x="107" y="89"/>
                            </a:lnTo>
                            <a:lnTo>
                              <a:pt x="81" y="94"/>
                            </a:lnTo>
                            <a:lnTo>
                              <a:pt x="72" y="107"/>
                            </a:lnTo>
                            <a:lnTo>
                              <a:pt x="81" y="125"/>
                            </a:lnTo>
                            <a:lnTo>
                              <a:pt x="81" y="134"/>
                            </a:lnTo>
                            <a:lnTo>
                              <a:pt x="72" y="129"/>
                            </a:lnTo>
                            <a:lnTo>
                              <a:pt x="63" y="121"/>
                            </a:lnTo>
                            <a:lnTo>
                              <a:pt x="49" y="121"/>
                            </a:lnTo>
                            <a:lnTo>
                              <a:pt x="49" y="107"/>
                            </a:lnTo>
                            <a:lnTo>
                              <a:pt x="40" y="107"/>
                            </a:lnTo>
                            <a:lnTo>
                              <a:pt x="40" y="125"/>
                            </a:lnTo>
                            <a:lnTo>
                              <a:pt x="31" y="138"/>
                            </a:lnTo>
                            <a:lnTo>
                              <a:pt x="27" y="170"/>
                            </a:lnTo>
                            <a:lnTo>
                              <a:pt x="36" y="170"/>
                            </a:lnTo>
                            <a:lnTo>
                              <a:pt x="45" y="183"/>
                            </a:lnTo>
                            <a:lnTo>
                              <a:pt x="49" y="196"/>
                            </a:lnTo>
                            <a:lnTo>
                              <a:pt x="58" y="201"/>
                            </a:lnTo>
                            <a:lnTo>
                              <a:pt x="67" y="210"/>
                            </a:lnTo>
                            <a:lnTo>
                              <a:pt x="63" y="219"/>
                            </a:lnTo>
                            <a:lnTo>
                              <a:pt x="54" y="219"/>
                            </a:lnTo>
                            <a:lnTo>
                              <a:pt x="45" y="205"/>
                            </a:lnTo>
                            <a:lnTo>
                              <a:pt x="40" y="210"/>
                            </a:lnTo>
                            <a:lnTo>
                              <a:pt x="31" y="205"/>
                            </a:lnTo>
                            <a:lnTo>
                              <a:pt x="27" y="196"/>
                            </a:lnTo>
                            <a:lnTo>
                              <a:pt x="23" y="201"/>
                            </a:lnTo>
                            <a:lnTo>
                              <a:pt x="18" y="196"/>
                            </a:lnTo>
                            <a:lnTo>
                              <a:pt x="23" y="192"/>
                            </a:lnTo>
                            <a:lnTo>
                              <a:pt x="18" y="188"/>
                            </a:lnTo>
                            <a:lnTo>
                              <a:pt x="14" y="192"/>
                            </a:lnTo>
                            <a:lnTo>
                              <a:pt x="9" y="183"/>
                            </a:lnTo>
                            <a:lnTo>
                              <a:pt x="14" y="170"/>
                            </a:lnTo>
                            <a:lnTo>
                              <a:pt x="18" y="156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6" name="Freeform 166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467" y="2263"/>
                        <a:ext cx="76" cy="47"/>
                      </a:xfrm>
                      <a:custGeom>
                        <a:avLst/>
                        <a:gdLst>
                          <a:gd name="T0" fmla="*/ 0 w 80"/>
                          <a:gd name="T1" fmla="*/ 8 h 50"/>
                          <a:gd name="T2" fmla="*/ 9 w 80"/>
                          <a:gd name="T3" fmla="*/ 8 h 50"/>
                          <a:gd name="T4" fmla="*/ 10 w 80"/>
                          <a:gd name="T5" fmla="*/ 8 h 50"/>
                          <a:gd name="T6" fmla="*/ 10 w 80"/>
                          <a:gd name="T7" fmla="*/ 8 h 50"/>
                          <a:gd name="T8" fmla="*/ 10 w 80"/>
                          <a:gd name="T9" fmla="*/ 8 h 50"/>
                          <a:gd name="T10" fmla="*/ 10 w 80"/>
                          <a:gd name="T11" fmla="*/ 8 h 50"/>
                          <a:gd name="T12" fmla="*/ 10 w 80"/>
                          <a:gd name="T13" fmla="*/ 8 h 50"/>
                          <a:gd name="T14" fmla="*/ 10 w 80"/>
                          <a:gd name="T15" fmla="*/ 8 h 50"/>
                          <a:gd name="T16" fmla="*/ 10 w 80"/>
                          <a:gd name="T17" fmla="*/ 8 h 50"/>
                          <a:gd name="T18" fmla="*/ 16 w 80"/>
                          <a:gd name="T19" fmla="*/ 0 h 50"/>
                          <a:gd name="T20" fmla="*/ 17 w 80"/>
                          <a:gd name="T21" fmla="*/ 0 h 50"/>
                          <a:gd name="T22" fmla="*/ 18 w 80"/>
                          <a:gd name="T23" fmla="*/ 5 h 50"/>
                          <a:gd name="T24" fmla="*/ 17 w 80"/>
                          <a:gd name="T25" fmla="*/ 8 h 50"/>
                          <a:gd name="T26" fmla="*/ 17 w 80"/>
                          <a:gd name="T27" fmla="*/ 8 h 50"/>
                          <a:gd name="T28" fmla="*/ 16 w 80"/>
                          <a:gd name="T29" fmla="*/ 8 h 50"/>
                          <a:gd name="T30" fmla="*/ 13 w 80"/>
                          <a:gd name="T31" fmla="*/ 8 h 50"/>
                          <a:gd name="T32" fmla="*/ 10 w 80"/>
                          <a:gd name="T33" fmla="*/ 8 h 50"/>
                          <a:gd name="T34" fmla="*/ 10 w 80"/>
                          <a:gd name="T35" fmla="*/ 8 h 50"/>
                          <a:gd name="T36" fmla="*/ 9 w 80"/>
                          <a:gd name="T37" fmla="*/ 8 h 50"/>
                          <a:gd name="T38" fmla="*/ 0 w 80"/>
                          <a:gd name="T39" fmla="*/ 8 h 50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w 80"/>
                          <a:gd name="T61" fmla="*/ 0 h 50"/>
                          <a:gd name="T62" fmla="*/ 80 w 80"/>
                          <a:gd name="T63" fmla="*/ 50 h 50"/>
                        </a:gdLst>
                        <a:ahLst/>
                        <a:cxnLst>
                          <a:cxn ang="T40">
                            <a:pos x="T0" y="T1"/>
                          </a:cxn>
                          <a:cxn ang="T41">
                            <a:pos x="T2" y="T3"/>
                          </a:cxn>
                          <a:cxn ang="T42">
                            <a:pos x="T4" y="T5"/>
                          </a:cxn>
                          <a:cxn ang="T43">
                            <a:pos x="T6" y="T7"/>
                          </a:cxn>
                          <a:cxn ang="T44">
                            <a:pos x="T8" y="T9"/>
                          </a:cxn>
                          <a:cxn ang="T45">
                            <a:pos x="T10" y="T11"/>
                          </a:cxn>
                          <a:cxn ang="T46">
                            <a:pos x="T12" y="T13"/>
                          </a:cxn>
                          <a:cxn ang="T47">
                            <a:pos x="T14" y="T15"/>
                          </a:cxn>
                          <a:cxn ang="T48">
                            <a:pos x="T16" y="T17"/>
                          </a:cxn>
                          <a:cxn ang="T49">
                            <a:pos x="T18" y="T19"/>
                          </a:cxn>
                          <a:cxn ang="T50">
                            <a:pos x="T20" y="T21"/>
                          </a:cxn>
                          <a:cxn ang="T51">
                            <a:pos x="T22" y="T23"/>
                          </a:cxn>
                          <a:cxn ang="T52">
                            <a:pos x="T24" y="T25"/>
                          </a:cxn>
                          <a:cxn ang="T53">
                            <a:pos x="T26" y="T27"/>
                          </a:cxn>
                          <a:cxn ang="T54">
                            <a:pos x="T28" y="T29"/>
                          </a:cxn>
                          <a:cxn ang="T55">
                            <a:pos x="T30" y="T31"/>
                          </a:cxn>
                          <a:cxn ang="T56">
                            <a:pos x="T32" y="T33"/>
                          </a:cxn>
                          <a:cxn ang="T57">
                            <a:pos x="T34" y="T35"/>
                          </a:cxn>
                          <a:cxn ang="T58">
                            <a:pos x="T36" y="T37"/>
                          </a:cxn>
                          <a:cxn ang="T59">
                            <a:pos x="T38" y="T39"/>
                          </a:cxn>
                        </a:cxnLst>
                        <a:rect l="T60" t="T61" r="T62" b="T63"/>
                        <a:pathLst>
                          <a:path w="80" h="50">
                            <a:moveTo>
                              <a:pt x="0" y="14"/>
                            </a:moveTo>
                            <a:lnTo>
                              <a:pt x="9" y="18"/>
                            </a:lnTo>
                            <a:lnTo>
                              <a:pt x="13" y="18"/>
                            </a:lnTo>
                            <a:lnTo>
                              <a:pt x="26" y="23"/>
                            </a:lnTo>
                            <a:lnTo>
                              <a:pt x="40" y="23"/>
                            </a:lnTo>
                            <a:lnTo>
                              <a:pt x="44" y="32"/>
                            </a:lnTo>
                            <a:lnTo>
                              <a:pt x="49" y="27"/>
                            </a:lnTo>
                            <a:lnTo>
                              <a:pt x="49" y="23"/>
                            </a:lnTo>
                            <a:lnTo>
                              <a:pt x="53" y="23"/>
                            </a:lnTo>
                            <a:lnTo>
                              <a:pt x="71" y="0"/>
                            </a:lnTo>
                            <a:lnTo>
                              <a:pt x="76" y="0"/>
                            </a:lnTo>
                            <a:lnTo>
                              <a:pt x="80" y="5"/>
                            </a:lnTo>
                            <a:lnTo>
                              <a:pt x="76" y="14"/>
                            </a:lnTo>
                            <a:lnTo>
                              <a:pt x="71" y="18"/>
                            </a:lnTo>
                            <a:lnTo>
                              <a:pt x="62" y="32"/>
                            </a:lnTo>
                            <a:lnTo>
                              <a:pt x="44" y="41"/>
                            </a:lnTo>
                            <a:lnTo>
                              <a:pt x="22" y="50"/>
                            </a:lnTo>
                            <a:lnTo>
                              <a:pt x="9" y="41"/>
                            </a:lnTo>
                            <a:lnTo>
                              <a:pt x="0" y="14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7" name="Freeform 167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491" y="1980"/>
                        <a:ext cx="186" cy="135"/>
                      </a:xfrm>
                      <a:custGeom>
                        <a:avLst/>
                        <a:gdLst>
                          <a:gd name="T0" fmla="*/ 5 w 197"/>
                          <a:gd name="T1" fmla="*/ 8 h 143"/>
                          <a:gd name="T2" fmla="*/ 8 w 197"/>
                          <a:gd name="T3" fmla="*/ 8 h 143"/>
                          <a:gd name="T4" fmla="*/ 8 w 197"/>
                          <a:gd name="T5" fmla="*/ 8 h 143"/>
                          <a:gd name="T6" fmla="*/ 8 w 197"/>
                          <a:gd name="T7" fmla="*/ 8 h 143"/>
                          <a:gd name="T8" fmla="*/ 0 w 197"/>
                          <a:gd name="T9" fmla="*/ 8 h 143"/>
                          <a:gd name="T10" fmla="*/ 8 w 197"/>
                          <a:gd name="T11" fmla="*/ 8 h 143"/>
                          <a:gd name="T12" fmla="*/ 8 w 197"/>
                          <a:gd name="T13" fmla="*/ 12 h 143"/>
                          <a:gd name="T14" fmla="*/ 5 w 197"/>
                          <a:gd name="T15" fmla="*/ 12 h 143"/>
                          <a:gd name="T16" fmla="*/ 8 w 197"/>
                          <a:gd name="T17" fmla="*/ 13 h 143"/>
                          <a:gd name="T18" fmla="*/ 8 w 197"/>
                          <a:gd name="T19" fmla="*/ 19 h 143"/>
                          <a:gd name="T20" fmla="*/ 8 w 197"/>
                          <a:gd name="T21" fmla="*/ 19 h 143"/>
                          <a:gd name="T22" fmla="*/ 8 w 197"/>
                          <a:gd name="T23" fmla="*/ 18 h 143"/>
                          <a:gd name="T24" fmla="*/ 13 w 197"/>
                          <a:gd name="T25" fmla="*/ 18 h 143"/>
                          <a:gd name="T26" fmla="*/ 20 w 197"/>
                          <a:gd name="T27" fmla="*/ 22 h 143"/>
                          <a:gd name="T28" fmla="*/ 22 w 197"/>
                          <a:gd name="T29" fmla="*/ 24 h 143"/>
                          <a:gd name="T30" fmla="*/ 25 w 197"/>
                          <a:gd name="T31" fmla="*/ 25 h 143"/>
                          <a:gd name="T32" fmla="*/ 30 w 197"/>
                          <a:gd name="T33" fmla="*/ 23 h 143"/>
                          <a:gd name="T34" fmla="*/ 34 w 197"/>
                          <a:gd name="T35" fmla="*/ 19 h 143"/>
                          <a:gd name="T36" fmla="*/ 36 w 197"/>
                          <a:gd name="T37" fmla="*/ 19 h 143"/>
                          <a:gd name="T38" fmla="*/ 34 w 197"/>
                          <a:gd name="T39" fmla="*/ 17 h 143"/>
                          <a:gd name="T40" fmla="*/ 32 w 197"/>
                          <a:gd name="T41" fmla="*/ 15 h 143"/>
                          <a:gd name="T42" fmla="*/ 26 w 197"/>
                          <a:gd name="T43" fmla="*/ 11 h 143"/>
                          <a:gd name="T44" fmla="*/ 24 w 197"/>
                          <a:gd name="T45" fmla="*/ 8 h 143"/>
                          <a:gd name="T46" fmla="*/ 24 w 197"/>
                          <a:gd name="T47" fmla="*/ 8 h 143"/>
                          <a:gd name="T48" fmla="*/ 20 w 197"/>
                          <a:gd name="T49" fmla="*/ 8 h 143"/>
                          <a:gd name="T50" fmla="*/ 20 w 197"/>
                          <a:gd name="T51" fmla="*/ 8 h 143"/>
                          <a:gd name="T52" fmla="*/ 19 w 197"/>
                          <a:gd name="T53" fmla="*/ 5 h 143"/>
                          <a:gd name="T54" fmla="*/ 15 w 197"/>
                          <a:gd name="T55" fmla="*/ 5 h 143"/>
                          <a:gd name="T56" fmla="*/ 15 w 197"/>
                          <a:gd name="T57" fmla="*/ 8 h 143"/>
                          <a:gd name="T58" fmla="*/ 13 w 197"/>
                          <a:gd name="T59" fmla="*/ 8 h 143"/>
                          <a:gd name="T60" fmla="*/ 12 w 197"/>
                          <a:gd name="T61" fmla="*/ 8 h 143"/>
                          <a:gd name="T62" fmla="*/ 11 w 197"/>
                          <a:gd name="T63" fmla="*/ 8 h 143"/>
                          <a:gd name="T64" fmla="*/ 10 w 197"/>
                          <a:gd name="T65" fmla="*/ 8 h 143"/>
                          <a:gd name="T66" fmla="*/ 8 w 197"/>
                          <a:gd name="T67" fmla="*/ 8 h 143"/>
                          <a:gd name="T68" fmla="*/ 8 w 197"/>
                          <a:gd name="T69" fmla="*/ 8 h 143"/>
                          <a:gd name="T70" fmla="*/ 8 w 197"/>
                          <a:gd name="T71" fmla="*/ 8 h 143"/>
                          <a:gd name="T72" fmla="*/ 0 w 197"/>
                          <a:gd name="T73" fmla="*/ 8 h 143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w 197"/>
                          <a:gd name="T112" fmla="*/ 0 h 143"/>
                          <a:gd name="T113" fmla="*/ 197 w 197"/>
                          <a:gd name="T114" fmla="*/ 143 h 143"/>
                        </a:gdLst>
                        <a:ahLst/>
                        <a:cxnLst>
                          <a:cxn ang="T74">
                            <a:pos x="T0" y="T1"/>
                          </a:cxn>
                          <a:cxn ang="T75">
                            <a:pos x="T2" y="T3"/>
                          </a:cxn>
                          <a:cxn ang="T76">
                            <a:pos x="T4" y="T5"/>
                          </a:cxn>
                          <a:cxn ang="T77">
                            <a:pos x="T6" y="T7"/>
                          </a:cxn>
                          <a:cxn ang="T78">
                            <a:pos x="T8" y="T9"/>
                          </a:cxn>
                          <a:cxn ang="T79">
                            <a:pos x="T10" y="T11"/>
                          </a:cxn>
                          <a:cxn ang="T80">
                            <a:pos x="T12" y="T13"/>
                          </a:cxn>
                          <a:cxn ang="T81">
                            <a:pos x="T14" y="T15"/>
                          </a:cxn>
                          <a:cxn ang="T82">
                            <a:pos x="T16" y="T17"/>
                          </a:cxn>
                          <a:cxn ang="T83">
                            <a:pos x="T18" y="T19"/>
                          </a:cxn>
                          <a:cxn ang="T84">
                            <a:pos x="T20" y="T21"/>
                          </a:cxn>
                          <a:cxn ang="T85">
                            <a:pos x="T22" y="T23"/>
                          </a:cxn>
                          <a:cxn ang="T86">
                            <a:pos x="T24" y="T25"/>
                          </a:cxn>
                          <a:cxn ang="T87">
                            <a:pos x="T26" y="T27"/>
                          </a:cxn>
                          <a:cxn ang="T88">
                            <a:pos x="T28" y="T29"/>
                          </a:cxn>
                          <a:cxn ang="T89">
                            <a:pos x="T30" y="T31"/>
                          </a:cxn>
                          <a:cxn ang="T90">
                            <a:pos x="T32" y="T33"/>
                          </a:cxn>
                          <a:cxn ang="T91">
                            <a:pos x="T34" y="T35"/>
                          </a:cxn>
                          <a:cxn ang="T92">
                            <a:pos x="T36" y="T37"/>
                          </a:cxn>
                          <a:cxn ang="T93">
                            <a:pos x="T38" y="T39"/>
                          </a:cxn>
                          <a:cxn ang="T94">
                            <a:pos x="T40" y="T41"/>
                          </a:cxn>
                          <a:cxn ang="T95">
                            <a:pos x="T42" y="T43"/>
                          </a:cxn>
                          <a:cxn ang="T96">
                            <a:pos x="T44" y="T45"/>
                          </a:cxn>
                          <a:cxn ang="T97">
                            <a:pos x="T46" y="T47"/>
                          </a:cxn>
                          <a:cxn ang="T98">
                            <a:pos x="T48" y="T49"/>
                          </a:cxn>
                          <a:cxn ang="T99">
                            <a:pos x="T50" y="T51"/>
                          </a:cxn>
                          <a:cxn ang="T100">
                            <a:pos x="T52" y="T53"/>
                          </a:cxn>
                          <a:cxn ang="T101">
                            <a:pos x="T54" y="T55"/>
                          </a:cxn>
                          <a:cxn ang="T102">
                            <a:pos x="T56" y="T57"/>
                          </a:cxn>
                          <a:cxn ang="T103">
                            <a:pos x="T58" y="T59"/>
                          </a:cxn>
                          <a:cxn ang="T104">
                            <a:pos x="T60" y="T61"/>
                          </a:cxn>
                          <a:cxn ang="T105">
                            <a:pos x="T62" y="T63"/>
                          </a:cxn>
                          <a:cxn ang="T106">
                            <a:pos x="T64" y="T65"/>
                          </a:cxn>
                          <a:cxn ang="T107">
                            <a:pos x="T66" y="T67"/>
                          </a:cxn>
                          <a:cxn ang="T108">
                            <a:pos x="T68" y="T69"/>
                          </a:cxn>
                          <a:cxn ang="T109">
                            <a:pos x="T70" y="T71"/>
                          </a:cxn>
                          <a:cxn ang="T110">
                            <a:pos x="T72" y="T73"/>
                          </a:cxn>
                        </a:cxnLst>
                        <a:rect l="T111" t="T112" r="T113" b="T114"/>
                        <a:pathLst>
                          <a:path w="197" h="143">
                            <a:moveTo>
                              <a:pt x="0" y="18"/>
                            </a:moveTo>
                            <a:lnTo>
                              <a:pt x="5" y="31"/>
                            </a:lnTo>
                            <a:lnTo>
                              <a:pt x="5" y="13"/>
                            </a:lnTo>
                            <a:lnTo>
                              <a:pt x="18" y="9"/>
                            </a:lnTo>
                            <a:lnTo>
                              <a:pt x="23" y="22"/>
                            </a:lnTo>
                            <a:lnTo>
                              <a:pt x="32" y="31"/>
                            </a:lnTo>
                            <a:lnTo>
                              <a:pt x="23" y="36"/>
                            </a:lnTo>
                            <a:lnTo>
                              <a:pt x="9" y="40"/>
                            </a:lnTo>
                            <a:lnTo>
                              <a:pt x="5" y="36"/>
                            </a:lnTo>
                            <a:lnTo>
                              <a:pt x="0" y="49"/>
                            </a:lnTo>
                            <a:lnTo>
                              <a:pt x="5" y="58"/>
                            </a:lnTo>
                            <a:lnTo>
                              <a:pt x="9" y="54"/>
                            </a:lnTo>
                            <a:lnTo>
                              <a:pt x="18" y="54"/>
                            </a:lnTo>
                            <a:lnTo>
                              <a:pt x="18" y="67"/>
                            </a:lnTo>
                            <a:lnTo>
                              <a:pt x="9" y="63"/>
                            </a:lnTo>
                            <a:lnTo>
                              <a:pt x="5" y="67"/>
                            </a:lnTo>
                            <a:lnTo>
                              <a:pt x="9" y="72"/>
                            </a:lnTo>
                            <a:lnTo>
                              <a:pt x="14" y="72"/>
                            </a:lnTo>
                            <a:lnTo>
                              <a:pt x="18" y="76"/>
                            </a:lnTo>
                            <a:lnTo>
                              <a:pt x="18" y="98"/>
                            </a:lnTo>
                            <a:lnTo>
                              <a:pt x="23" y="107"/>
                            </a:lnTo>
                            <a:lnTo>
                              <a:pt x="32" y="103"/>
                            </a:lnTo>
                            <a:lnTo>
                              <a:pt x="41" y="94"/>
                            </a:lnTo>
                            <a:lnTo>
                              <a:pt x="54" y="94"/>
                            </a:lnTo>
                            <a:lnTo>
                              <a:pt x="63" y="85"/>
                            </a:lnTo>
                            <a:lnTo>
                              <a:pt x="72" y="94"/>
                            </a:lnTo>
                            <a:lnTo>
                              <a:pt x="94" y="98"/>
                            </a:lnTo>
                            <a:lnTo>
                              <a:pt x="108" y="116"/>
                            </a:lnTo>
                            <a:lnTo>
                              <a:pt x="121" y="116"/>
                            </a:lnTo>
                            <a:lnTo>
                              <a:pt x="121" y="134"/>
                            </a:lnTo>
                            <a:lnTo>
                              <a:pt x="134" y="134"/>
                            </a:lnTo>
                            <a:lnTo>
                              <a:pt x="139" y="143"/>
                            </a:lnTo>
                            <a:lnTo>
                              <a:pt x="152" y="130"/>
                            </a:lnTo>
                            <a:lnTo>
                              <a:pt x="170" y="125"/>
                            </a:lnTo>
                            <a:lnTo>
                              <a:pt x="179" y="107"/>
                            </a:lnTo>
                            <a:lnTo>
                              <a:pt x="188" y="103"/>
                            </a:lnTo>
                            <a:lnTo>
                              <a:pt x="197" y="107"/>
                            </a:lnTo>
                            <a:lnTo>
                              <a:pt x="197" y="103"/>
                            </a:lnTo>
                            <a:lnTo>
                              <a:pt x="197" y="94"/>
                            </a:lnTo>
                            <a:lnTo>
                              <a:pt x="188" y="89"/>
                            </a:lnTo>
                            <a:lnTo>
                              <a:pt x="184" y="89"/>
                            </a:lnTo>
                            <a:lnTo>
                              <a:pt x="175" y="81"/>
                            </a:lnTo>
                            <a:lnTo>
                              <a:pt x="166" y="76"/>
                            </a:lnTo>
                            <a:lnTo>
                              <a:pt x="152" y="63"/>
                            </a:lnTo>
                            <a:lnTo>
                              <a:pt x="143" y="54"/>
                            </a:lnTo>
                            <a:lnTo>
                              <a:pt x="134" y="45"/>
                            </a:lnTo>
                            <a:lnTo>
                              <a:pt x="134" y="36"/>
                            </a:lnTo>
                            <a:lnTo>
                              <a:pt x="130" y="27"/>
                            </a:lnTo>
                            <a:lnTo>
                              <a:pt x="126" y="31"/>
                            </a:lnTo>
                            <a:lnTo>
                              <a:pt x="108" y="31"/>
                            </a:lnTo>
                            <a:lnTo>
                              <a:pt x="103" y="18"/>
                            </a:lnTo>
                            <a:lnTo>
                              <a:pt x="108" y="13"/>
                            </a:lnTo>
                            <a:lnTo>
                              <a:pt x="108" y="9"/>
                            </a:lnTo>
                            <a:lnTo>
                              <a:pt x="99" y="5"/>
                            </a:lnTo>
                            <a:lnTo>
                              <a:pt x="81" y="0"/>
                            </a:lnTo>
                            <a:lnTo>
                              <a:pt x="81" y="5"/>
                            </a:lnTo>
                            <a:lnTo>
                              <a:pt x="85" y="9"/>
                            </a:lnTo>
                            <a:lnTo>
                              <a:pt x="81" y="13"/>
                            </a:lnTo>
                            <a:lnTo>
                              <a:pt x="76" y="5"/>
                            </a:lnTo>
                            <a:lnTo>
                              <a:pt x="72" y="9"/>
                            </a:lnTo>
                            <a:lnTo>
                              <a:pt x="72" y="13"/>
                            </a:lnTo>
                            <a:lnTo>
                              <a:pt x="67" y="13"/>
                            </a:lnTo>
                            <a:lnTo>
                              <a:pt x="63" y="18"/>
                            </a:lnTo>
                            <a:lnTo>
                              <a:pt x="63" y="22"/>
                            </a:lnTo>
                            <a:lnTo>
                              <a:pt x="63" y="27"/>
                            </a:lnTo>
                            <a:lnTo>
                              <a:pt x="59" y="27"/>
                            </a:lnTo>
                            <a:lnTo>
                              <a:pt x="45" y="27"/>
                            </a:lnTo>
                            <a:lnTo>
                              <a:pt x="41" y="27"/>
                            </a:lnTo>
                            <a:lnTo>
                              <a:pt x="36" y="22"/>
                            </a:lnTo>
                            <a:lnTo>
                              <a:pt x="32" y="13"/>
                            </a:lnTo>
                            <a:lnTo>
                              <a:pt x="23" y="5"/>
                            </a:lnTo>
                            <a:lnTo>
                              <a:pt x="9" y="9"/>
                            </a:lnTo>
                            <a:lnTo>
                              <a:pt x="0" y="13"/>
                            </a:lnTo>
                            <a:lnTo>
                              <a:pt x="0" y="18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8" name="Freeform 168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3534" y="1925"/>
                        <a:ext cx="236" cy="156"/>
                      </a:xfrm>
                      <a:custGeom>
                        <a:avLst/>
                        <a:gdLst>
                          <a:gd name="T0" fmla="*/ 0 w 250"/>
                          <a:gd name="T1" fmla="*/ 9 h 165"/>
                          <a:gd name="T2" fmla="*/ 8 w 250"/>
                          <a:gd name="T3" fmla="*/ 9 h 165"/>
                          <a:gd name="T4" fmla="*/ 8 w 250"/>
                          <a:gd name="T5" fmla="*/ 9 h 165"/>
                          <a:gd name="T6" fmla="*/ 8 w 250"/>
                          <a:gd name="T7" fmla="*/ 9 h 165"/>
                          <a:gd name="T8" fmla="*/ 11 w 250"/>
                          <a:gd name="T9" fmla="*/ 9 h 165"/>
                          <a:gd name="T10" fmla="*/ 14 w 250"/>
                          <a:gd name="T11" fmla="*/ 9 h 165"/>
                          <a:gd name="T12" fmla="*/ 17 w 250"/>
                          <a:gd name="T13" fmla="*/ 9 h 165"/>
                          <a:gd name="T14" fmla="*/ 23 w 250"/>
                          <a:gd name="T15" fmla="*/ 9 h 165"/>
                          <a:gd name="T16" fmla="*/ 25 w 250"/>
                          <a:gd name="T17" fmla="*/ 9 h 165"/>
                          <a:gd name="T18" fmla="*/ 25 w 250"/>
                          <a:gd name="T19" fmla="*/ 13 h 165"/>
                          <a:gd name="T20" fmla="*/ 25 w 250"/>
                          <a:gd name="T21" fmla="*/ 15 h 165"/>
                          <a:gd name="T22" fmla="*/ 26 w 250"/>
                          <a:gd name="T23" fmla="*/ 17 h 165"/>
                          <a:gd name="T24" fmla="*/ 34 w 250"/>
                          <a:gd name="T25" fmla="*/ 17 h 165"/>
                          <a:gd name="T26" fmla="*/ 40 w 250"/>
                          <a:gd name="T27" fmla="*/ 12 h 165"/>
                          <a:gd name="T28" fmla="*/ 40 w 250"/>
                          <a:gd name="T29" fmla="*/ 14 h 165"/>
                          <a:gd name="T30" fmla="*/ 38 w 250"/>
                          <a:gd name="T31" fmla="*/ 17 h 165"/>
                          <a:gd name="T32" fmla="*/ 38 w 250"/>
                          <a:gd name="T33" fmla="*/ 18 h 165"/>
                          <a:gd name="T34" fmla="*/ 42 w 250"/>
                          <a:gd name="T35" fmla="*/ 18 h 165"/>
                          <a:gd name="T36" fmla="*/ 44 w 250"/>
                          <a:gd name="T37" fmla="*/ 19 h 165"/>
                          <a:gd name="T38" fmla="*/ 44 w 250"/>
                          <a:gd name="T39" fmla="*/ 20 h 165"/>
                          <a:gd name="T40" fmla="*/ 42 w 250"/>
                          <a:gd name="T41" fmla="*/ 20 h 165"/>
                          <a:gd name="T42" fmla="*/ 40 w 250"/>
                          <a:gd name="T43" fmla="*/ 20 h 165"/>
                          <a:gd name="T44" fmla="*/ 40 w 250"/>
                          <a:gd name="T45" fmla="*/ 22 h 165"/>
                          <a:gd name="T46" fmla="*/ 40 w 250"/>
                          <a:gd name="T47" fmla="*/ 21 h 165"/>
                          <a:gd name="T48" fmla="*/ 38 w 250"/>
                          <a:gd name="T49" fmla="*/ 21 h 165"/>
                          <a:gd name="T50" fmla="*/ 38 w 250"/>
                          <a:gd name="T51" fmla="*/ 19 h 165"/>
                          <a:gd name="T52" fmla="*/ 37 w 250"/>
                          <a:gd name="T53" fmla="*/ 18 h 165"/>
                          <a:gd name="T54" fmla="*/ 34 w 250"/>
                          <a:gd name="T55" fmla="*/ 19 h 165"/>
                          <a:gd name="T56" fmla="*/ 34 w 250"/>
                          <a:gd name="T57" fmla="*/ 21 h 165"/>
                          <a:gd name="T58" fmla="*/ 32 w 250"/>
                          <a:gd name="T59" fmla="*/ 22 h 165"/>
                          <a:gd name="T60" fmla="*/ 30 w 250"/>
                          <a:gd name="T61" fmla="*/ 24 h 165"/>
                          <a:gd name="T62" fmla="*/ 30 w 250"/>
                          <a:gd name="T63" fmla="*/ 24 h 165"/>
                          <a:gd name="T64" fmla="*/ 32 w 250"/>
                          <a:gd name="T65" fmla="*/ 25 h 165"/>
                          <a:gd name="T66" fmla="*/ 32 w 250"/>
                          <a:gd name="T67" fmla="*/ 27 h 165"/>
                          <a:gd name="T68" fmla="*/ 30 w 250"/>
                          <a:gd name="T69" fmla="*/ 31 h 165"/>
                          <a:gd name="T70" fmla="*/ 26 w 250"/>
                          <a:gd name="T71" fmla="*/ 30 h 165"/>
                          <a:gd name="T72" fmla="*/ 25 w 250"/>
                          <a:gd name="T73" fmla="*/ 27 h 165"/>
                          <a:gd name="T74" fmla="*/ 24 w 250"/>
                          <a:gd name="T75" fmla="*/ 26 h 165"/>
                          <a:gd name="T76" fmla="*/ 20 w 250"/>
                          <a:gd name="T77" fmla="*/ 23 h 165"/>
                          <a:gd name="T78" fmla="*/ 17 w 250"/>
                          <a:gd name="T79" fmla="*/ 20 h 165"/>
                          <a:gd name="T80" fmla="*/ 16 w 250"/>
                          <a:gd name="T81" fmla="*/ 17 h 165"/>
                          <a:gd name="T82" fmla="*/ 11 w 250"/>
                          <a:gd name="T83" fmla="*/ 18 h 165"/>
                          <a:gd name="T84" fmla="*/ 11 w 250"/>
                          <a:gd name="T85" fmla="*/ 14 h 165"/>
                          <a:gd name="T86" fmla="*/ 8 w 250"/>
                          <a:gd name="T87" fmla="*/ 12 h 165"/>
                          <a:gd name="T88" fmla="*/ 8 w 250"/>
                          <a:gd name="T89" fmla="*/ 12 h 165"/>
                          <a:gd name="T90" fmla="*/ 8 w 250"/>
                          <a:gd name="T91" fmla="*/ 14 h 165"/>
                          <a:gd name="T92" fmla="*/ 8 w 250"/>
                          <a:gd name="T93" fmla="*/ 13 h 165"/>
                          <a:gd name="T94" fmla="*/ 8 w 250"/>
                          <a:gd name="T95" fmla="*/ 14 h 165"/>
                          <a:gd name="T96" fmla="*/ 8 w 250"/>
                          <a:gd name="T97" fmla="*/ 16 h 165"/>
                          <a:gd name="T98" fmla="*/ 8 w 250"/>
                          <a:gd name="T99" fmla="*/ 17 h 165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60000 65536"/>
                          <a:gd name="T142" fmla="*/ 0 60000 65536"/>
                          <a:gd name="T143" fmla="*/ 0 60000 65536"/>
                          <a:gd name="T144" fmla="*/ 0 60000 65536"/>
                          <a:gd name="T145" fmla="*/ 0 60000 65536"/>
                          <a:gd name="T146" fmla="*/ 0 60000 65536"/>
                          <a:gd name="T147" fmla="*/ 0 60000 65536"/>
                          <a:gd name="T148" fmla="*/ 0 60000 65536"/>
                          <a:gd name="T149" fmla="*/ 0 60000 65536"/>
                          <a:gd name="T150" fmla="*/ 0 w 250"/>
                          <a:gd name="T151" fmla="*/ 0 h 165"/>
                          <a:gd name="T152" fmla="*/ 250 w 250"/>
                          <a:gd name="T153" fmla="*/ 165 h 165"/>
                        </a:gdLst>
                        <a:ahLst/>
                        <a:cxnLst>
                          <a:cxn ang="T100">
                            <a:pos x="T0" y="T1"/>
                          </a:cxn>
                          <a:cxn ang="T101">
                            <a:pos x="T2" y="T3"/>
                          </a:cxn>
                          <a:cxn ang="T102">
                            <a:pos x="T4" y="T5"/>
                          </a:cxn>
                          <a:cxn ang="T103">
                            <a:pos x="T6" y="T7"/>
                          </a:cxn>
                          <a:cxn ang="T104">
                            <a:pos x="T8" y="T9"/>
                          </a:cxn>
                          <a:cxn ang="T105">
                            <a:pos x="T10" y="T11"/>
                          </a:cxn>
                          <a:cxn ang="T106">
                            <a:pos x="T12" y="T13"/>
                          </a:cxn>
                          <a:cxn ang="T107">
                            <a:pos x="T14" y="T15"/>
                          </a:cxn>
                          <a:cxn ang="T108">
                            <a:pos x="T16" y="T17"/>
                          </a:cxn>
                          <a:cxn ang="T109">
                            <a:pos x="T18" y="T19"/>
                          </a:cxn>
                          <a:cxn ang="T110">
                            <a:pos x="T20" y="T21"/>
                          </a:cxn>
                          <a:cxn ang="T111">
                            <a:pos x="T22" y="T23"/>
                          </a:cxn>
                          <a:cxn ang="T112">
                            <a:pos x="T24" y="T25"/>
                          </a:cxn>
                          <a:cxn ang="T113">
                            <a:pos x="T26" y="T27"/>
                          </a:cxn>
                          <a:cxn ang="T114">
                            <a:pos x="T28" y="T29"/>
                          </a:cxn>
                          <a:cxn ang="T115">
                            <a:pos x="T30" y="T31"/>
                          </a:cxn>
                          <a:cxn ang="T116">
                            <a:pos x="T32" y="T33"/>
                          </a:cxn>
                          <a:cxn ang="T117">
                            <a:pos x="T34" y="T35"/>
                          </a:cxn>
                          <a:cxn ang="T118">
                            <a:pos x="T36" y="T37"/>
                          </a:cxn>
                          <a:cxn ang="T119">
                            <a:pos x="T38" y="T39"/>
                          </a:cxn>
                          <a:cxn ang="T120">
                            <a:pos x="T40" y="T41"/>
                          </a:cxn>
                          <a:cxn ang="T121">
                            <a:pos x="T42" y="T43"/>
                          </a:cxn>
                          <a:cxn ang="T122">
                            <a:pos x="T44" y="T45"/>
                          </a:cxn>
                          <a:cxn ang="T123">
                            <a:pos x="T46" y="T47"/>
                          </a:cxn>
                          <a:cxn ang="T124">
                            <a:pos x="T48" y="T49"/>
                          </a:cxn>
                          <a:cxn ang="T125">
                            <a:pos x="T50" y="T51"/>
                          </a:cxn>
                          <a:cxn ang="T126">
                            <a:pos x="T52" y="T53"/>
                          </a:cxn>
                          <a:cxn ang="T127">
                            <a:pos x="T54" y="T55"/>
                          </a:cxn>
                          <a:cxn ang="T128">
                            <a:pos x="T56" y="T57"/>
                          </a:cxn>
                          <a:cxn ang="T129">
                            <a:pos x="T58" y="T59"/>
                          </a:cxn>
                          <a:cxn ang="T130">
                            <a:pos x="T60" y="T61"/>
                          </a:cxn>
                          <a:cxn ang="T131">
                            <a:pos x="T62" y="T63"/>
                          </a:cxn>
                          <a:cxn ang="T132">
                            <a:pos x="T64" y="T65"/>
                          </a:cxn>
                          <a:cxn ang="T133">
                            <a:pos x="T66" y="T67"/>
                          </a:cxn>
                          <a:cxn ang="T134">
                            <a:pos x="T68" y="T69"/>
                          </a:cxn>
                          <a:cxn ang="T135">
                            <a:pos x="T70" y="T71"/>
                          </a:cxn>
                          <a:cxn ang="T136">
                            <a:pos x="T72" y="T73"/>
                          </a:cxn>
                          <a:cxn ang="T137">
                            <a:pos x="T74" y="T75"/>
                          </a:cxn>
                          <a:cxn ang="T138">
                            <a:pos x="T76" y="T77"/>
                          </a:cxn>
                          <a:cxn ang="T139">
                            <a:pos x="T78" y="T79"/>
                          </a:cxn>
                          <a:cxn ang="T140">
                            <a:pos x="T80" y="T81"/>
                          </a:cxn>
                          <a:cxn ang="T141">
                            <a:pos x="T82" y="T83"/>
                          </a:cxn>
                          <a:cxn ang="T142">
                            <a:pos x="T84" y="T85"/>
                          </a:cxn>
                          <a:cxn ang="T143">
                            <a:pos x="T86" y="T87"/>
                          </a:cxn>
                          <a:cxn ang="T144">
                            <a:pos x="T88" y="T89"/>
                          </a:cxn>
                          <a:cxn ang="T145">
                            <a:pos x="T90" y="T91"/>
                          </a:cxn>
                          <a:cxn ang="T146">
                            <a:pos x="T92" y="T93"/>
                          </a:cxn>
                          <a:cxn ang="T147">
                            <a:pos x="T94" y="T95"/>
                          </a:cxn>
                          <a:cxn ang="T148">
                            <a:pos x="T96" y="T97"/>
                          </a:cxn>
                          <a:cxn ang="T149">
                            <a:pos x="T98" y="T99"/>
                          </a:cxn>
                        </a:cxnLst>
                        <a:rect l="T150" t="T151" r="T152" b="T153"/>
                        <a:pathLst>
                          <a:path w="250" h="165">
                            <a:moveTo>
                              <a:pt x="0" y="85"/>
                            </a:moveTo>
                            <a:lnTo>
                              <a:pt x="0" y="13"/>
                            </a:lnTo>
                            <a:lnTo>
                              <a:pt x="40" y="0"/>
                            </a:lnTo>
                            <a:lnTo>
                              <a:pt x="36" y="9"/>
                            </a:lnTo>
                            <a:lnTo>
                              <a:pt x="36" y="40"/>
                            </a:lnTo>
                            <a:lnTo>
                              <a:pt x="45" y="40"/>
                            </a:lnTo>
                            <a:lnTo>
                              <a:pt x="45" y="49"/>
                            </a:lnTo>
                            <a:lnTo>
                              <a:pt x="49" y="40"/>
                            </a:lnTo>
                            <a:lnTo>
                              <a:pt x="58" y="40"/>
                            </a:lnTo>
                            <a:lnTo>
                              <a:pt x="63" y="45"/>
                            </a:lnTo>
                            <a:lnTo>
                              <a:pt x="72" y="31"/>
                            </a:lnTo>
                            <a:lnTo>
                              <a:pt x="76" y="31"/>
                            </a:lnTo>
                            <a:lnTo>
                              <a:pt x="81" y="27"/>
                            </a:lnTo>
                            <a:lnTo>
                              <a:pt x="89" y="40"/>
                            </a:lnTo>
                            <a:lnTo>
                              <a:pt x="121" y="40"/>
                            </a:lnTo>
                            <a:lnTo>
                              <a:pt x="125" y="36"/>
                            </a:lnTo>
                            <a:lnTo>
                              <a:pt x="134" y="45"/>
                            </a:lnTo>
                            <a:lnTo>
                              <a:pt x="139" y="54"/>
                            </a:lnTo>
                            <a:lnTo>
                              <a:pt x="143" y="54"/>
                            </a:lnTo>
                            <a:lnTo>
                              <a:pt x="143" y="67"/>
                            </a:lnTo>
                            <a:lnTo>
                              <a:pt x="139" y="67"/>
                            </a:lnTo>
                            <a:lnTo>
                              <a:pt x="139" y="76"/>
                            </a:lnTo>
                            <a:lnTo>
                              <a:pt x="152" y="76"/>
                            </a:lnTo>
                            <a:lnTo>
                              <a:pt x="152" y="85"/>
                            </a:lnTo>
                            <a:lnTo>
                              <a:pt x="183" y="89"/>
                            </a:lnTo>
                            <a:lnTo>
                              <a:pt x="188" y="85"/>
                            </a:lnTo>
                            <a:lnTo>
                              <a:pt x="206" y="67"/>
                            </a:lnTo>
                            <a:lnTo>
                              <a:pt x="219" y="63"/>
                            </a:lnTo>
                            <a:lnTo>
                              <a:pt x="223" y="67"/>
                            </a:lnTo>
                            <a:lnTo>
                              <a:pt x="223" y="71"/>
                            </a:lnTo>
                            <a:lnTo>
                              <a:pt x="210" y="80"/>
                            </a:lnTo>
                            <a:lnTo>
                              <a:pt x="210" y="85"/>
                            </a:lnTo>
                            <a:lnTo>
                              <a:pt x="215" y="85"/>
                            </a:lnTo>
                            <a:lnTo>
                              <a:pt x="215" y="89"/>
                            </a:lnTo>
                            <a:lnTo>
                              <a:pt x="228" y="85"/>
                            </a:lnTo>
                            <a:lnTo>
                              <a:pt x="232" y="89"/>
                            </a:lnTo>
                            <a:lnTo>
                              <a:pt x="241" y="94"/>
                            </a:lnTo>
                            <a:lnTo>
                              <a:pt x="250" y="94"/>
                            </a:lnTo>
                            <a:lnTo>
                              <a:pt x="250" y="98"/>
                            </a:lnTo>
                            <a:lnTo>
                              <a:pt x="246" y="103"/>
                            </a:lnTo>
                            <a:lnTo>
                              <a:pt x="241" y="98"/>
                            </a:lnTo>
                            <a:lnTo>
                              <a:pt x="237" y="103"/>
                            </a:lnTo>
                            <a:lnTo>
                              <a:pt x="232" y="107"/>
                            </a:lnTo>
                            <a:lnTo>
                              <a:pt x="223" y="103"/>
                            </a:lnTo>
                            <a:lnTo>
                              <a:pt x="223" y="107"/>
                            </a:lnTo>
                            <a:lnTo>
                              <a:pt x="223" y="116"/>
                            </a:lnTo>
                            <a:lnTo>
                              <a:pt x="219" y="116"/>
                            </a:lnTo>
                            <a:lnTo>
                              <a:pt x="219" y="107"/>
                            </a:lnTo>
                            <a:lnTo>
                              <a:pt x="215" y="107"/>
                            </a:lnTo>
                            <a:lnTo>
                              <a:pt x="210" y="107"/>
                            </a:lnTo>
                            <a:lnTo>
                              <a:pt x="210" y="98"/>
                            </a:lnTo>
                            <a:lnTo>
                              <a:pt x="210" y="89"/>
                            </a:lnTo>
                            <a:lnTo>
                              <a:pt x="206" y="89"/>
                            </a:lnTo>
                            <a:lnTo>
                              <a:pt x="206" y="94"/>
                            </a:lnTo>
                            <a:lnTo>
                              <a:pt x="192" y="94"/>
                            </a:lnTo>
                            <a:lnTo>
                              <a:pt x="197" y="98"/>
                            </a:lnTo>
                            <a:lnTo>
                              <a:pt x="188" y="107"/>
                            </a:lnTo>
                            <a:lnTo>
                              <a:pt x="174" y="116"/>
                            </a:lnTo>
                            <a:lnTo>
                              <a:pt x="170" y="121"/>
                            </a:lnTo>
                            <a:lnTo>
                              <a:pt x="165" y="125"/>
                            </a:lnTo>
                            <a:lnTo>
                              <a:pt x="170" y="130"/>
                            </a:lnTo>
                            <a:lnTo>
                              <a:pt x="174" y="134"/>
                            </a:lnTo>
                            <a:lnTo>
                              <a:pt x="179" y="134"/>
                            </a:lnTo>
                            <a:lnTo>
                              <a:pt x="174" y="143"/>
                            </a:lnTo>
                            <a:lnTo>
                              <a:pt x="179" y="147"/>
                            </a:lnTo>
                            <a:lnTo>
                              <a:pt x="174" y="156"/>
                            </a:lnTo>
                            <a:lnTo>
                              <a:pt x="170" y="165"/>
                            </a:lnTo>
                            <a:lnTo>
                              <a:pt x="152" y="165"/>
                            </a:lnTo>
                            <a:lnTo>
                              <a:pt x="152" y="161"/>
                            </a:lnTo>
                            <a:lnTo>
                              <a:pt x="152" y="152"/>
                            </a:lnTo>
                            <a:lnTo>
                              <a:pt x="143" y="147"/>
                            </a:lnTo>
                            <a:lnTo>
                              <a:pt x="139" y="147"/>
                            </a:lnTo>
                            <a:lnTo>
                              <a:pt x="130" y="139"/>
                            </a:lnTo>
                            <a:lnTo>
                              <a:pt x="121" y="134"/>
                            </a:lnTo>
                            <a:lnTo>
                              <a:pt x="107" y="121"/>
                            </a:lnTo>
                            <a:lnTo>
                              <a:pt x="98" y="112"/>
                            </a:lnTo>
                            <a:lnTo>
                              <a:pt x="89" y="103"/>
                            </a:lnTo>
                            <a:lnTo>
                              <a:pt x="89" y="94"/>
                            </a:lnTo>
                            <a:lnTo>
                              <a:pt x="85" y="85"/>
                            </a:lnTo>
                            <a:lnTo>
                              <a:pt x="81" y="89"/>
                            </a:lnTo>
                            <a:lnTo>
                              <a:pt x="63" y="89"/>
                            </a:lnTo>
                            <a:lnTo>
                              <a:pt x="58" y="76"/>
                            </a:lnTo>
                            <a:lnTo>
                              <a:pt x="63" y="71"/>
                            </a:lnTo>
                            <a:lnTo>
                              <a:pt x="63" y="67"/>
                            </a:lnTo>
                            <a:lnTo>
                              <a:pt x="54" y="63"/>
                            </a:lnTo>
                            <a:lnTo>
                              <a:pt x="36" y="58"/>
                            </a:lnTo>
                            <a:lnTo>
                              <a:pt x="36" y="63"/>
                            </a:lnTo>
                            <a:lnTo>
                              <a:pt x="40" y="67"/>
                            </a:lnTo>
                            <a:lnTo>
                              <a:pt x="36" y="71"/>
                            </a:lnTo>
                            <a:lnTo>
                              <a:pt x="31" y="63"/>
                            </a:lnTo>
                            <a:lnTo>
                              <a:pt x="27" y="67"/>
                            </a:lnTo>
                            <a:lnTo>
                              <a:pt x="27" y="71"/>
                            </a:lnTo>
                            <a:lnTo>
                              <a:pt x="22" y="71"/>
                            </a:lnTo>
                            <a:lnTo>
                              <a:pt x="18" y="76"/>
                            </a:lnTo>
                            <a:lnTo>
                              <a:pt x="18" y="80"/>
                            </a:lnTo>
                            <a:lnTo>
                              <a:pt x="18" y="85"/>
                            </a:lnTo>
                            <a:lnTo>
                              <a:pt x="14" y="85"/>
                            </a:lnTo>
                            <a:lnTo>
                              <a:pt x="0" y="85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59" name="Freeform 169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5314" y="2816"/>
                        <a:ext cx="21" cy="8"/>
                      </a:xfrm>
                      <a:custGeom>
                        <a:avLst/>
                        <a:gdLst>
                          <a:gd name="T0" fmla="*/ 0 w 22"/>
                          <a:gd name="T1" fmla="*/ 0 h 9"/>
                          <a:gd name="T2" fmla="*/ 5 w 22"/>
                          <a:gd name="T3" fmla="*/ 4 h 9"/>
                          <a:gd name="T4" fmla="*/ 9 w 22"/>
                          <a:gd name="T5" fmla="*/ 0 h 9"/>
                          <a:gd name="T6" fmla="*/ 5 w 22"/>
                          <a:gd name="T7" fmla="*/ 0 h 9"/>
                          <a:gd name="T8" fmla="*/ 0 w 22"/>
                          <a:gd name="T9" fmla="*/ 0 h 9"/>
                          <a:gd name="T10" fmla="*/ 11 w 22"/>
                          <a:gd name="T11" fmla="*/ 4 h 9"/>
                          <a:gd name="T12" fmla="*/ 11 w 22"/>
                          <a:gd name="T13" fmla="*/ 4 h 9"/>
                          <a:gd name="T14" fmla="*/ 11 w 22"/>
                          <a:gd name="T15" fmla="*/ 4 h 9"/>
                          <a:gd name="T16" fmla="*/ 11 w 22"/>
                          <a:gd name="T17" fmla="*/ 4 h 9"/>
                          <a:gd name="T18" fmla="*/ 11 w 22"/>
                          <a:gd name="T19" fmla="*/ 4 h 9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w 22"/>
                          <a:gd name="T31" fmla="*/ 0 h 9"/>
                          <a:gd name="T32" fmla="*/ 22 w 22"/>
                          <a:gd name="T33" fmla="*/ 9 h 9"/>
                        </a:gdLst>
                        <a:ahLst/>
                        <a:cxnLst>
                          <a:cxn ang="T20">
                            <a:pos x="T0" y="T1"/>
                          </a:cxn>
                          <a:cxn ang="T21">
                            <a:pos x="T2" y="T3"/>
                          </a:cxn>
                          <a:cxn ang="T22">
                            <a:pos x="T4" y="T5"/>
                          </a:cxn>
                          <a:cxn ang="T23">
                            <a:pos x="T6" y="T7"/>
                          </a:cxn>
                          <a:cxn ang="T24">
                            <a:pos x="T8" y="T9"/>
                          </a:cxn>
                          <a:cxn ang="T25">
                            <a:pos x="T10" y="T11"/>
                          </a:cxn>
                          <a:cxn ang="T26">
                            <a:pos x="T12" y="T13"/>
                          </a:cxn>
                          <a:cxn ang="T27">
                            <a:pos x="T14" y="T15"/>
                          </a:cxn>
                          <a:cxn ang="T28">
                            <a:pos x="T16" y="T17"/>
                          </a:cxn>
                          <a:cxn ang="T29">
                            <a:pos x="T18" y="T19"/>
                          </a:cxn>
                        </a:cxnLst>
                        <a:rect l="T30" t="T31" r="T32" b="T33"/>
                        <a:pathLst>
                          <a:path w="22" h="9">
                            <a:moveTo>
                              <a:pt x="0" y="0"/>
                            </a:moveTo>
                            <a:lnTo>
                              <a:pt x="5" y="4"/>
                            </a:lnTo>
                            <a:lnTo>
                              <a:pt x="9" y="0"/>
                            </a:lnTo>
                            <a:lnTo>
                              <a:pt x="5" y="0"/>
                            </a:lnTo>
                            <a:lnTo>
                              <a:pt x="0" y="0"/>
                            </a:lnTo>
                            <a:close/>
                            <a:moveTo>
                              <a:pt x="14" y="4"/>
                            </a:moveTo>
                            <a:lnTo>
                              <a:pt x="18" y="9"/>
                            </a:lnTo>
                            <a:lnTo>
                              <a:pt x="22" y="9"/>
                            </a:lnTo>
                            <a:lnTo>
                              <a:pt x="18" y="4"/>
                            </a:lnTo>
                            <a:lnTo>
                              <a:pt x="14" y="4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60" name="Freeform 170"/>
                      <p:cNvSpPr>
                        <a:spLocks noChangeAspect="1" noEditPoints="1"/>
                      </p:cNvSpPr>
                      <p:nvPr/>
                    </p:nvSpPr>
                    <p:spPr bwMode="gray">
                      <a:xfrm>
                        <a:off x="3356" y="2377"/>
                        <a:ext cx="165" cy="85"/>
                      </a:xfrm>
                      <a:custGeom>
                        <a:avLst/>
                        <a:gdLst>
                          <a:gd name="T0" fmla="*/ 5 w 175"/>
                          <a:gd name="T1" fmla="*/ 9 h 90"/>
                          <a:gd name="T2" fmla="*/ 5 w 175"/>
                          <a:gd name="T3" fmla="*/ 9 h 90"/>
                          <a:gd name="T4" fmla="*/ 0 w 175"/>
                          <a:gd name="T5" fmla="*/ 9 h 90"/>
                          <a:gd name="T6" fmla="*/ 0 w 175"/>
                          <a:gd name="T7" fmla="*/ 9 h 90"/>
                          <a:gd name="T8" fmla="*/ 5 w 175"/>
                          <a:gd name="T9" fmla="*/ 9 h 90"/>
                          <a:gd name="T10" fmla="*/ 5 w 175"/>
                          <a:gd name="T11" fmla="*/ 9 h 90"/>
                          <a:gd name="T12" fmla="*/ 8 w 175"/>
                          <a:gd name="T13" fmla="*/ 12 h 90"/>
                          <a:gd name="T14" fmla="*/ 8 w 175"/>
                          <a:gd name="T15" fmla="*/ 13 h 90"/>
                          <a:gd name="T16" fmla="*/ 8 w 175"/>
                          <a:gd name="T17" fmla="*/ 16 h 90"/>
                          <a:gd name="T18" fmla="*/ 8 w 175"/>
                          <a:gd name="T19" fmla="*/ 17 h 90"/>
                          <a:gd name="T20" fmla="*/ 8 w 175"/>
                          <a:gd name="T21" fmla="*/ 16 h 90"/>
                          <a:gd name="T22" fmla="*/ 8 w 175"/>
                          <a:gd name="T23" fmla="*/ 13 h 90"/>
                          <a:gd name="T24" fmla="*/ 11 w 175"/>
                          <a:gd name="T25" fmla="*/ 13 h 90"/>
                          <a:gd name="T26" fmla="*/ 15 w 175"/>
                          <a:gd name="T27" fmla="*/ 11 h 90"/>
                          <a:gd name="T28" fmla="*/ 17 w 175"/>
                          <a:gd name="T29" fmla="*/ 11 h 90"/>
                          <a:gd name="T30" fmla="*/ 19 w 175"/>
                          <a:gd name="T31" fmla="*/ 9 h 90"/>
                          <a:gd name="T32" fmla="*/ 24 w 175"/>
                          <a:gd name="T33" fmla="*/ 9 h 90"/>
                          <a:gd name="T34" fmla="*/ 24 w 175"/>
                          <a:gd name="T35" fmla="*/ 9 h 90"/>
                          <a:gd name="T36" fmla="*/ 25 w 175"/>
                          <a:gd name="T37" fmla="*/ 9 h 90"/>
                          <a:gd name="T38" fmla="*/ 25 w 175"/>
                          <a:gd name="T39" fmla="*/ 0 h 90"/>
                          <a:gd name="T40" fmla="*/ 23 w 175"/>
                          <a:gd name="T41" fmla="*/ 9 h 90"/>
                          <a:gd name="T42" fmla="*/ 20 w 175"/>
                          <a:gd name="T43" fmla="*/ 9 h 90"/>
                          <a:gd name="T44" fmla="*/ 8 w 175"/>
                          <a:gd name="T45" fmla="*/ 9 h 90"/>
                          <a:gd name="T46" fmla="*/ 8 w 175"/>
                          <a:gd name="T47" fmla="*/ 9 h 90"/>
                          <a:gd name="T48" fmla="*/ 8 w 175"/>
                          <a:gd name="T49" fmla="*/ 9 h 90"/>
                          <a:gd name="T50" fmla="*/ 8 w 175"/>
                          <a:gd name="T51" fmla="*/ 9 h 90"/>
                          <a:gd name="T52" fmla="*/ 5 w 175"/>
                          <a:gd name="T53" fmla="*/ 9 h 90"/>
                          <a:gd name="T54" fmla="*/ 27 w 175"/>
                          <a:gd name="T55" fmla="*/ 16 h 90"/>
                          <a:gd name="T56" fmla="*/ 29 w 175"/>
                          <a:gd name="T57" fmla="*/ 17 h 90"/>
                          <a:gd name="T58" fmla="*/ 31 w 175"/>
                          <a:gd name="T59" fmla="*/ 16 h 90"/>
                          <a:gd name="T60" fmla="*/ 27 w 175"/>
                          <a:gd name="T61" fmla="*/ 15 h 90"/>
                          <a:gd name="T62" fmla="*/ 27 w 175"/>
                          <a:gd name="T63" fmla="*/ 16 h 90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w 175"/>
                          <a:gd name="T97" fmla="*/ 0 h 90"/>
                          <a:gd name="T98" fmla="*/ 175 w 175"/>
                          <a:gd name="T99" fmla="*/ 90 h 90"/>
                        </a:gdLst>
                        <a:ahLst/>
                        <a:cxnLst>
                          <a:cxn ang="T64">
                            <a:pos x="T0" y="T1"/>
                          </a:cxn>
                          <a:cxn ang="T65">
                            <a:pos x="T2" y="T3"/>
                          </a:cxn>
                          <a:cxn ang="T66">
                            <a:pos x="T4" y="T5"/>
                          </a:cxn>
                          <a:cxn ang="T67">
                            <a:pos x="T6" y="T7"/>
                          </a:cxn>
                          <a:cxn ang="T68">
                            <a:pos x="T8" y="T9"/>
                          </a:cxn>
                          <a:cxn ang="T69">
                            <a:pos x="T10" y="T11"/>
                          </a:cxn>
                          <a:cxn ang="T70">
                            <a:pos x="T12" y="T13"/>
                          </a:cxn>
                          <a:cxn ang="T71">
                            <a:pos x="T14" y="T15"/>
                          </a:cxn>
                          <a:cxn ang="T72">
                            <a:pos x="T16" y="T17"/>
                          </a:cxn>
                          <a:cxn ang="T73">
                            <a:pos x="T18" y="T19"/>
                          </a:cxn>
                          <a:cxn ang="T74">
                            <a:pos x="T20" y="T21"/>
                          </a:cxn>
                          <a:cxn ang="T75">
                            <a:pos x="T22" y="T23"/>
                          </a:cxn>
                          <a:cxn ang="T76">
                            <a:pos x="T24" y="T25"/>
                          </a:cxn>
                          <a:cxn ang="T77">
                            <a:pos x="T26" y="T27"/>
                          </a:cxn>
                          <a:cxn ang="T78">
                            <a:pos x="T28" y="T29"/>
                          </a:cxn>
                          <a:cxn ang="T79">
                            <a:pos x="T30" y="T31"/>
                          </a:cxn>
                          <a:cxn ang="T80">
                            <a:pos x="T32" y="T33"/>
                          </a:cxn>
                          <a:cxn ang="T81">
                            <a:pos x="T34" y="T35"/>
                          </a:cxn>
                          <a:cxn ang="T82">
                            <a:pos x="T36" y="T37"/>
                          </a:cxn>
                          <a:cxn ang="T83">
                            <a:pos x="T38" y="T39"/>
                          </a:cxn>
                          <a:cxn ang="T84">
                            <a:pos x="T40" y="T41"/>
                          </a:cxn>
                          <a:cxn ang="T85">
                            <a:pos x="T42" y="T43"/>
                          </a:cxn>
                          <a:cxn ang="T86">
                            <a:pos x="T44" y="T45"/>
                          </a:cxn>
                          <a:cxn ang="T87">
                            <a:pos x="T46" y="T47"/>
                          </a:cxn>
                          <a:cxn ang="T88">
                            <a:pos x="T48" y="T49"/>
                          </a:cxn>
                          <a:cxn ang="T89">
                            <a:pos x="T50" y="T51"/>
                          </a:cxn>
                          <a:cxn ang="T90">
                            <a:pos x="T52" y="T53"/>
                          </a:cxn>
                          <a:cxn ang="T91">
                            <a:pos x="T54" y="T55"/>
                          </a:cxn>
                          <a:cxn ang="T92">
                            <a:pos x="T56" y="T57"/>
                          </a:cxn>
                          <a:cxn ang="T93">
                            <a:pos x="T58" y="T59"/>
                          </a:cxn>
                          <a:cxn ang="T94">
                            <a:pos x="T60" y="T61"/>
                          </a:cxn>
                          <a:cxn ang="T95">
                            <a:pos x="T62" y="T63"/>
                          </a:cxn>
                        </a:cxnLst>
                        <a:rect l="T96" t="T97" r="T98" b="T99"/>
                        <a:pathLst>
                          <a:path w="175" h="90">
                            <a:moveTo>
                              <a:pt x="5" y="27"/>
                            </a:moveTo>
                            <a:lnTo>
                              <a:pt x="5" y="40"/>
                            </a:lnTo>
                            <a:lnTo>
                              <a:pt x="0" y="36"/>
                            </a:lnTo>
                            <a:lnTo>
                              <a:pt x="0" y="40"/>
                            </a:lnTo>
                            <a:lnTo>
                              <a:pt x="5" y="54"/>
                            </a:lnTo>
                            <a:lnTo>
                              <a:pt x="5" y="58"/>
                            </a:lnTo>
                            <a:lnTo>
                              <a:pt x="9" y="67"/>
                            </a:lnTo>
                            <a:lnTo>
                              <a:pt x="9" y="72"/>
                            </a:lnTo>
                            <a:lnTo>
                              <a:pt x="18" y="85"/>
                            </a:lnTo>
                            <a:lnTo>
                              <a:pt x="18" y="90"/>
                            </a:lnTo>
                            <a:lnTo>
                              <a:pt x="36" y="85"/>
                            </a:lnTo>
                            <a:lnTo>
                              <a:pt x="54" y="72"/>
                            </a:lnTo>
                            <a:lnTo>
                              <a:pt x="67" y="72"/>
                            </a:lnTo>
                            <a:lnTo>
                              <a:pt x="81" y="63"/>
                            </a:lnTo>
                            <a:lnTo>
                              <a:pt x="94" y="63"/>
                            </a:lnTo>
                            <a:lnTo>
                              <a:pt x="103" y="54"/>
                            </a:lnTo>
                            <a:lnTo>
                              <a:pt x="143" y="40"/>
                            </a:lnTo>
                            <a:lnTo>
                              <a:pt x="139" y="31"/>
                            </a:lnTo>
                            <a:lnTo>
                              <a:pt x="152" y="22"/>
                            </a:lnTo>
                            <a:lnTo>
                              <a:pt x="148" y="0"/>
                            </a:lnTo>
                            <a:lnTo>
                              <a:pt x="135" y="14"/>
                            </a:lnTo>
                            <a:lnTo>
                              <a:pt x="112" y="18"/>
                            </a:lnTo>
                            <a:lnTo>
                              <a:pt x="41" y="45"/>
                            </a:lnTo>
                            <a:lnTo>
                              <a:pt x="45" y="22"/>
                            </a:lnTo>
                            <a:lnTo>
                              <a:pt x="14" y="14"/>
                            </a:lnTo>
                            <a:lnTo>
                              <a:pt x="9" y="27"/>
                            </a:lnTo>
                            <a:lnTo>
                              <a:pt x="5" y="27"/>
                            </a:lnTo>
                            <a:close/>
                            <a:moveTo>
                              <a:pt x="157" y="85"/>
                            </a:moveTo>
                            <a:lnTo>
                              <a:pt x="166" y="90"/>
                            </a:lnTo>
                            <a:lnTo>
                              <a:pt x="175" y="85"/>
                            </a:lnTo>
                            <a:lnTo>
                              <a:pt x="161" y="81"/>
                            </a:lnTo>
                            <a:lnTo>
                              <a:pt x="157" y="85"/>
                            </a:lnTo>
                            <a:close/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61" name="Freeform 171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5314" y="2816"/>
                        <a:ext cx="9" cy="4"/>
                      </a:xfrm>
                      <a:custGeom>
                        <a:avLst/>
                        <a:gdLst>
                          <a:gd name="T0" fmla="*/ 0 w 9"/>
                          <a:gd name="T1" fmla="*/ 0 h 4"/>
                          <a:gd name="T2" fmla="*/ 5 w 9"/>
                          <a:gd name="T3" fmla="*/ 4 h 4"/>
                          <a:gd name="T4" fmla="*/ 9 w 9"/>
                          <a:gd name="T5" fmla="*/ 0 h 4"/>
                          <a:gd name="T6" fmla="*/ 5 w 9"/>
                          <a:gd name="T7" fmla="*/ 0 h 4"/>
                          <a:gd name="T8" fmla="*/ 0 w 9"/>
                          <a:gd name="T9" fmla="*/ 0 h 4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9"/>
                          <a:gd name="T16" fmla="*/ 0 h 4"/>
                          <a:gd name="T17" fmla="*/ 9 w 9"/>
                          <a:gd name="T18" fmla="*/ 4 h 4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9" h="4">
                            <a:moveTo>
                              <a:pt x="0" y="0"/>
                            </a:moveTo>
                            <a:lnTo>
                              <a:pt x="5" y="4"/>
                            </a:lnTo>
                            <a:lnTo>
                              <a:pt x="9" y="0"/>
                            </a:lnTo>
                            <a:lnTo>
                              <a:pt x="5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562" name="Freeform 172"/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5327" y="2820"/>
                        <a:ext cx="8" cy="5"/>
                      </a:xfrm>
                      <a:custGeom>
                        <a:avLst/>
                        <a:gdLst>
                          <a:gd name="T0" fmla="*/ 0 w 8"/>
                          <a:gd name="T1" fmla="*/ 0 h 5"/>
                          <a:gd name="T2" fmla="*/ 4 w 8"/>
                          <a:gd name="T3" fmla="*/ 5 h 5"/>
                          <a:gd name="T4" fmla="*/ 8 w 8"/>
                          <a:gd name="T5" fmla="*/ 5 h 5"/>
                          <a:gd name="T6" fmla="*/ 4 w 8"/>
                          <a:gd name="T7" fmla="*/ 0 h 5"/>
                          <a:gd name="T8" fmla="*/ 0 w 8"/>
                          <a:gd name="T9" fmla="*/ 0 h 5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"/>
                          <a:gd name="T16" fmla="*/ 0 h 5"/>
                          <a:gd name="T17" fmla="*/ 8 w 8"/>
                          <a:gd name="T18" fmla="*/ 5 h 5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" h="5">
                            <a:moveTo>
                              <a:pt x="0" y="0"/>
                            </a:moveTo>
                            <a:lnTo>
                              <a:pt x="4" y="5"/>
                            </a:lnTo>
                            <a:lnTo>
                              <a:pt x="8" y="5"/>
                            </a:lnTo>
                            <a:lnTo>
                              <a:pt x="4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solidFill>
                        <a:schemeClr val="accent3"/>
                      </a:solidFill>
                      <a:ln w="3175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</p:grpSp>
              <p:sp>
                <p:nvSpPr>
                  <p:cNvPr id="459" name="Freeform 173"/>
                  <p:cNvSpPr>
                    <a:spLocks noChangeAspect="1" noEditPoints="1"/>
                  </p:cNvSpPr>
                  <p:nvPr/>
                </p:nvSpPr>
                <p:spPr bwMode="gray">
                  <a:xfrm>
                    <a:off x="1800" y="854"/>
                    <a:ext cx="734" cy="747"/>
                  </a:xfrm>
                  <a:custGeom>
                    <a:avLst/>
                    <a:gdLst>
                      <a:gd name="T0" fmla="*/ 9 w 777"/>
                      <a:gd name="T1" fmla="*/ 8 h 791"/>
                      <a:gd name="T2" fmla="*/ 9 w 777"/>
                      <a:gd name="T3" fmla="*/ 8 h 791"/>
                      <a:gd name="T4" fmla="*/ 10 w 777"/>
                      <a:gd name="T5" fmla="*/ 8 h 791"/>
                      <a:gd name="T6" fmla="*/ 9 w 777"/>
                      <a:gd name="T7" fmla="*/ 11 h 791"/>
                      <a:gd name="T8" fmla="*/ 10 w 777"/>
                      <a:gd name="T9" fmla="*/ 21 h 791"/>
                      <a:gd name="T10" fmla="*/ 20 w 777"/>
                      <a:gd name="T11" fmla="*/ 21 h 791"/>
                      <a:gd name="T12" fmla="*/ 24 w 777"/>
                      <a:gd name="T13" fmla="*/ 24 h 791"/>
                      <a:gd name="T14" fmla="*/ 38 w 777"/>
                      <a:gd name="T15" fmla="*/ 25 h 791"/>
                      <a:gd name="T16" fmla="*/ 43 w 777"/>
                      <a:gd name="T17" fmla="*/ 56 h 791"/>
                      <a:gd name="T18" fmla="*/ 46 w 777"/>
                      <a:gd name="T19" fmla="*/ 66 h 791"/>
                      <a:gd name="T20" fmla="*/ 57 w 777"/>
                      <a:gd name="T21" fmla="*/ 71 h 791"/>
                      <a:gd name="T22" fmla="*/ 46 w 777"/>
                      <a:gd name="T23" fmla="*/ 72 h 791"/>
                      <a:gd name="T24" fmla="*/ 57 w 777"/>
                      <a:gd name="T25" fmla="*/ 88 h 791"/>
                      <a:gd name="T26" fmla="*/ 51 w 777"/>
                      <a:gd name="T27" fmla="*/ 91 h 791"/>
                      <a:gd name="T28" fmla="*/ 49 w 777"/>
                      <a:gd name="T29" fmla="*/ 106 h 791"/>
                      <a:gd name="T30" fmla="*/ 55 w 777"/>
                      <a:gd name="T31" fmla="*/ 115 h 791"/>
                      <a:gd name="T32" fmla="*/ 57 w 777"/>
                      <a:gd name="T33" fmla="*/ 123 h 791"/>
                      <a:gd name="T34" fmla="*/ 60 w 777"/>
                      <a:gd name="T35" fmla="*/ 132 h 791"/>
                      <a:gd name="T36" fmla="*/ 65 w 777"/>
                      <a:gd name="T37" fmla="*/ 135 h 791"/>
                      <a:gd name="T38" fmla="*/ 72 w 777"/>
                      <a:gd name="T39" fmla="*/ 138 h 791"/>
                      <a:gd name="T40" fmla="*/ 77 w 777"/>
                      <a:gd name="T41" fmla="*/ 140 h 791"/>
                      <a:gd name="T42" fmla="*/ 77 w 777"/>
                      <a:gd name="T43" fmla="*/ 136 h 791"/>
                      <a:gd name="T44" fmla="*/ 79 w 777"/>
                      <a:gd name="T45" fmla="*/ 128 h 791"/>
                      <a:gd name="T46" fmla="*/ 81 w 777"/>
                      <a:gd name="T47" fmla="*/ 121 h 791"/>
                      <a:gd name="T48" fmla="*/ 81 w 777"/>
                      <a:gd name="T49" fmla="*/ 112 h 791"/>
                      <a:gd name="T50" fmla="*/ 91 w 777"/>
                      <a:gd name="T51" fmla="*/ 110 h 791"/>
                      <a:gd name="T52" fmla="*/ 99 w 777"/>
                      <a:gd name="T53" fmla="*/ 104 h 791"/>
                      <a:gd name="T54" fmla="*/ 103 w 777"/>
                      <a:gd name="T55" fmla="*/ 93 h 791"/>
                      <a:gd name="T56" fmla="*/ 107 w 777"/>
                      <a:gd name="T57" fmla="*/ 90 h 791"/>
                      <a:gd name="T58" fmla="*/ 121 w 777"/>
                      <a:gd name="T59" fmla="*/ 87 h 791"/>
                      <a:gd name="T60" fmla="*/ 129 w 777"/>
                      <a:gd name="T61" fmla="*/ 76 h 791"/>
                      <a:gd name="T62" fmla="*/ 121 w 777"/>
                      <a:gd name="T63" fmla="*/ 76 h 791"/>
                      <a:gd name="T64" fmla="*/ 121 w 777"/>
                      <a:gd name="T65" fmla="*/ 69 h 791"/>
                      <a:gd name="T66" fmla="*/ 122 w 777"/>
                      <a:gd name="T67" fmla="*/ 64 h 791"/>
                      <a:gd name="T68" fmla="*/ 134 w 777"/>
                      <a:gd name="T69" fmla="*/ 75 h 791"/>
                      <a:gd name="T70" fmla="*/ 132 w 777"/>
                      <a:gd name="T71" fmla="*/ 63 h 791"/>
                      <a:gd name="T72" fmla="*/ 124 w 777"/>
                      <a:gd name="T73" fmla="*/ 59 h 791"/>
                      <a:gd name="T74" fmla="*/ 131 w 777"/>
                      <a:gd name="T75" fmla="*/ 57 h 791"/>
                      <a:gd name="T76" fmla="*/ 131 w 777"/>
                      <a:gd name="T77" fmla="*/ 53 h 791"/>
                      <a:gd name="T78" fmla="*/ 127 w 777"/>
                      <a:gd name="T79" fmla="*/ 47 h 791"/>
                      <a:gd name="T80" fmla="*/ 135 w 777"/>
                      <a:gd name="T81" fmla="*/ 47 h 791"/>
                      <a:gd name="T82" fmla="*/ 129 w 777"/>
                      <a:gd name="T83" fmla="*/ 42 h 791"/>
                      <a:gd name="T84" fmla="*/ 137 w 777"/>
                      <a:gd name="T85" fmla="*/ 40 h 791"/>
                      <a:gd name="T86" fmla="*/ 135 w 777"/>
                      <a:gd name="T87" fmla="*/ 30 h 791"/>
                      <a:gd name="T88" fmla="*/ 137 w 777"/>
                      <a:gd name="T89" fmla="*/ 32 h 791"/>
                      <a:gd name="T90" fmla="*/ 135 w 777"/>
                      <a:gd name="T91" fmla="*/ 24 h 791"/>
                      <a:gd name="T92" fmla="*/ 134 w 777"/>
                      <a:gd name="T93" fmla="*/ 20 h 791"/>
                      <a:gd name="T94" fmla="*/ 142 w 777"/>
                      <a:gd name="T95" fmla="*/ 9 h 791"/>
                      <a:gd name="T96" fmla="*/ 135 w 777"/>
                      <a:gd name="T97" fmla="*/ 4 h 791"/>
                      <a:gd name="T98" fmla="*/ 137 w 777"/>
                      <a:gd name="T99" fmla="*/ 0 h 791"/>
                      <a:gd name="T100" fmla="*/ 46 w 777"/>
                      <a:gd name="T101" fmla="*/ 76 h 791"/>
                      <a:gd name="T102" fmla="*/ 49 w 777"/>
                      <a:gd name="T103" fmla="*/ 83 h 791"/>
                      <a:gd name="T104" fmla="*/ 52 w 777"/>
                      <a:gd name="T105" fmla="*/ 78 h 791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777"/>
                      <a:gd name="T160" fmla="*/ 0 h 791"/>
                      <a:gd name="T161" fmla="*/ 777 w 777"/>
                      <a:gd name="T162" fmla="*/ 791 h 791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777" h="791">
                        <a:moveTo>
                          <a:pt x="0" y="0"/>
                        </a:moveTo>
                        <a:lnTo>
                          <a:pt x="5" y="4"/>
                        </a:lnTo>
                        <a:lnTo>
                          <a:pt x="36" y="9"/>
                        </a:lnTo>
                        <a:lnTo>
                          <a:pt x="31" y="18"/>
                        </a:lnTo>
                        <a:lnTo>
                          <a:pt x="36" y="31"/>
                        </a:lnTo>
                        <a:lnTo>
                          <a:pt x="54" y="36"/>
                        </a:lnTo>
                        <a:lnTo>
                          <a:pt x="81" y="31"/>
                        </a:lnTo>
                        <a:lnTo>
                          <a:pt x="94" y="40"/>
                        </a:lnTo>
                        <a:lnTo>
                          <a:pt x="58" y="40"/>
                        </a:lnTo>
                        <a:lnTo>
                          <a:pt x="49" y="49"/>
                        </a:lnTo>
                        <a:lnTo>
                          <a:pt x="31" y="45"/>
                        </a:lnTo>
                        <a:lnTo>
                          <a:pt x="27" y="62"/>
                        </a:lnTo>
                        <a:lnTo>
                          <a:pt x="63" y="71"/>
                        </a:lnTo>
                        <a:lnTo>
                          <a:pt x="45" y="85"/>
                        </a:lnTo>
                        <a:lnTo>
                          <a:pt x="58" y="112"/>
                        </a:lnTo>
                        <a:lnTo>
                          <a:pt x="85" y="125"/>
                        </a:lnTo>
                        <a:lnTo>
                          <a:pt x="85" y="107"/>
                        </a:lnTo>
                        <a:lnTo>
                          <a:pt x="103" y="112"/>
                        </a:lnTo>
                        <a:lnTo>
                          <a:pt x="107" y="121"/>
                        </a:lnTo>
                        <a:lnTo>
                          <a:pt x="125" y="116"/>
                        </a:lnTo>
                        <a:lnTo>
                          <a:pt x="130" y="130"/>
                        </a:lnTo>
                        <a:lnTo>
                          <a:pt x="139" y="116"/>
                        </a:lnTo>
                        <a:lnTo>
                          <a:pt x="170" y="121"/>
                        </a:lnTo>
                        <a:lnTo>
                          <a:pt x="206" y="138"/>
                        </a:lnTo>
                        <a:lnTo>
                          <a:pt x="206" y="179"/>
                        </a:lnTo>
                        <a:lnTo>
                          <a:pt x="228" y="210"/>
                        </a:lnTo>
                        <a:lnTo>
                          <a:pt x="241" y="308"/>
                        </a:lnTo>
                        <a:lnTo>
                          <a:pt x="241" y="326"/>
                        </a:lnTo>
                        <a:lnTo>
                          <a:pt x="237" y="353"/>
                        </a:lnTo>
                        <a:lnTo>
                          <a:pt x="255" y="366"/>
                        </a:lnTo>
                        <a:lnTo>
                          <a:pt x="273" y="344"/>
                        </a:lnTo>
                        <a:lnTo>
                          <a:pt x="282" y="371"/>
                        </a:lnTo>
                        <a:lnTo>
                          <a:pt x="308" y="393"/>
                        </a:lnTo>
                        <a:lnTo>
                          <a:pt x="299" y="411"/>
                        </a:lnTo>
                        <a:lnTo>
                          <a:pt x="264" y="398"/>
                        </a:lnTo>
                        <a:lnTo>
                          <a:pt x="255" y="402"/>
                        </a:lnTo>
                        <a:lnTo>
                          <a:pt x="268" y="416"/>
                        </a:lnTo>
                        <a:lnTo>
                          <a:pt x="308" y="438"/>
                        </a:lnTo>
                        <a:lnTo>
                          <a:pt x="308" y="487"/>
                        </a:lnTo>
                        <a:lnTo>
                          <a:pt x="282" y="483"/>
                        </a:lnTo>
                        <a:lnTo>
                          <a:pt x="268" y="500"/>
                        </a:lnTo>
                        <a:lnTo>
                          <a:pt x="277" y="509"/>
                        </a:lnTo>
                        <a:lnTo>
                          <a:pt x="268" y="523"/>
                        </a:lnTo>
                        <a:lnTo>
                          <a:pt x="268" y="576"/>
                        </a:lnTo>
                        <a:lnTo>
                          <a:pt x="273" y="590"/>
                        </a:lnTo>
                        <a:lnTo>
                          <a:pt x="286" y="608"/>
                        </a:lnTo>
                        <a:lnTo>
                          <a:pt x="295" y="652"/>
                        </a:lnTo>
                        <a:lnTo>
                          <a:pt x="299" y="643"/>
                        </a:lnTo>
                        <a:lnTo>
                          <a:pt x="304" y="648"/>
                        </a:lnTo>
                        <a:lnTo>
                          <a:pt x="295" y="661"/>
                        </a:lnTo>
                        <a:lnTo>
                          <a:pt x="308" y="684"/>
                        </a:lnTo>
                        <a:lnTo>
                          <a:pt x="326" y="719"/>
                        </a:lnTo>
                        <a:lnTo>
                          <a:pt x="335" y="728"/>
                        </a:lnTo>
                        <a:lnTo>
                          <a:pt x="331" y="733"/>
                        </a:lnTo>
                        <a:lnTo>
                          <a:pt x="340" y="746"/>
                        </a:lnTo>
                        <a:lnTo>
                          <a:pt x="349" y="760"/>
                        </a:lnTo>
                        <a:lnTo>
                          <a:pt x="362" y="751"/>
                        </a:lnTo>
                        <a:lnTo>
                          <a:pt x="375" y="751"/>
                        </a:lnTo>
                        <a:lnTo>
                          <a:pt x="384" y="760"/>
                        </a:lnTo>
                        <a:lnTo>
                          <a:pt x="393" y="769"/>
                        </a:lnTo>
                        <a:lnTo>
                          <a:pt x="389" y="777"/>
                        </a:lnTo>
                        <a:lnTo>
                          <a:pt x="411" y="791"/>
                        </a:lnTo>
                        <a:lnTo>
                          <a:pt x="420" y="777"/>
                        </a:lnTo>
                        <a:lnTo>
                          <a:pt x="416" y="769"/>
                        </a:lnTo>
                        <a:lnTo>
                          <a:pt x="425" y="760"/>
                        </a:lnTo>
                        <a:lnTo>
                          <a:pt x="420" y="755"/>
                        </a:lnTo>
                        <a:lnTo>
                          <a:pt x="442" y="728"/>
                        </a:lnTo>
                        <a:lnTo>
                          <a:pt x="438" y="719"/>
                        </a:lnTo>
                        <a:lnTo>
                          <a:pt x="433" y="715"/>
                        </a:lnTo>
                        <a:lnTo>
                          <a:pt x="433" y="697"/>
                        </a:lnTo>
                        <a:lnTo>
                          <a:pt x="442" y="693"/>
                        </a:lnTo>
                        <a:lnTo>
                          <a:pt x="447" y="675"/>
                        </a:lnTo>
                        <a:lnTo>
                          <a:pt x="456" y="666"/>
                        </a:lnTo>
                        <a:lnTo>
                          <a:pt x="460" y="639"/>
                        </a:lnTo>
                        <a:lnTo>
                          <a:pt x="451" y="626"/>
                        </a:lnTo>
                        <a:lnTo>
                          <a:pt x="469" y="621"/>
                        </a:lnTo>
                        <a:lnTo>
                          <a:pt x="469" y="612"/>
                        </a:lnTo>
                        <a:lnTo>
                          <a:pt x="501" y="608"/>
                        </a:lnTo>
                        <a:lnTo>
                          <a:pt x="505" y="594"/>
                        </a:lnTo>
                        <a:lnTo>
                          <a:pt x="514" y="594"/>
                        </a:lnTo>
                        <a:lnTo>
                          <a:pt x="545" y="576"/>
                        </a:lnTo>
                        <a:lnTo>
                          <a:pt x="545" y="567"/>
                        </a:lnTo>
                        <a:lnTo>
                          <a:pt x="554" y="567"/>
                        </a:lnTo>
                        <a:lnTo>
                          <a:pt x="568" y="518"/>
                        </a:lnTo>
                        <a:lnTo>
                          <a:pt x="581" y="509"/>
                        </a:lnTo>
                        <a:lnTo>
                          <a:pt x="576" y="491"/>
                        </a:lnTo>
                        <a:lnTo>
                          <a:pt x="585" y="500"/>
                        </a:lnTo>
                        <a:lnTo>
                          <a:pt x="585" y="509"/>
                        </a:lnTo>
                        <a:lnTo>
                          <a:pt x="612" y="505"/>
                        </a:lnTo>
                        <a:lnTo>
                          <a:pt x="657" y="483"/>
                        </a:lnTo>
                        <a:lnTo>
                          <a:pt x="702" y="451"/>
                        </a:lnTo>
                        <a:lnTo>
                          <a:pt x="719" y="429"/>
                        </a:lnTo>
                        <a:lnTo>
                          <a:pt x="719" y="424"/>
                        </a:lnTo>
                        <a:lnTo>
                          <a:pt x="710" y="429"/>
                        </a:lnTo>
                        <a:lnTo>
                          <a:pt x="684" y="420"/>
                        </a:lnTo>
                        <a:lnTo>
                          <a:pt x="666" y="424"/>
                        </a:lnTo>
                        <a:lnTo>
                          <a:pt x="657" y="407"/>
                        </a:lnTo>
                        <a:lnTo>
                          <a:pt x="679" y="398"/>
                        </a:lnTo>
                        <a:lnTo>
                          <a:pt x="670" y="384"/>
                        </a:lnTo>
                        <a:lnTo>
                          <a:pt x="679" y="371"/>
                        </a:lnTo>
                        <a:lnTo>
                          <a:pt x="670" y="362"/>
                        </a:lnTo>
                        <a:lnTo>
                          <a:pt x="675" y="362"/>
                        </a:lnTo>
                        <a:lnTo>
                          <a:pt x="693" y="375"/>
                        </a:lnTo>
                        <a:lnTo>
                          <a:pt x="697" y="407"/>
                        </a:lnTo>
                        <a:lnTo>
                          <a:pt x="733" y="416"/>
                        </a:lnTo>
                        <a:lnTo>
                          <a:pt x="728" y="366"/>
                        </a:lnTo>
                        <a:lnTo>
                          <a:pt x="719" y="371"/>
                        </a:lnTo>
                        <a:lnTo>
                          <a:pt x="728" y="353"/>
                        </a:lnTo>
                        <a:lnTo>
                          <a:pt x="710" y="348"/>
                        </a:lnTo>
                        <a:lnTo>
                          <a:pt x="715" y="340"/>
                        </a:lnTo>
                        <a:lnTo>
                          <a:pt x="684" y="326"/>
                        </a:lnTo>
                        <a:lnTo>
                          <a:pt x="688" y="317"/>
                        </a:lnTo>
                        <a:lnTo>
                          <a:pt x="719" y="331"/>
                        </a:lnTo>
                        <a:lnTo>
                          <a:pt x="724" y="317"/>
                        </a:lnTo>
                        <a:lnTo>
                          <a:pt x="706" y="304"/>
                        </a:lnTo>
                        <a:lnTo>
                          <a:pt x="724" y="304"/>
                        </a:lnTo>
                        <a:lnTo>
                          <a:pt x="724" y="290"/>
                        </a:lnTo>
                        <a:lnTo>
                          <a:pt x="710" y="281"/>
                        </a:lnTo>
                        <a:lnTo>
                          <a:pt x="684" y="268"/>
                        </a:lnTo>
                        <a:lnTo>
                          <a:pt x="693" y="259"/>
                        </a:lnTo>
                        <a:lnTo>
                          <a:pt x="719" y="277"/>
                        </a:lnTo>
                        <a:lnTo>
                          <a:pt x="733" y="259"/>
                        </a:lnTo>
                        <a:lnTo>
                          <a:pt x="746" y="264"/>
                        </a:lnTo>
                        <a:lnTo>
                          <a:pt x="746" y="241"/>
                        </a:lnTo>
                        <a:lnTo>
                          <a:pt x="733" y="237"/>
                        </a:lnTo>
                        <a:lnTo>
                          <a:pt x="719" y="241"/>
                        </a:lnTo>
                        <a:lnTo>
                          <a:pt x="728" y="228"/>
                        </a:lnTo>
                        <a:lnTo>
                          <a:pt x="742" y="232"/>
                        </a:lnTo>
                        <a:lnTo>
                          <a:pt x="755" y="223"/>
                        </a:lnTo>
                        <a:lnTo>
                          <a:pt x="764" y="205"/>
                        </a:lnTo>
                        <a:lnTo>
                          <a:pt x="742" y="179"/>
                        </a:lnTo>
                        <a:lnTo>
                          <a:pt x="742" y="165"/>
                        </a:lnTo>
                        <a:lnTo>
                          <a:pt x="751" y="165"/>
                        </a:lnTo>
                        <a:lnTo>
                          <a:pt x="755" y="179"/>
                        </a:lnTo>
                        <a:lnTo>
                          <a:pt x="760" y="174"/>
                        </a:lnTo>
                        <a:lnTo>
                          <a:pt x="764" y="152"/>
                        </a:lnTo>
                        <a:lnTo>
                          <a:pt x="760" y="134"/>
                        </a:lnTo>
                        <a:lnTo>
                          <a:pt x="751" y="130"/>
                        </a:lnTo>
                        <a:lnTo>
                          <a:pt x="760" y="125"/>
                        </a:lnTo>
                        <a:lnTo>
                          <a:pt x="760" y="107"/>
                        </a:lnTo>
                        <a:lnTo>
                          <a:pt x="733" y="107"/>
                        </a:lnTo>
                        <a:lnTo>
                          <a:pt x="733" y="67"/>
                        </a:lnTo>
                        <a:lnTo>
                          <a:pt x="746" y="49"/>
                        </a:lnTo>
                        <a:lnTo>
                          <a:pt x="777" y="58"/>
                        </a:lnTo>
                        <a:lnTo>
                          <a:pt x="777" y="36"/>
                        </a:lnTo>
                        <a:lnTo>
                          <a:pt x="751" y="27"/>
                        </a:lnTo>
                        <a:lnTo>
                          <a:pt x="751" y="4"/>
                        </a:lnTo>
                        <a:lnTo>
                          <a:pt x="764" y="13"/>
                        </a:lnTo>
                        <a:lnTo>
                          <a:pt x="773" y="9"/>
                        </a:lnTo>
                        <a:lnTo>
                          <a:pt x="755" y="0"/>
                        </a:lnTo>
                        <a:lnTo>
                          <a:pt x="0" y="0"/>
                        </a:lnTo>
                        <a:close/>
                        <a:moveTo>
                          <a:pt x="264" y="420"/>
                        </a:moveTo>
                        <a:lnTo>
                          <a:pt x="255" y="424"/>
                        </a:lnTo>
                        <a:lnTo>
                          <a:pt x="255" y="447"/>
                        </a:lnTo>
                        <a:lnTo>
                          <a:pt x="264" y="451"/>
                        </a:lnTo>
                        <a:lnTo>
                          <a:pt x="273" y="460"/>
                        </a:lnTo>
                        <a:lnTo>
                          <a:pt x="291" y="451"/>
                        </a:lnTo>
                        <a:lnTo>
                          <a:pt x="295" y="438"/>
                        </a:lnTo>
                        <a:lnTo>
                          <a:pt x="286" y="433"/>
                        </a:lnTo>
                        <a:lnTo>
                          <a:pt x="277" y="424"/>
                        </a:lnTo>
                        <a:lnTo>
                          <a:pt x="264" y="420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460" name="Group 174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310" y="2782"/>
                    <a:ext cx="1009" cy="578"/>
                    <a:chOff x="4310" y="2782"/>
                    <a:chExt cx="1009" cy="578"/>
                  </a:xfrm>
                </p:grpSpPr>
                <p:sp>
                  <p:nvSpPr>
                    <p:cNvPr id="501" name="Freeform 175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4310" y="2782"/>
                      <a:ext cx="549" cy="519"/>
                    </a:xfrm>
                    <a:custGeom>
                      <a:avLst/>
                      <a:gdLst>
                        <a:gd name="T0" fmla="*/ 22 w 581"/>
                        <a:gd name="T1" fmla="*/ 24 h 550"/>
                        <a:gd name="T2" fmla="*/ 9 w 581"/>
                        <a:gd name="T3" fmla="*/ 26 h 550"/>
                        <a:gd name="T4" fmla="*/ 9 w 581"/>
                        <a:gd name="T5" fmla="*/ 29 h 550"/>
                        <a:gd name="T6" fmla="*/ 4 w 581"/>
                        <a:gd name="T7" fmla="*/ 38 h 550"/>
                        <a:gd name="T8" fmla="*/ 9 w 581"/>
                        <a:gd name="T9" fmla="*/ 40 h 550"/>
                        <a:gd name="T10" fmla="*/ 9 w 581"/>
                        <a:gd name="T11" fmla="*/ 47 h 550"/>
                        <a:gd name="T12" fmla="*/ 9 w 581"/>
                        <a:gd name="T13" fmla="*/ 58 h 550"/>
                        <a:gd name="T14" fmla="*/ 9 w 581"/>
                        <a:gd name="T15" fmla="*/ 66 h 550"/>
                        <a:gd name="T16" fmla="*/ 16 w 581"/>
                        <a:gd name="T17" fmla="*/ 67 h 550"/>
                        <a:gd name="T18" fmla="*/ 27 w 581"/>
                        <a:gd name="T19" fmla="*/ 65 h 550"/>
                        <a:gd name="T20" fmla="*/ 48 w 581"/>
                        <a:gd name="T21" fmla="*/ 58 h 550"/>
                        <a:gd name="T22" fmla="*/ 56 w 581"/>
                        <a:gd name="T23" fmla="*/ 62 h 550"/>
                        <a:gd name="T24" fmla="*/ 59 w 581"/>
                        <a:gd name="T25" fmla="*/ 67 h 550"/>
                        <a:gd name="T26" fmla="*/ 60 w 581"/>
                        <a:gd name="T27" fmla="*/ 67 h 550"/>
                        <a:gd name="T28" fmla="*/ 65 w 581"/>
                        <a:gd name="T29" fmla="*/ 59 h 550"/>
                        <a:gd name="T30" fmla="*/ 63 w 581"/>
                        <a:gd name="T31" fmla="*/ 68 h 550"/>
                        <a:gd name="T32" fmla="*/ 65 w 581"/>
                        <a:gd name="T33" fmla="*/ 69 h 550"/>
                        <a:gd name="T34" fmla="*/ 65 w 581"/>
                        <a:gd name="T35" fmla="*/ 70 h 550"/>
                        <a:gd name="T36" fmla="*/ 65 w 581"/>
                        <a:gd name="T37" fmla="*/ 73 h 550"/>
                        <a:gd name="T38" fmla="*/ 69 w 581"/>
                        <a:gd name="T39" fmla="*/ 71 h 550"/>
                        <a:gd name="T40" fmla="*/ 69 w 581"/>
                        <a:gd name="T41" fmla="*/ 76 h 550"/>
                        <a:gd name="T42" fmla="*/ 82 w 581"/>
                        <a:gd name="T43" fmla="*/ 79 h 550"/>
                        <a:gd name="T44" fmla="*/ 87 w 581"/>
                        <a:gd name="T45" fmla="*/ 82 h 550"/>
                        <a:gd name="T46" fmla="*/ 87 w 581"/>
                        <a:gd name="T47" fmla="*/ 81 h 550"/>
                        <a:gd name="T48" fmla="*/ 97 w 581"/>
                        <a:gd name="T49" fmla="*/ 76 h 550"/>
                        <a:gd name="T50" fmla="*/ 102 w 581"/>
                        <a:gd name="T51" fmla="*/ 62 h 550"/>
                        <a:gd name="T52" fmla="*/ 104 w 581"/>
                        <a:gd name="T53" fmla="*/ 41 h 550"/>
                        <a:gd name="T54" fmla="*/ 97 w 581"/>
                        <a:gd name="T55" fmla="*/ 34 h 550"/>
                        <a:gd name="T56" fmla="*/ 97 w 581"/>
                        <a:gd name="T57" fmla="*/ 30 h 550"/>
                        <a:gd name="T58" fmla="*/ 94 w 581"/>
                        <a:gd name="T59" fmla="*/ 29 h 550"/>
                        <a:gd name="T60" fmla="*/ 88 w 581"/>
                        <a:gd name="T61" fmla="*/ 23 h 550"/>
                        <a:gd name="T62" fmla="*/ 85 w 581"/>
                        <a:gd name="T63" fmla="*/ 16 h 550"/>
                        <a:gd name="T64" fmla="*/ 81 w 581"/>
                        <a:gd name="T65" fmla="*/ 8 h 550"/>
                        <a:gd name="T66" fmla="*/ 77 w 581"/>
                        <a:gd name="T67" fmla="*/ 8 h 550"/>
                        <a:gd name="T68" fmla="*/ 75 w 581"/>
                        <a:gd name="T69" fmla="*/ 5 h 550"/>
                        <a:gd name="T70" fmla="*/ 73 w 581"/>
                        <a:gd name="T71" fmla="*/ 18 h 550"/>
                        <a:gd name="T72" fmla="*/ 59 w 581"/>
                        <a:gd name="T73" fmla="*/ 9 h 550"/>
                        <a:gd name="T74" fmla="*/ 60 w 581"/>
                        <a:gd name="T75" fmla="*/ 8 h 550"/>
                        <a:gd name="T76" fmla="*/ 51 w 581"/>
                        <a:gd name="T77" fmla="*/ 8 h 550"/>
                        <a:gd name="T78" fmla="*/ 50 w 581"/>
                        <a:gd name="T79" fmla="*/ 8 h 550"/>
                        <a:gd name="T80" fmla="*/ 46 w 581"/>
                        <a:gd name="T81" fmla="*/ 8 h 550"/>
                        <a:gd name="T82" fmla="*/ 41 w 581"/>
                        <a:gd name="T83" fmla="*/ 11 h 550"/>
                        <a:gd name="T84" fmla="*/ 39 w 581"/>
                        <a:gd name="T85" fmla="*/ 9 h 550"/>
                        <a:gd name="T86" fmla="*/ 34 w 581"/>
                        <a:gd name="T87" fmla="*/ 9 h 550"/>
                        <a:gd name="T88" fmla="*/ 29 w 581"/>
                        <a:gd name="T89" fmla="*/ 16 h 550"/>
                        <a:gd name="T90" fmla="*/ 27 w 581"/>
                        <a:gd name="T91" fmla="*/ 18 h 550"/>
                        <a:gd name="T92" fmla="*/ 24 w 581"/>
                        <a:gd name="T93" fmla="*/ 20 h 550"/>
                        <a:gd name="T94" fmla="*/ 85 w 581"/>
                        <a:gd name="T95" fmla="*/ 92 h 550"/>
                        <a:gd name="T96" fmla="*/ 89 w 581"/>
                        <a:gd name="T97" fmla="*/ 97 h 550"/>
                        <a:gd name="T98" fmla="*/ 92 w 581"/>
                        <a:gd name="T99" fmla="*/ 93 h 550"/>
                        <a:gd name="T100" fmla="*/ 92 w 581"/>
                        <a:gd name="T101" fmla="*/ 87 h 550"/>
                        <a:gd name="T102" fmla="*/ 87 w 581"/>
                        <a:gd name="T103" fmla="*/ 88 h 550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w 581"/>
                        <a:gd name="T157" fmla="*/ 0 h 550"/>
                        <a:gd name="T158" fmla="*/ 581 w 581"/>
                        <a:gd name="T159" fmla="*/ 550 h 550"/>
                      </a:gdLst>
                      <a:ahLst/>
                      <a:cxnLst>
                        <a:cxn ang="T104">
                          <a:pos x="T0" y="T1"/>
                        </a:cxn>
                        <a:cxn ang="T105">
                          <a:pos x="T2" y="T3"/>
                        </a:cxn>
                        <a:cxn ang="T106">
                          <a:pos x="T4" y="T5"/>
                        </a:cxn>
                        <a:cxn ang="T107">
                          <a:pos x="T6" y="T7"/>
                        </a:cxn>
                        <a:cxn ang="T108">
                          <a:pos x="T8" y="T9"/>
                        </a:cxn>
                        <a:cxn ang="T109">
                          <a:pos x="T10" y="T11"/>
                        </a:cxn>
                        <a:cxn ang="T110">
                          <a:pos x="T12" y="T13"/>
                        </a:cxn>
                        <a:cxn ang="T111">
                          <a:pos x="T14" y="T15"/>
                        </a:cxn>
                        <a:cxn ang="T112">
                          <a:pos x="T16" y="T17"/>
                        </a:cxn>
                        <a:cxn ang="T113">
                          <a:pos x="T18" y="T19"/>
                        </a:cxn>
                        <a:cxn ang="T114">
                          <a:pos x="T20" y="T21"/>
                        </a:cxn>
                        <a:cxn ang="T115">
                          <a:pos x="T22" y="T23"/>
                        </a:cxn>
                        <a:cxn ang="T116">
                          <a:pos x="T24" y="T25"/>
                        </a:cxn>
                        <a:cxn ang="T117">
                          <a:pos x="T26" y="T27"/>
                        </a:cxn>
                        <a:cxn ang="T118">
                          <a:pos x="T28" y="T29"/>
                        </a:cxn>
                        <a:cxn ang="T119">
                          <a:pos x="T30" y="T31"/>
                        </a:cxn>
                        <a:cxn ang="T120">
                          <a:pos x="T32" y="T33"/>
                        </a:cxn>
                        <a:cxn ang="T121">
                          <a:pos x="T34" y="T35"/>
                        </a:cxn>
                        <a:cxn ang="T122">
                          <a:pos x="T36" y="T37"/>
                        </a:cxn>
                        <a:cxn ang="T123">
                          <a:pos x="T38" y="T39"/>
                        </a:cxn>
                        <a:cxn ang="T124">
                          <a:pos x="T40" y="T41"/>
                        </a:cxn>
                        <a:cxn ang="T125">
                          <a:pos x="T42" y="T43"/>
                        </a:cxn>
                        <a:cxn ang="T126">
                          <a:pos x="T44" y="T45"/>
                        </a:cxn>
                        <a:cxn ang="T127">
                          <a:pos x="T46" y="T47"/>
                        </a:cxn>
                        <a:cxn ang="T128">
                          <a:pos x="T48" y="T49"/>
                        </a:cxn>
                        <a:cxn ang="T129">
                          <a:pos x="T50" y="T51"/>
                        </a:cxn>
                        <a:cxn ang="T130">
                          <a:pos x="T52" y="T53"/>
                        </a:cxn>
                        <a:cxn ang="T131">
                          <a:pos x="T54" y="T55"/>
                        </a:cxn>
                        <a:cxn ang="T132">
                          <a:pos x="T56" y="T57"/>
                        </a:cxn>
                        <a:cxn ang="T133">
                          <a:pos x="T58" y="T59"/>
                        </a:cxn>
                        <a:cxn ang="T134">
                          <a:pos x="T60" y="T61"/>
                        </a:cxn>
                        <a:cxn ang="T135">
                          <a:pos x="T62" y="T63"/>
                        </a:cxn>
                        <a:cxn ang="T136">
                          <a:pos x="T64" y="T65"/>
                        </a:cxn>
                        <a:cxn ang="T137">
                          <a:pos x="T66" y="T67"/>
                        </a:cxn>
                        <a:cxn ang="T138">
                          <a:pos x="T68" y="T69"/>
                        </a:cxn>
                        <a:cxn ang="T139">
                          <a:pos x="T70" y="T71"/>
                        </a:cxn>
                        <a:cxn ang="T140">
                          <a:pos x="T72" y="T73"/>
                        </a:cxn>
                        <a:cxn ang="T141">
                          <a:pos x="T74" y="T75"/>
                        </a:cxn>
                        <a:cxn ang="T142">
                          <a:pos x="T76" y="T77"/>
                        </a:cxn>
                        <a:cxn ang="T143">
                          <a:pos x="T78" y="T79"/>
                        </a:cxn>
                        <a:cxn ang="T144">
                          <a:pos x="T80" y="T81"/>
                        </a:cxn>
                        <a:cxn ang="T145">
                          <a:pos x="T82" y="T83"/>
                        </a:cxn>
                        <a:cxn ang="T146">
                          <a:pos x="T84" y="T85"/>
                        </a:cxn>
                        <a:cxn ang="T147">
                          <a:pos x="T86" y="T87"/>
                        </a:cxn>
                        <a:cxn ang="T148">
                          <a:pos x="T88" y="T89"/>
                        </a:cxn>
                        <a:cxn ang="T149">
                          <a:pos x="T90" y="T91"/>
                        </a:cxn>
                        <a:cxn ang="T150">
                          <a:pos x="T92" y="T93"/>
                        </a:cxn>
                        <a:cxn ang="T151">
                          <a:pos x="T94" y="T95"/>
                        </a:cxn>
                        <a:cxn ang="T152">
                          <a:pos x="T96" y="T97"/>
                        </a:cxn>
                        <a:cxn ang="T153">
                          <a:pos x="T98" y="T99"/>
                        </a:cxn>
                        <a:cxn ang="T154">
                          <a:pos x="T100" y="T101"/>
                        </a:cxn>
                        <a:cxn ang="T155">
                          <a:pos x="T102" y="T103"/>
                        </a:cxn>
                      </a:cxnLst>
                      <a:rect l="T156" t="T157" r="T158" b="T159"/>
                      <a:pathLst>
                        <a:path w="581" h="550">
                          <a:moveTo>
                            <a:pt x="130" y="107"/>
                          </a:moveTo>
                          <a:lnTo>
                            <a:pt x="134" y="107"/>
                          </a:lnTo>
                          <a:lnTo>
                            <a:pt x="116" y="134"/>
                          </a:lnTo>
                          <a:lnTo>
                            <a:pt x="80" y="143"/>
                          </a:lnTo>
                          <a:lnTo>
                            <a:pt x="63" y="152"/>
                          </a:lnTo>
                          <a:lnTo>
                            <a:pt x="54" y="152"/>
                          </a:lnTo>
                          <a:lnTo>
                            <a:pt x="27" y="165"/>
                          </a:lnTo>
                          <a:lnTo>
                            <a:pt x="13" y="183"/>
                          </a:lnTo>
                          <a:lnTo>
                            <a:pt x="13" y="165"/>
                          </a:lnTo>
                          <a:lnTo>
                            <a:pt x="9" y="179"/>
                          </a:lnTo>
                          <a:lnTo>
                            <a:pt x="9" y="197"/>
                          </a:lnTo>
                          <a:lnTo>
                            <a:pt x="4" y="210"/>
                          </a:lnTo>
                          <a:lnTo>
                            <a:pt x="18" y="233"/>
                          </a:lnTo>
                          <a:lnTo>
                            <a:pt x="18" y="241"/>
                          </a:lnTo>
                          <a:lnTo>
                            <a:pt x="9" y="228"/>
                          </a:lnTo>
                          <a:lnTo>
                            <a:pt x="0" y="228"/>
                          </a:lnTo>
                          <a:lnTo>
                            <a:pt x="4" y="241"/>
                          </a:lnTo>
                          <a:lnTo>
                            <a:pt x="13" y="268"/>
                          </a:lnTo>
                          <a:lnTo>
                            <a:pt x="31" y="291"/>
                          </a:lnTo>
                          <a:lnTo>
                            <a:pt x="31" y="308"/>
                          </a:lnTo>
                          <a:lnTo>
                            <a:pt x="40" y="331"/>
                          </a:lnTo>
                          <a:lnTo>
                            <a:pt x="36" y="358"/>
                          </a:lnTo>
                          <a:lnTo>
                            <a:pt x="27" y="362"/>
                          </a:lnTo>
                          <a:lnTo>
                            <a:pt x="31" y="376"/>
                          </a:lnTo>
                          <a:lnTo>
                            <a:pt x="54" y="389"/>
                          </a:lnTo>
                          <a:lnTo>
                            <a:pt x="76" y="389"/>
                          </a:lnTo>
                          <a:lnTo>
                            <a:pt x="80" y="380"/>
                          </a:lnTo>
                          <a:lnTo>
                            <a:pt x="94" y="380"/>
                          </a:lnTo>
                          <a:lnTo>
                            <a:pt x="98" y="367"/>
                          </a:lnTo>
                          <a:lnTo>
                            <a:pt x="147" y="367"/>
                          </a:lnTo>
                          <a:lnTo>
                            <a:pt x="156" y="353"/>
                          </a:lnTo>
                          <a:lnTo>
                            <a:pt x="228" y="331"/>
                          </a:lnTo>
                          <a:lnTo>
                            <a:pt x="259" y="326"/>
                          </a:lnTo>
                          <a:lnTo>
                            <a:pt x="272" y="335"/>
                          </a:lnTo>
                          <a:lnTo>
                            <a:pt x="290" y="340"/>
                          </a:lnTo>
                          <a:lnTo>
                            <a:pt x="304" y="353"/>
                          </a:lnTo>
                          <a:lnTo>
                            <a:pt x="308" y="344"/>
                          </a:lnTo>
                          <a:lnTo>
                            <a:pt x="322" y="376"/>
                          </a:lnTo>
                          <a:lnTo>
                            <a:pt x="322" y="380"/>
                          </a:lnTo>
                          <a:lnTo>
                            <a:pt x="326" y="389"/>
                          </a:lnTo>
                          <a:lnTo>
                            <a:pt x="335" y="389"/>
                          </a:lnTo>
                          <a:lnTo>
                            <a:pt x="331" y="380"/>
                          </a:lnTo>
                          <a:lnTo>
                            <a:pt x="339" y="367"/>
                          </a:lnTo>
                          <a:lnTo>
                            <a:pt x="353" y="358"/>
                          </a:lnTo>
                          <a:lnTo>
                            <a:pt x="357" y="340"/>
                          </a:lnTo>
                          <a:lnTo>
                            <a:pt x="357" y="358"/>
                          </a:lnTo>
                          <a:lnTo>
                            <a:pt x="348" y="371"/>
                          </a:lnTo>
                          <a:lnTo>
                            <a:pt x="344" y="384"/>
                          </a:lnTo>
                          <a:lnTo>
                            <a:pt x="339" y="393"/>
                          </a:lnTo>
                          <a:lnTo>
                            <a:pt x="353" y="389"/>
                          </a:lnTo>
                          <a:lnTo>
                            <a:pt x="357" y="376"/>
                          </a:lnTo>
                          <a:lnTo>
                            <a:pt x="362" y="393"/>
                          </a:lnTo>
                          <a:lnTo>
                            <a:pt x="357" y="398"/>
                          </a:lnTo>
                          <a:lnTo>
                            <a:pt x="344" y="398"/>
                          </a:lnTo>
                          <a:lnTo>
                            <a:pt x="339" y="407"/>
                          </a:lnTo>
                          <a:lnTo>
                            <a:pt x="353" y="411"/>
                          </a:lnTo>
                          <a:lnTo>
                            <a:pt x="357" y="407"/>
                          </a:lnTo>
                          <a:lnTo>
                            <a:pt x="371" y="398"/>
                          </a:lnTo>
                          <a:lnTo>
                            <a:pt x="375" y="402"/>
                          </a:lnTo>
                          <a:lnTo>
                            <a:pt x="371" y="402"/>
                          </a:lnTo>
                          <a:lnTo>
                            <a:pt x="380" y="425"/>
                          </a:lnTo>
                          <a:lnTo>
                            <a:pt x="380" y="434"/>
                          </a:lnTo>
                          <a:lnTo>
                            <a:pt x="406" y="451"/>
                          </a:lnTo>
                          <a:lnTo>
                            <a:pt x="438" y="460"/>
                          </a:lnTo>
                          <a:lnTo>
                            <a:pt x="447" y="451"/>
                          </a:lnTo>
                          <a:lnTo>
                            <a:pt x="460" y="451"/>
                          </a:lnTo>
                          <a:lnTo>
                            <a:pt x="460" y="456"/>
                          </a:lnTo>
                          <a:lnTo>
                            <a:pt x="469" y="465"/>
                          </a:lnTo>
                          <a:lnTo>
                            <a:pt x="474" y="474"/>
                          </a:lnTo>
                          <a:lnTo>
                            <a:pt x="478" y="469"/>
                          </a:lnTo>
                          <a:lnTo>
                            <a:pt x="478" y="460"/>
                          </a:lnTo>
                          <a:lnTo>
                            <a:pt x="505" y="443"/>
                          </a:lnTo>
                          <a:lnTo>
                            <a:pt x="518" y="443"/>
                          </a:lnTo>
                          <a:lnTo>
                            <a:pt x="532" y="434"/>
                          </a:lnTo>
                          <a:lnTo>
                            <a:pt x="532" y="420"/>
                          </a:lnTo>
                          <a:lnTo>
                            <a:pt x="545" y="393"/>
                          </a:lnTo>
                          <a:lnTo>
                            <a:pt x="554" y="353"/>
                          </a:lnTo>
                          <a:lnTo>
                            <a:pt x="572" y="340"/>
                          </a:lnTo>
                          <a:lnTo>
                            <a:pt x="581" y="273"/>
                          </a:lnTo>
                          <a:lnTo>
                            <a:pt x="572" y="233"/>
                          </a:lnTo>
                          <a:lnTo>
                            <a:pt x="558" y="201"/>
                          </a:lnTo>
                          <a:lnTo>
                            <a:pt x="545" y="201"/>
                          </a:lnTo>
                          <a:lnTo>
                            <a:pt x="536" y="192"/>
                          </a:lnTo>
                          <a:lnTo>
                            <a:pt x="541" y="192"/>
                          </a:lnTo>
                          <a:lnTo>
                            <a:pt x="541" y="179"/>
                          </a:lnTo>
                          <a:lnTo>
                            <a:pt x="532" y="170"/>
                          </a:lnTo>
                          <a:lnTo>
                            <a:pt x="532" y="183"/>
                          </a:lnTo>
                          <a:lnTo>
                            <a:pt x="523" y="183"/>
                          </a:lnTo>
                          <a:lnTo>
                            <a:pt x="518" y="165"/>
                          </a:lnTo>
                          <a:lnTo>
                            <a:pt x="509" y="152"/>
                          </a:lnTo>
                          <a:lnTo>
                            <a:pt x="509" y="148"/>
                          </a:lnTo>
                          <a:lnTo>
                            <a:pt x="482" y="130"/>
                          </a:lnTo>
                          <a:lnTo>
                            <a:pt x="474" y="112"/>
                          </a:lnTo>
                          <a:lnTo>
                            <a:pt x="474" y="90"/>
                          </a:lnTo>
                          <a:lnTo>
                            <a:pt x="465" y="85"/>
                          </a:lnTo>
                          <a:lnTo>
                            <a:pt x="465" y="63"/>
                          </a:lnTo>
                          <a:lnTo>
                            <a:pt x="451" y="49"/>
                          </a:lnTo>
                          <a:lnTo>
                            <a:pt x="442" y="54"/>
                          </a:lnTo>
                          <a:lnTo>
                            <a:pt x="433" y="40"/>
                          </a:lnTo>
                          <a:lnTo>
                            <a:pt x="438" y="27"/>
                          </a:lnTo>
                          <a:lnTo>
                            <a:pt x="424" y="14"/>
                          </a:lnTo>
                          <a:lnTo>
                            <a:pt x="424" y="0"/>
                          </a:lnTo>
                          <a:lnTo>
                            <a:pt x="415" y="0"/>
                          </a:lnTo>
                          <a:lnTo>
                            <a:pt x="411" y="5"/>
                          </a:lnTo>
                          <a:lnTo>
                            <a:pt x="406" y="40"/>
                          </a:lnTo>
                          <a:lnTo>
                            <a:pt x="406" y="72"/>
                          </a:lnTo>
                          <a:lnTo>
                            <a:pt x="398" y="98"/>
                          </a:lnTo>
                          <a:lnTo>
                            <a:pt x="384" y="103"/>
                          </a:lnTo>
                          <a:lnTo>
                            <a:pt x="339" y="76"/>
                          </a:lnTo>
                          <a:lnTo>
                            <a:pt x="322" y="58"/>
                          </a:lnTo>
                          <a:lnTo>
                            <a:pt x="326" y="45"/>
                          </a:lnTo>
                          <a:lnTo>
                            <a:pt x="339" y="22"/>
                          </a:lnTo>
                          <a:lnTo>
                            <a:pt x="331" y="14"/>
                          </a:lnTo>
                          <a:lnTo>
                            <a:pt x="317" y="18"/>
                          </a:lnTo>
                          <a:lnTo>
                            <a:pt x="295" y="18"/>
                          </a:lnTo>
                          <a:lnTo>
                            <a:pt x="277" y="9"/>
                          </a:lnTo>
                          <a:lnTo>
                            <a:pt x="241" y="9"/>
                          </a:lnTo>
                          <a:lnTo>
                            <a:pt x="241" y="18"/>
                          </a:lnTo>
                          <a:lnTo>
                            <a:pt x="272" y="14"/>
                          </a:lnTo>
                          <a:lnTo>
                            <a:pt x="281" y="22"/>
                          </a:lnTo>
                          <a:lnTo>
                            <a:pt x="277" y="27"/>
                          </a:lnTo>
                          <a:lnTo>
                            <a:pt x="255" y="22"/>
                          </a:lnTo>
                          <a:lnTo>
                            <a:pt x="232" y="49"/>
                          </a:lnTo>
                          <a:lnTo>
                            <a:pt x="241" y="72"/>
                          </a:lnTo>
                          <a:lnTo>
                            <a:pt x="228" y="63"/>
                          </a:lnTo>
                          <a:lnTo>
                            <a:pt x="219" y="63"/>
                          </a:lnTo>
                          <a:lnTo>
                            <a:pt x="214" y="72"/>
                          </a:lnTo>
                          <a:lnTo>
                            <a:pt x="214" y="58"/>
                          </a:lnTo>
                          <a:lnTo>
                            <a:pt x="205" y="45"/>
                          </a:lnTo>
                          <a:lnTo>
                            <a:pt x="188" y="45"/>
                          </a:lnTo>
                          <a:lnTo>
                            <a:pt x="183" y="58"/>
                          </a:lnTo>
                          <a:lnTo>
                            <a:pt x="179" y="54"/>
                          </a:lnTo>
                          <a:lnTo>
                            <a:pt x="165" y="67"/>
                          </a:lnTo>
                          <a:lnTo>
                            <a:pt x="161" y="85"/>
                          </a:lnTo>
                          <a:lnTo>
                            <a:pt x="152" y="81"/>
                          </a:lnTo>
                          <a:lnTo>
                            <a:pt x="147" y="81"/>
                          </a:lnTo>
                          <a:lnTo>
                            <a:pt x="147" y="98"/>
                          </a:lnTo>
                          <a:lnTo>
                            <a:pt x="138" y="81"/>
                          </a:lnTo>
                          <a:lnTo>
                            <a:pt x="130" y="94"/>
                          </a:lnTo>
                          <a:lnTo>
                            <a:pt x="130" y="107"/>
                          </a:lnTo>
                          <a:close/>
                          <a:moveTo>
                            <a:pt x="451" y="492"/>
                          </a:moveTo>
                          <a:lnTo>
                            <a:pt x="451" y="501"/>
                          </a:lnTo>
                          <a:lnTo>
                            <a:pt x="465" y="527"/>
                          </a:lnTo>
                          <a:lnTo>
                            <a:pt x="460" y="527"/>
                          </a:lnTo>
                          <a:lnTo>
                            <a:pt x="474" y="550"/>
                          </a:lnTo>
                          <a:lnTo>
                            <a:pt x="487" y="550"/>
                          </a:lnTo>
                          <a:lnTo>
                            <a:pt x="491" y="536"/>
                          </a:lnTo>
                          <a:lnTo>
                            <a:pt x="505" y="545"/>
                          </a:lnTo>
                          <a:lnTo>
                            <a:pt x="496" y="532"/>
                          </a:lnTo>
                          <a:lnTo>
                            <a:pt x="505" y="523"/>
                          </a:lnTo>
                          <a:lnTo>
                            <a:pt x="509" y="523"/>
                          </a:lnTo>
                          <a:lnTo>
                            <a:pt x="505" y="496"/>
                          </a:lnTo>
                          <a:lnTo>
                            <a:pt x="500" y="492"/>
                          </a:lnTo>
                          <a:lnTo>
                            <a:pt x="487" y="496"/>
                          </a:lnTo>
                          <a:lnTo>
                            <a:pt x="474" y="501"/>
                          </a:lnTo>
                          <a:lnTo>
                            <a:pt x="451" y="49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02" name="Freeform 176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5175" y="2854"/>
                      <a:ext cx="38" cy="38"/>
                    </a:xfrm>
                    <a:custGeom>
                      <a:avLst/>
                      <a:gdLst>
                        <a:gd name="T0" fmla="*/ 0 w 40"/>
                        <a:gd name="T1" fmla="*/ 10 h 40"/>
                        <a:gd name="T2" fmla="*/ 4 w 40"/>
                        <a:gd name="T3" fmla="*/ 10 h 40"/>
                        <a:gd name="T4" fmla="*/ 9 w 40"/>
                        <a:gd name="T5" fmla="*/ 10 h 40"/>
                        <a:gd name="T6" fmla="*/ 10 w 40"/>
                        <a:gd name="T7" fmla="*/ 10 h 40"/>
                        <a:gd name="T8" fmla="*/ 10 w 40"/>
                        <a:gd name="T9" fmla="*/ 10 h 40"/>
                        <a:gd name="T10" fmla="*/ 10 w 40"/>
                        <a:gd name="T11" fmla="*/ 10 h 40"/>
                        <a:gd name="T12" fmla="*/ 10 w 40"/>
                        <a:gd name="T13" fmla="*/ 10 h 40"/>
                        <a:gd name="T14" fmla="*/ 4 w 40"/>
                        <a:gd name="T15" fmla="*/ 10 h 40"/>
                        <a:gd name="T16" fmla="*/ 0 w 40"/>
                        <a:gd name="T17" fmla="*/ 10 h 40"/>
                        <a:gd name="T18" fmla="*/ 10 w 40"/>
                        <a:gd name="T19" fmla="*/ 0 h 40"/>
                        <a:gd name="T20" fmla="*/ 10 w 40"/>
                        <a:gd name="T21" fmla="*/ 9 h 40"/>
                        <a:gd name="T22" fmla="*/ 10 w 40"/>
                        <a:gd name="T23" fmla="*/ 9 h 40"/>
                        <a:gd name="T24" fmla="*/ 10 w 40"/>
                        <a:gd name="T25" fmla="*/ 10 h 40"/>
                        <a:gd name="T26" fmla="*/ 10 w 40"/>
                        <a:gd name="T27" fmla="*/ 10 h 40"/>
                        <a:gd name="T28" fmla="*/ 10 w 40"/>
                        <a:gd name="T29" fmla="*/ 9 h 40"/>
                        <a:gd name="T30" fmla="*/ 10 w 40"/>
                        <a:gd name="T31" fmla="*/ 9 h 40"/>
                        <a:gd name="T32" fmla="*/ 10 w 40"/>
                        <a:gd name="T33" fmla="*/ 0 h 40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0"/>
                        <a:gd name="T52" fmla="*/ 0 h 40"/>
                        <a:gd name="T53" fmla="*/ 40 w 40"/>
                        <a:gd name="T54" fmla="*/ 40 h 40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0" h="40">
                          <a:moveTo>
                            <a:pt x="0" y="31"/>
                          </a:moveTo>
                          <a:lnTo>
                            <a:pt x="4" y="36"/>
                          </a:lnTo>
                          <a:lnTo>
                            <a:pt x="9" y="36"/>
                          </a:lnTo>
                          <a:lnTo>
                            <a:pt x="18" y="40"/>
                          </a:lnTo>
                          <a:lnTo>
                            <a:pt x="22" y="31"/>
                          </a:lnTo>
                          <a:lnTo>
                            <a:pt x="22" y="22"/>
                          </a:lnTo>
                          <a:lnTo>
                            <a:pt x="13" y="22"/>
                          </a:lnTo>
                          <a:lnTo>
                            <a:pt x="4" y="22"/>
                          </a:lnTo>
                          <a:lnTo>
                            <a:pt x="0" y="31"/>
                          </a:lnTo>
                          <a:close/>
                          <a:moveTo>
                            <a:pt x="40" y="0"/>
                          </a:moveTo>
                          <a:lnTo>
                            <a:pt x="22" y="9"/>
                          </a:lnTo>
                          <a:lnTo>
                            <a:pt x="22" y="14"/>
                          </a:lnTo>
                          <a:lnTo>
                            <a:pt x="40" y="14"/>
                          </a:lnTo>
                          <a:lnTo>
                            <a:pt x="40" y="9"/>
                          </a:lnTo>
                          <a:lnTo>
                            <a:pt x="35" y="9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03" name="Freeform 177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5032" y="3141"/>
                      <a:ext cx="164" cy="219"/>
                    </a:xfrm>
                    <a:custGeom>
                      <a:avLst/>
                      <a:gdLst>
                        <a:gd name="T0" fmla="*/ 15 w 174"/>
                        <a:gd name="T1" fmla="*/ 20 h 232"/>
                        <a:gd name="T2" fmla="*/ 14 w 174"/>
                        <a:gd name="T3" fmla="*/ 22 h 232"/>
                        <a:gd name="T4" fmla="*/ 14 w 174"/>
                        <a:gd name="T5" fmla="*/ 24 h 232"/>
                        <a:gd name="T6" fmla="*/ 12 w 174"/>
                        <a:gd name="T7" fmla="*/ 24 h 232"/>
                        <a:gd name="T8" fmla="*/ 10 w 174"/>
                        <a:gd name="T9" fmla="*/ 28 h 232"/>
                        <a:gd name="T10" fmla="*/ 8 w 174"/>
                        <a:gd name="T11" fmla="*/ 32 h 232"/>
                        <a:gd name="T12" fmla="*/ 0 w 174"/>
                        <a:gd name="T13" fmla="*/ 37 h 232"/>
                        <a:gd name="T14" fmla="*/ 0 w 174"/>
                        <a:gd name="T15" fmla="*/ 40 h 232"/>
                        <a:gd name="T16" fmla="*/ 4 w 174"/>
                        <a:gd name="T17" fmla="*/ 40 h 232"/>
                        <a:gd name="T18" fmla="*/ 8 w 174"/>
                        <a:gd name="T19" fmla="*/ 40 h 232"/>
                        <a:gd name="T20" fmla="*/ 8 w 174"/>
                        <a:gd name="T21" fmla="*/ 42 h 232"/>
                        <a:gd name="T22" fmla="*/ 8 w 174"/>
                        <a:gd name="T23" fmla="*/ 40 h 232"/>
                        <a:gd name="T24" fmla="*/ 10 w 174"/>
                        <a:gd name="T25" fmla="*/ 40 h 232"/>
                        <a:gd name="T26" fmla="*/ 12 w 174"/>
                        <a:gd name="T27" fmla="*/ 32 h 232"/>
                        <a:gd name="T28" fmla="*/ 17 w 174"/>
                        <a:gd name="T29" fmla="*/ 30 h 232"/>
                        <a:gd name="T30" fmla="*/ 16 w 174"/>
                        <a:gd name="T31" fmla="*/ 28 h 232"/>
                        <a:gd name="T32" fmla="*/ 18 w 174"/>
                        <a:gd name="T33" fmla="*/ 26 h 232"/>
                        <a:gd name="T34" fmla="*/ 19 w 174"/>
                        <a:gd name="T35" fmla="*/ 24 h 232"/>
                        <a:gd name="T36" fmla="*/ 19 w 174"/>
                        <a:gd name="T37" fmla="*/ 22 h 232"/>
                        <a:gd name="T38" fmla="*/ 18 w 174"/>
                        <a:gd name="T39" fmla="*/ 23 h 232"/>
                        <a:gd name="T40" fmla="*/ 15 w 174"/>
                        <a:gd name="T41" fmla="*/ 21 h 232"/>
                        <a:gd name="T42" fmla="*/ 17 w 174"/>
                        <a:gd name="T43" fmla="*/ 20 h 232"/>
                        <a:gd name="T44" fmla="*/ 15 w 174"/>
                        <a:gd name="T45" fmla="*/ 20 h 232"/>
                        <a:gd name="T46" fmla="*/ 30 w 174"/>
                        <a:gd name="T47" fmla="*/ 8 h 232"/>
                        <a:gd name="T48" fmla="*/ 28 w 174"/>
                        <a:gd name="T49" fmla="*/ 8 h 232"/>
                        <a:gd name="T50" fmla="*/ 26 w 174"/>
                        <a:gd name="T51" fmla="*/ 11 h 232"/>
                        <a:gd name="T52" fmla="*/ 23 w 174"/>
                        <a:gd name="T53" fmla="*/ 8 h 232"/>
                        <a:gd name="T54" fmla="*/ 23 w 174"/>
                        <a:gd name="T55" fmla="*/ 8 h 232"/>
                        <a:gd name="T56" fmla="*/ 22 w 174"/>
                        <a:gd name="T57" fmla="*/ 8 h 232"/>
                        <a:gd name="T58" fmla="*/ 22 w 174"/>
                        <a:gd name="T59" fmla="*/ 8 h 232"/>
                        <a:gd name="T60" fmla="*/ 22 w 174"/>
                        <a:gd name="T61" fmla="*/ 8 h 232"/>
                        <a:gd name="T62" fmla="*/ 21 w 174"/>
                        <a:gd name="T63" fmla="*/ 8 h 232"/>
                        <a:gd name="T64" fmla="*/ 20 w 174"/>
                        <a:gd name="T65" fmla="*/ 8 h 232"/>
                        <a:gd name="T66" fmla="*/ 18 w 174"/>
                        <a:gd name="T67" fmla="*/ 4 h 232"/>
                        <a:gd name="T68" fmla="*/ 16 w 174"/>
                        <a:gd name="T69" fmla="*/ 0 h 232"/>
                        <a:gd name="T70" fmla="*/ 16 w 174"/>
                        <a:gd name="T71" fmla="*/ 8 h 232"/>
                        <a:gd name="T72" fmla="*/ 19 w 174"/>
                        <a:gd name="T73" fmla="*/ 8 h 232"/>
                        <a:gd name="T74" fmla="*/ 21 w 174"/>
                        <a:gd name="T75" fmla="*/ 8 h 232"/>
                        <a:gd name="T76" fmla="*/ 20 w 174"/>
                        <a:gd name="T77" fmla="*/ 15 h 232"/>
                        <a:gd name="T78" fmla="*/ 19 w 174"/>
                        <a:gd name="T79" fmla="*/ 15 h 232"/>
                        <a:gd name="T80" fmla="*/ 19 w 174"/>
                        <a:gd name="T81" fmla="*/ 16 h 232"/>
                        <a:gd name="T82" fmla="*/ 21 w 174"/>
                        <a:gd name="T83" fmla="*/ 19 h 232"/>
                        <a:gd name="T84" fmla="*/ 21 w 174"/>
                        <a:gd name="T85" fmla="*/ 22 h 232"/>
                        <a:gd name="T86" fmla="*/ 20 w 174"/>
                        <a:gd name="T87" fmla="*/ 24 h 232"/>
                        <a:gd name="T88" fmla="*/ 22 w 174"/>
                        <a:gd name="T89" fmla="*/ 24 h 232"/>
                        <a:gd name="T90" fmla="*/ 25 w 174"/>
                        <a:gd name="T91" fmla="*/ 18 h 232"/>
                        <a:gd name="T92" fmla="*/ 25 w 174"/>
                        <a:gd name="T93" fmla="*/ 17 h 232"/>
                        <a:gd name="T94" fmla="*/ 27 w 174"/>
                        <a:gd name="T95" fmla="*/ 16 h 232"/>
                        <a:gd name="T96" fmla="*/ 28 w 174"/>
                        <a:gd name="T97" fmla="*/ 17 h 232"/>
                        <a:gd name="T98" fmla="*/ 28 w 174"/>
                        <a:gd name="T99" fmla="*/ 15 h 232"/>
                        <a:gd name="T100" fmla="*/ 29 w 174"/>
                        <a:gd name="T101" fmla="*/ 14 h 232"/>
                        <a:gd name="T102" fmla="*/ 30 w 174"/>
                        <a:gd name="T103" fmla="*/ 8 h 232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w 174"/>
                        <a:gd name="T157" fmla="*/ 0 h 232"/>
                        <a:gd name="T158" fmla="*/ 174 w 174"/>
                        <a:gd name="T159" fmla="*/ 232 h 232"/>
                      </a:gdLst>
                      <a:ahLst/>
                      <a:cxnLst>
                        <a:cxn ang="T104">
                          <a:pos x="T0" y="T1"/>
                        </a:cxn>
                        <a:cxn ang="T105">
                          <a:pos x="T2" y="T3"/>
                        </a:cxn>
                        <a:cxn ang="T106">
                          <a:pos x="T4" y="T5"/>
                        </a:cxn>
                        <a:cxn ang="T107">
                          <a:pos x="T6" y="T7"/>
                        </a:cxn>
                        <a:cxn ang="T108">
                          <a:pos x="T8" y="T9"/>
                        </a:cxn>
                        <a:cxn ang="T109">
                          <a:pos x="T10" y="T11"/>
                        </a:cxn>
                        <a:cxn ang="T110">
                          <a:pos x="T12" y="T13"/>
                        </a:cxn>
                        <a:cxn ang="T111">
                          <a:pos x="T14" y="T15"/>
                        </a:cxn>
                        <a:cxn ang="T112">
                          <a:pos x="T16" y="T17"/>
                        </a:cxn>
                        <a:cxn ang="T113">
                          <a:pos x="T18" y="T19"/>
                        </a:cxn>
                        <a:cxn ang="T114">
                          <a:pos x="T20" y="T21"/>
                        </a:cxn>
                        <a:cxn ang="T115">
                          <a:pos x="T22" y="T23"/>
                        </a:cxn>
                        <a:cxn ang="T116">
                          <a:pos x="T24" y="T25"/>
                        </a:cxn>
                        <a:cxn ang="T117">
                          <a:pos x="T26" y="T27"/>
                        </a:cxn>
                        <a:cxn ang="T118">
                          <a:pos x="T28" y="T29"/>
                        </a:cxn>
                        <a:cxn ang="T119">
                          <a:pos x="T30" y="T31"/>
                        </a:cxn>
                        <a:cxn ang="T120">
                          <a:pos x="T32" y="T33"/>
                        </a:cxn>
                        <a:cxn ang="T121">
                          <a:pos x="T34" y="T35"/>
                        </a:cxn>
                        <a:cxn ang="T122">
                          <a:pos x="T36" y="T37"/>
                        </a:cxn>
                        <a:cxn ang="T123">
                          <a:pos x="T38" y="T39"/>
                        </a:cxn>
                        <a:cxn ang="T124">
                          <a:pos x="T40" y="T41"/>
                        </a:cxn>
                        <a:cxn ang="T125">
                          <a:pos x="T42" y="T43"/>
                        </a:cxn>
                        <a:cxn ang="T126">
                          <a:pos x="T44" y="T45"/>
                        </a:cxn>
                        <a:cxn ang="T127">
                          <a:pos x="T46" y="T47"/>
                        </a:cxn>
                        <a:cxn ang="T128">
                          <a:pos x="T48" y="T49"/>
                        </a:cxn>
                        <a:cxn ang="T129">
                          <a:pos x="T50" y="T51"/>
                        </a:cxn>
                        <a:cxn ang="T130">
                          <a:pos x="T52" y="T53"/>
                        </a:cxn>
                        <a:cxn ang="T131">
                          <a:pos x="T54" y="T55"/>
                        </a:cxn>
                        <a:cxn ang="T132">
                          <a:pos x="T56" y="T57"/>
                        </a:cxn>
                        <a:cxn ang="T133">
                          <a:pos x="T58" y="T59"/>
                        </a:cxn>
                        <a:cxn ang="T134">
                          <a:pos x="T60" y="T61"/>
                        </a:cxn>
                        <a:cxn ang="T135">
                          <a:pos x="T62" y="T63"/>
                        </a:cxn>
                        <a:cxn ang="T136">
                          <a:pos x="T64" y="T65"/>
                        </a:cxn>
                        <a:cxn ang="T137">
                          <a:pos x="T66" y="T67"/>
                        </a:cxn>
                        <a:cxn ang="T138">
                          <a:pos x="T68" y="T69"/>
                        </a:cxn>
                        <a:cxn ang="T139">
                          <a:pos x="T70" y="T71"/>
                        </a:cxn>
                        <a:cxn ang="T140">
                          <a:pos x="T72" y="T73"/>
                        </a:cxn>
                        <a:cxn ang="T141">
                          <a:pos x="T74" y="T75"/>
                        </a:cxn>
                        <a:cxn ang="T142">
                          <a:pos x="T76" y="T77"/>
                        </a:cxn>
                        <a:cxn ang="T143">
                          <a:pos x="T78" y="T79"/>
                        </a:cxn>
                        <a:cxn ang="T144">
                          <a:pos x="T80" y="T81"/>
                        </a:cxn>
                        <a:cxn ang="T145">
                          <a:pos x="T82" y="T83"/>
                        </a:cxn>
                        <a:cxn ang="T146">
                          <a:pos x="T84" y="T85"/>
                        </a:cxn>
                        <a:cxn ang="T147">
                          <a:pos x="T86" y="T87"/>
                        </a:cxn>
                        <a:cxn ang="T148">
                          <a:pos x="T88" y="T89"/>
                        </a:cxn>
                        <a:cxn ang="T149">
                          <a:pos x="T90" y="T91"/>
                        </a:cxn>
                        <a:cxn ang="T150">
                          <a:pos x="T92" y="T93"/>
                        </a:cxn>
                        <a:cxn ang="T151">
                          <a:pos x="T94" y="T95"/>
                        </a:cxn>
                        <a:cxn ang="T152">
                          <a:pos x="T96" y="T97"/>
                        </a:cxn>
                        <a:cxn ang="T153">
                          <a:pos x="T98" y="T99"/>
                        </a:cxn>
                        <a:cxn ang="T154">
                          <a:pos x="T100" y="T101"/>
                        </a:cxn>
                        <a:cxn ang="T155">
                          <a:pos x="T102" y="T103"/>
                        </a:cxn>
                      </a:cxnLst>
                      <a:rect l="T156" t="T157" r="T158" b="T159"/>
                      <a:pathLst>
                        <a:path w="174" h="232">
                          <a:moveTo>
                            <a:pt x="85" y="107"/>
                          </a:moveTo>
                          <a:lnTo>
                            <a:pt x="76" y="116"/>
                          </a:lnTo>
                          <a:lnTo>
                            <a:pt x="76" y="130"/>
                          </a:lnTo>
                          <a:lnTo>
                            <a:pt x="71" y="130"/>
                          </a:lnTo>
                          <a:lnTo>
                            <a:pt x="62" y="156"/>
                          </a:lnTo>
                          <a:lnTo>
                            <a:pt x="27" y="179"/>
                          </a:lnTo>
                          <a:lnTo>
                            <a:pt x="0" y="206"/>
                          </a:lnTo>
                          <a:lnTo>
                            <a:pt x="0" y="219"/>
                          </a:lnTo>
                          <a:lnTo>
                            <a:pt x="4" y="223"/>
                          </a:lnTo>
                          <a:lnTo>
                            <a:pt x="18" y="223"/>
                          </a:lnTo>
                          <a:lnTo>
                            <a:pt x="40" y="232"/>
                          </a:lnTo>
                          <a:lnTo>
                            <a:pt x="49" y="228"/>
                          </a:lnTo>
                          <a:lnTo>
                            <a:pt x="62" y="219"/>
                          </a:lnTo>
                          <a:lnTo>
                            <a:pt x="71" y="179"/>
                          </a:lnTo>
                          <a:lnTo>
                            <a:pt x="94" y="170"/>
                          </a:lnTo>
                          <a:lnTo>
                            <a:pt x="89" y="156"/>
                          </a:lnTo>
                          <a:lnTo>
                            <a:pt x="98" y="152"/>
                          </a:lnTo>
                          <a:lnTo>
                            <a:pt x="107" y="130"/>
                          </a:lnTo>
                          <a:lnTo>
                            <a:pt x="103" y="121"/>
                          </a:lnTo>
                          <a:lnTo>
                            <a:pt x="98" y="125"/>
                          </a:lnTo>
                          <a:lnTo>
                            <a:pt x="85" y="112"/>
                          </a:lnTo>
                          <a:lnTo>
                            <a:pt x="94" y="107"/>
                          </a:lnTo>
                          <a:lnTo>
                            <a:pt x="85" y="107"/>
                          </a:lnTo>
                          <a:close/>
                          <a:moveTo>
                            <a:pt x="174" y="54"/>
                          </a:moveTo>
                          <a:lnTo>
                            <a:pt x="165" y="54"/>
                          </a:lnTo>
                          <a:lnTo>
                            <a:pt x="156" y="63"/>
                          </a:lnTo>
                          <a:lnTo>
                            <a:pt x="134" y="54"/>
                          </a:lnTo>
                          <a:lnTo>
                            <a:pt x="134" y="45"/>
                          </a:lnTo>
                          <a:lnTo>
                            <a:pt x="129" y="36"/>
                          </a:lnTo>
                          <a:lnTo>
                            <a:pt x="125" y="36"/>
                          </a:lnTo>
                          <a:lnTo>
                            <a:pt x="125" y="49"/>
                          </a:lnTo>
                          <a:lnTo>
                            <a:pt x="120" y="36"/>
                          </a:lnTo>
                          <a:lnTo>
                            <a:pt x="112" y="13"/>
                          </a:lnTo>
                          <a:lnTo>
                            <a:pt x="98" y="4"/>
                          </a:lnTo>
                          <a:lnTo>
                            <a:pt x="89" y="0"/>
                          </a:lnTo>
                          <a:lnTo>
                            <a:pt x="89" y="9"/>
                          </a:lnTo>
                          <a:lnTo>
                            <a:pt x="107" y="36"/>
                          </a:lnTo>
                          <a:lnTo>
                            <a:pt x="116" y="54"/>
                          </a:lnTo>
                          <a:lnTo>
                            <a:pt x="112" y="80"/>
                          </a:lnTo>
                          <a:lnTo>
                            <a:pt x="103" y="80"/>
                          </a:lnTo>
                          <a:lnTo>
                            <a:pt x="103" y="85"/>
                          </a:lnTo>
                          <a:lnTo>
                            <a:pt x="120" y="103"/>
                          </a:lnTo>
                          <a:lnTo>
                            <a:pt x="116" y="121"/>
                          </a:lnTo>
                          <a:lnTo>
                            <a:pt x="112" y="130"/>
                          </a:lnTo>
                          <a:lnTo>
                            <a:pt x="125" y="134"/>
                          </a:lnTo>
                          <a:lnTo>
                            <a:pt x="152" y="94"/>
                          </a:lnTo>
                          <a:lnTo>
                            <a:pt x="147" y="89"/>
                          </a:lnTo>
                          <a:lnTo>
                            <a:pt x="161" y="85"/>
                          </a:lnTo>
                          <a:lnTo>
                            <a:pt x="165" y="89"/>
                          </a:lnTo>
                          <a:lnTo>
                            <a:pt x="165" y="80"/>
                          </a:lnTo>
                          <a:lnTo>
                            <a:pt x="170" y="76"/>
                          </a:lnTo>
                          <a:lnTo>
                            <a:pt x="174" y="5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04" name="Freeform 178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5285" y="2905"/>
                      <a:ext cx="34" cy="38"/>
                    </a:xfrm>
                    <a:custGeom>
                      <a:avLst/>
                      <a:gdLst>
                        <a:gd name="T0" fmla="*/ 0 w 36"/>
                        <a:gd name="T1" fmla="*/ 10 h 40"/>
                        <a:gd name="T2" fmla="*/ 4 w 36"/>
                        <a:gd name="T3" fmla="*/ 10 h 40"/>
                        <a:gd name="T4" fmla="*/ 4 w 36"/>
                        <a:gd name="T5" fmla="*/ 10 h 40"/>
                        <a:gd name="T6" fmla="*/ 0 w 36"/>
                        <a:gd name="T7" fmla="*/ 10 h 40"/>
                        <a:gd name="T8" fmla="*/ 9 w 36"/>
                        <a:gd name="T9" fmla="*/ 10 h 40"/>
                        <a:gd name="T10" fmla="*/ 9 w 36"/>
                        <a:gd name="T11" fmla="*/ 10 h 40"/>
                        <a:gd name="T12" fmla="*/ 9 w 36"/>
                        <a:gd name="T13" fmla="*/ 10 h 40"/>
                        <a:gd name="T14" fmla="*/ 9 w 36"/>
                        <a:gd name="T15" fmla="*/ 10 h 40"/>
                        <a:gd name="T16" fmla="*/ 9 w 36"/>
                        <a:gd name="T17" fmla="*/ 10 h 40"/>
                        <a:gd name="T18" fmla="*/ 9 w 36"/>
                        <a:gd name="T19" fmla="*/ 10 h 40"/>
                        <a:gd name="T20" fmla="*/ 9 w 36"/>
                        <a:gd name="T21" fmla="*/ 10 h 40"/>
                        <a:gd name="T22" fmla="*/ 9 w 36"/>
                        <a:gd name="T23" fmla="*/ 10 h 40"/>
                        <a:gd name="T24" fmla="*/ 9 w 36"/>
                        <a:gd name="T25" fmla="*/ 10 h 40"/>
                        <a:gd name="T26" fmla="*/ 9 w 36"/>
                        <a:gd name="T27" fmla="*/ 10 h 40"/>
                        <a:gd name="T28" fmla="*/ 9 w 36"/>
                        <a:gd name="T29" fmla="*/ 10 h 40"/>
                        <a:gd name="T30" fmla="*/ 9 w 36"/>
                        <a:gd name="T31" fmla="*/ 10 h 40"/>
                        <a:gd name="T32" fmla="*/ 9 w 36"/>
                        <a:gd name="T33" fmla="*/ 0 h 40"/>
                        <a:gd name="T34" fmla="*/ 9 w 36"/>
                        <a:gd name="T35" fmla="*/ 0 h 40"/>
                        <a:gd name="T36" fmla="*/ 9 w 36"/>
                        <a:gd name="T37" fmla="*/ 0 h 40"/>
                        <a:gd name="T38" fmla="*/ 9 w 36"/>
                        <a:gd name="T39" fmla="*/ 0 h 40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w 36"/>
                        <a:gd name="T61" fmla="*/ 0 h 40"/>
                        <a:gd name="T62" fmla="*/ 36 w 36"/>
                        <a:gd name="T63" fmla="*/ 40 h 40"/>
                      </a:gdLst>
                      <a:ahLst/>
                      <a:cxnLst>
                        <a:cxn ang="T40">
                          <a:pos x="T0" y="T1"/>
                        </a:cxn>
                        <a:cxn ang="T41">
                          <a:pos x="T2" y="T3"/>
                        </a:cxn>
                        <a:cxn ang="T42">
                          <a:pos x="T4" y="T5"/>
                        </a:cxn>
                        <a:cxn ang="T43">
                          <a:pos x="T6" y="T7"/>
                        </a:cxn>
                        <a:cxn ang="T44">
                          <a:pos x="T8" y="T9"/>
                        </a:cxn>
                        <a:cxn ang="T45">
                          <a:pos x="T10" y="T11"/>
                        </a:cxn>
                        <a:cxn ang="T46">
                          <a:pos x="T12" y="T13"/>
                        </a:cxn>
                        <a:cxn ang="T47">
                          <a:pos x="T14" y="T15"/>
                        </a:cxn>
                        <a:cxn ang="T48">
                          <a:pos x="T16" y="T17"/>
                        </a:cxn>
                        <a:cxn ang="T49">
                          <a:pos x="T18" y="T19"/>
                        </a:cxn>
                        <a:cxn ang="T50">
                          <a:pos x="T20" y="T21"/>
                        </a:cxn>
                        <a:cxn ang="T51">
                          <a:pos x="T22" y="T23"/>
                        </a:cxn>
                        <a:cxn ang="T52">
                          <a:pos x="T24" y="T25"/>
                        </a:cxn>
                        <a:cxn ang="T53">
                          <a:pos x="T26" y="T27"/>
                        </a:cxn>
                        <a:cxn ang="T54">
                          <a:pos x="T28" y="T29"/>
                        </a:cxn>
                        <a:cxn ang="T55">
                          <a:pos x="T30" y="T31"/>
                        </a:cxn>
                        <a:cxn ang="T56">
                          <a:pos x="T32" y="T33"/>
                        </a:cxn>
                        <a:cxn ang="T57">
                          <a:pos x="T34" y="T35"/>
                        </a:cxn>
                        <a:cxn ang="T58">
                          <a:pos x="T36" y="T37"/>
                        </a:cxn>
                        <a:cxn ang="T59">
                          <a:pos x="T38" y="T39"/>
                        </a:cxn>
                      </a:cxnLst>
                      <a:rect l="T60" t="T61" r="T62" b="T63"/>
                      <a:pathLst>
                        <a:path w="36" h="40">
                          <a:moveTo>
                            <a:pt x="0" y="40"/>
                          </a:moveTo>
                          <a:lnTo>
                            <a:pt x="4" y="40"/>
                          </a:lnTo>
                          <a:lnTo>
                            <a:pt x="0" y="40"/>
                          </a:lnTo>
                          <a:close/>
                          <a:moveTo>
                            <a:pt x="18" y="27"/>
                          </a:moveTo>
                          <a:lnTo>
                            <a:pt x="18" y="31"/>
                          </a:lnTo>
                          <a:lnTo>
                            <a:pt x="22" y="27"/>
                          </a:lnTo>
                          <a:lnTo>
                            <a:pt x="18" y="27"/>
                          </a:lnTo>
                          <a:close/>
                          <a:moveTo>
                            <a:pt x="18" y="13"/>
                          </a:moveTo>
                          <a:lnTo>
                            <a:pt x="18" y="18"/>
                          </a:lnTo>
                          <a:lnTo>
                            <a:pt x="22" y="13"/>
                          </a:lnTo>
                          <a:lnTo>
                            <a:pt x="18" y="13"/>
                          </a:lnTo>
                          <a:close/>
                          <a:moveTo>
                            <a:pt x="31" y="13"/>
                          </a:moveTo>
                          <a:lnTo>
                            <a:pt x="31" y="13"/>
                          </a:lnTo>
                          <a:close/>
                          <a:moveTo>
                            <a:pt x="36" y="0"/>
                          </a:moveTo>
                          <a:lnTo>
                            <a:pt x="36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461" name="Group 179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2450" y="1208"/>
                    <a:ext cx="937" cy="1025"/>
                    <a:chOff x="2450" y="1208"/>
                    <a:chExt cx="937" cy="1025"/>
                  </a:xfrm>
                </p:grpSpPr>
                <p:sp>
                  <p:nvSpPr>
                    <p:cNvPr id="462" name="Freeform 180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40" y="1980"/>
                      <a:ext cx="26" cy="59"/>
                    </a:xfrm>
                    <a:custGeom>
                      <a:avLst/>
                      <a:gdLst>
                        <a:gd name="T0" fmla="*/ 0 w 27"/>
                        <a:gd name="T1" fmla="*/ 7 h 63"/>
                        <a:gd name="T2" fmla="*/ 5 w 27"/>
                        <a:gd name="T3" fmla="*/ 7 h 63"/>
                        <a:gd name="T4" fmla="*/ 0 w 27"/>
                        <a:gd name="T5" fmla="*/ 7 h 63"/>
                        <a:gd name="T6" fmla="*/ 0 w 27"/>
                        <a:gd name="T7" fmla="*/ 7 h 63"/>
                        <a:gd name="T8" fmla="*/ 0 w 27"/>
                        <a:gd name="T9" fmla="*/ 7 h 63"/>
                        <a:gd name="T10" fmla="*/ 0 w 27"/>
                        <a:gd name="T11" fmla="*/ 7 h 63"/>
                        <a:gd name="T12" fmla="*/ 5 w 27"/>
                        <a:gd name="T13" fmla="*/ 7 h 63"/>
                        <a:gd name="T14" fmla="*/ 5 w 27"/>
                        <a:gd name="T15" fmla="*/ 7 h 63"/>
                        <a:gd name="T16" fmla="*/ 9 w 27"/>
                        <a:gd name="T17" fmla="*/ 8 h 63"/>
                        <a:gd name="T18" fmla="*/ 13 w 27"/>
                        <a:gd name="T19" fmla="*/ 8 h 63"/>
                        <a:gd name="T20" fmla="*/ 13 w 27"/>
                        <a:gd name="T21" fmla="*/ 7 h 63"/>
                        <a:gd name="T22" fmla="*/ 13 w 27"/>
                        <a:gd name="T23" fmla="*/ 7 h 63"/>
                        <a:gd name="T24" fmla="*/ 13 w 27"/>
                        <a:gd name="T25" fmla="*/ 7 h 63"/>
                        <a:gd name="T26" fmla="*/ 13 w 27"/>
                        <a:gd name="T27" fmla="*/ 7 h 63"/>
                        <a:gd name="T28" fmla="*/ 13 w 27"/>
                        <a:gd name="T29" fmla="*/ 7 h 63"/>
                        <a:gd name="T30" fmla="*/ 13 w 27"/>
                        <a:gd name="T31" fmla="*/ 5 h 63"/>
                        <a:gd name="T32" fmla="*/ 5 w 27"/>
                        <a:gd name="T33" fmla="*/ 0 h 63"/>
                        <a:gd name="T34" fmla="*/ 0 w 27"/>
                        <a:gd name="T35" fmla="*/ 7 h 63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w 27"/>
                        <a:gd name="T55" fmla="*/ 0 h 63"/>
                        <a:gd name="T56" fmla="*/ 27 w 27"/>
                        <a:gd name="T57" fmla="*/ 63 h 63"/>
                      </a:gdLst>
                      <a:ahLst/>
                      <a:cxnLst>
                        <a:cxn ang="T36">
                          <a:pos x="T0" y="T1"/>
                        </a:cxn>
                        <a:cxn ang="T37">
                          <a:pos x="T2" y="T3"/>
                        </a:cxn>
                        <a:cxn ang="T38">
                          <a:pos x="T4" y="T5"/>
                        </a:cxn>
                        <a:cxn ang="T39">
                          <a:pos x="T6" y="T7"/>
                        </a:cxn>
                        <a:cxn ang="T40">
                          <a:pos x="T8" y="T9"/>
                        </a:cxn>
                        <a:cxn ang="T41">
                          <a:pos x="T10" y="T11"/>
                        </a:cxn>
                        <a:cxn ang="T42">
                          <a:pos x="T12" y="T13"/>
                        </a:cxn>
                        <a:cxn ang="T43">
                          <a:pos x="T14" y="T15"/>
                        </a:cxn>
                        <a:cxn ang="T44">
                          <a:pos x="T16" y="T17"/>
                        </a:cxn>
                        <a:cxn ang="T45">
                          <a:pos x="T18" y="T19"/>
                        </a:cxn>
                        <a:cxn ang="T46">
                          <a:pos x="T20" y="T21"/>
                        </a:cxn>
                        <a:cxn ang="T47">
                          <a:pos x="T22" y="T23"/>
                        </a:cxn>
                        <a:cxn ang="T48">
                          <a:pos x="T24" y="T25"/>
                        </a:cxn>
                        <a:cxn ang="T49">
                          <a:pos x="T26" y="T27"/>
                        </a:cxn>
                        <a:cxn ang="T50">
                          <a:pos x="T28" y="T29"/>
                        </a:cxn>
                        <a:cxn ang="T51">
                          <a:pos x="T30" y="T31"/>
                        </a:cxn>
                        <a:cxn ang="T52">
                          <a:pos x="T32" y="T33"/>
                        </a:cxn>
                        <a:cxn ang="T53">
                          <a:pos x="T34" y="T35"/>
                        </a:cxn>
                      </a:cxnLst>
                      <a:rect l="T54" t="T55" r="T56" b="T57"/>
                      <a:pathLst>
                        <a:path w="27" h="63">
                          <a:moveTo>
                            <a:pt x="0" y="13"/>
                          </a:moveTo>
                          <a:lnTo>
                            <a:pt x="5" y="13"/>
                          </a:lnTo>
                          <a:lnTo>
                            <a:pt x="0" y="18"/>
                          </a:lnTo>
                          <a:lnTo>
                            <a:pt x="0" y="36"/>
                          </a:lnTo>
                          <a:lnTo>
                            <a:pt x="0" y="40"/>
                          </a:lnTo>
                          <a:lnTo>
                            <a:pt x="0" y="45"/>
                          </a:lnTo>
                          <a:lnTo>
                            <a:pt x="5" y="54"/>
                          </a:lnTo>
                          <a:lnTo>
                            <a:pt x="5" y="58"/>
                          </a:lnTo>
                          <a:lnTo>
                            <a:pt x="9" y="63"/>
                          </a:lnTo>
                          <a:lnTo>
                            <a:pt x="14" y="63"/>
                          </a:lnTo>
                          <a:lnTo>
                            <a:pt x="14" y="54"/>
                          </a:lnTo>
                          <a:lnTo>
                            <a:pt x="27" y="40"/>
                          </a:lnTo>
                          <a:lnTo>
                            <a:pt x="18" y="36"/>
                          </a:lnTo>
                          <a:lnTo>
                            <a:pt x="18" y="13"/>
                          </a:lnTo>
                          <a:lnTo>
                            <a:pt x="14" y="13"/>
                          </a:lnTo>
                          <a:lnTo>
                            <a:pt x="14" y="5"/>
                          </a:lnTo>
                          <a:lnTo>
                            <a:pt x="5" y="0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3" name="Freeform 18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10" y="1854"/>
                      <a:ext cx="101" cy="55"/>
                    </a:xfrm>
                    <a:custGeom>
                      <a:avLst/>
                      <a:gdLst>
                        <a:gd name="T0" fmla="*/ 0 w 107"/>
                        <a:gd name="T1" fmla="*/ 9 h 58"/>
                        <a:gd name="T2" fmla="*/ 0 w 107"/>
                        <a:gd name="T3" fmla="*/ 9 h 58"/>
                        <a:gd name="T4" fmla="*/ 0 w 107"/>
                        <a:gd name="T5" fmla="*/ 9 h 58"/>
                        <a:gd name="T6" fmla="*/ 8 w 107"/>
                        <a:gd name="T7" fmla="*/ 9 h 58"/>
                        <a:gd name="T8" fmla="*/ 8 w 107"/>
                        <a:gd name="T9" fmla="*/ 9 h 58"/>
                        <a:gd name="T10" fmla="*/ 8 w 107"/>
                        <a:gd name="T11" fmla="*/ 9 h 58"/>
                        <a:gd name="T12" fmla="*/ 8 w 107"/>
                        <a:gd name="T13" fmla="*/ 9 h 58"/>
                        <a:gd name="T14" fmla="*/ 8 w 107"/>
                        <a:gd name="T15" fmla="*/ 9 h 58"/>
                        <a:gd name="T16" fmla="*/ 8 w 107"/>
                        <a:gd name="T17" fmla="*/ 10 h 58"/>
                        <a:gd name="T18" fmla="*/ 8 w 107"/>
                        <a:gd name="T19" fmla="*/ 11 h 58"/>
                        <a:gd name="T20" fmla="*/ 12 w 107"/>
                        <a:gd name="T21" fmla="*/ 11 h 58"/>
                        <a:gd name="T22" fmla="*/ 14 w 107"/>
                        <a:gd name="T23" fmla="*/ 10 h 58"/>
                        <a:gd name="T24" fmla="*/ 17 w 107"/>
                        <a:gd name="T25" fmla="*/ 9 h 58"/>
                        <a:gd name="T26" fmla="*/ 18 w 107"/>
                        <a:gd name="T27" fmla="*/ 9 h 58"/>
                        <a:gd name="T28" fmla="*/ 18 w 107"/>
                        <a:gd name="T29" fmla="*/ 9 h 58"/>
                        <a:gd name="T30" fmla="*/ 18 w 107"/>
                        <a:gd name="T31" fmla="*/ 9 h 58"/>
                        <a:gd name="T32" fmla="*/ 18 w 107"/>
                        <a:gd name="T33" fmla="*/ 9 h 58"/>
                        <a:gd name="T34" fmla="*/ 19 w 107"/>
                        <a:gd name="T35" fmla="*/ 9 h 58"/>
                        <a:gd name="T36" fmla="*/ 20 w 107"/>
                        <a:gd name="T37" fmla="*/ 9 h 58"/>
                        <a:gd name="T38" fmla="*/ 20 w 107"/>
                        <a:gd name="T39" fmla="*/ 9 h 58"/>
                        <a:gd name="T40" fmla="*/ 20 w 107"/>
                        <a:gd name="T41" fmla="*/ 9 h 58"/>
                        <a:gd name="T42" fmla="*/ 19 w 107"/>
                        <a:gd name="T43" fmla="*/ 9 h 58"/>
                        <a:gd name="T44" fmla="*/ 19 w 107"/>
                        <a:gd name="T45" fmla="*/ 9 h 58"/>
                        <a:gd name="T46" fmla="*/ 19 w 107"/>
                        <a:gd name="T47" fmla="*/ 4 h 58"/>
                        <a:gd name="T48" fmla="*/ 14 w 107"/>
                        <a:gd name="T49" fmla="*/ 0 h 58"/>
                        <a:gd name="T50" fmla="*/ 12 w 107"/>
                        <a:gd name="T51" fmla="*/ 9 h 58"/>
                        <a:gd name="T52" fmla="*/ 9 w 107"/>
                        <a:gd name="T53" fmla="*/ 9 h 58"/>
                        <a:gd name="T54" fmla="*/ 8 w 107"/>
                        <a:gd name="T55" fmla="*/ 9 h 58"/>
                        <a:gd name="T56" fmla="*/ 8 w 107"/>
                        <a:gd name="T57" fmla="*/ 9 h 58"/>
                        <a:gd name="T58" fmla="*/ 8 w 107"/>
                        <a:gd name="T59" fmla="*/ 9 h 58"/>
                        <a:gd name="T60" fmla="*/ 8 w 107"/>
                        <a:gd name="T61" fmla="*/ 9 h 58"/>
                        <a:gd name="T62" fmla="*/ 8 w 107"/>
                        <a:gd name="T63" fmla="*/ 9 h 58"/>
                        <a:gd name="T64" fmla="*/ 8 w 107"/>
                        <a:gd name="T65" fmla="*/ 9 h 58"/>
                        <a:gd name="T66" fmla="*/ 8 w 107"/>
                        <a:gd name="T67" fmla="*/ 9 h 58"/>
                        <a:gd name="T68" fmla="*/ 0 w 107"/>
                        <a:gd name="T69" fmla="*/ 9 h 58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w 107"/>
                        <a:gd name="T106" fmla="*/ 0 h 58"/>
                        <a:gd name="T107" fmla="*/ 107 w 107"/>
                        <a:gd name="T108" fmla="*/ 58 h 58"/>
                      </a:gdLst>
                      <a:ahLst/>
                      <a:cxnLst>
                        <a:cxn ang="T70">
                          <a:pos x="T0" y="T1"/>
                        </a:cxn>
                        <a:cxn ang="T71">
                          <a:pos x="T2" y="T3"/>
                        </a:cxn>
                        <a:cxn ang="T72">
                          <a:pos x="T4" y="T5"/>
                        </a:cxn>
                        <a:cxn ang="T73">
                          <a:pos x="T6" y="T7"/>
                        </a:cxn>
                        <a:cxn ang="T74">
                          <a:pos x="T8" y="T9"/>
                        </a:cxn>
                        <a:cxn ang="T75">
                          <a:pos x="T10" y="T11"/>
                        </a:cxn>
                        <a:cxn ang="T76">
                          <a:pos x="T12" y="T13"/>
                        </a:cxn>
                        <a:cxn ang="T77">
                          <a:pos x="T14" y="T15"/>
                        </a:cxn>
                        <a:cxn ang="T78">
                          <a:pos x="T16" y="T17"/>
                        </a:cxn>
                        <a:cxn ang="T79">
                          <a:pos x="T18" y="T19"/>
                        </a:cxn>
                        <a:cxn ang="T80">
                          <a:pos x="T20" y="T21"/>
                        </a:cxn>
                        <a:cxn ang="T81">
                          <a:pos x="T22" y="T23"/>
                        </a:cxn>
                        <a:cxn ang="T82">
                          <a:pos x="T24" y="T25"/>
                        </a:cxn>
                        <a:cxn ang="T83">
                          <a:pos x="T26" y="T27"/>
                        </a:cxn>
                        <a:cxn ang="T84">
                          <a:pos x="T28" y="T29"/>
                        </a:cxn>
                        <a:cxn ang="T85">
                          <a:pos x="T30" y="T31"/>
                        </a:cxn>
                        <a:cxn ang="T86">
                          <a:pos x="T32" y="T33"/>
                        </a:cxn>
                        <a:cxn ang="T87">
                          <a:pos x="T34" y="T35"/>
                        </a:cxn>
                        <a:cxn ang="T88">
                          <a:pos x="T36" y="T37"/>
                        </a:cxn>
                        <a:cxn ang="T89">
                          <a:pos x="T38" y="T39"/>
                        </a:cxn>
                        <a:cxn ang="T90">
                          <a:pos x="T40" y="T41"/>
                        </a:cxn>
                        <a:cxn ang="T91">
                          <a:pos x="T42" y="T43"/>
                        </a:cxn>
                        <a:cxn ang="T92">
                          <a:pos x="T44" y="T45"/>
                        </a:cxn>
                        <a:cxn ang="T93">
                          <a:pos x="T46" y="T47"/>
                        </a:cxn>
                        <a:cxn ang="T94">
                          <a:pos x="T48" y="T49"/>
                        </a:cxn>
                        <a:cxn ang="T95">
                          <a:pos x="T50" y="T51"/>
                        </a:cxn>
                        <a:cxn ang="T96">
                          <a:pos x="T52" y="T53"/>
                        </a:cxn>
                        <a:cxn ang="T97">
                          <a:pos x="T54" y="T55"/>
                        </a:cxn>
                        <a:cxn ang="T98">
                          <a:pos x="T56" y="T57"/>
                        </a:cxn>
                        <a:cxn ang="T99">
                          <a:pos x="T58" y="T59"/>
                        </a:cxn>
                        <a:cxn ang="T100">
                          <a:pos x="T60" y="T61"/>
                        </a:cxn>
                        <a:cxn ang="T101">
                          <a:pos x="T62" y="T63"/>
                        </a:cxn>
                        <a:cxn ang="T102">
                          <a:pos x="T64" y="T65"/>
                        </a:cxn>
                        <a:cxn ang="T103">
                          <a:pos x="T66" y="T67"/>
                        </a:cxn>
                        <a:cxn ang="T104">
                          <a:pos x="T68" y="T69"/>
                        </a:cxn>
                      </a:cxnLst>
                      <a:rect l="T105" t="T106" r="T107" b="T108"/>
                      <a:pathLst>
                        <a:path w="107" h="58">
                          <a:moveTo>
                            <a:pt x="0" y="31"/>
                          </a:moveTo>
                          <a:lnTo>
                            <a:pt x="0" y="45"/>
                          </a:lnTo>
                          <a:lnTo>
                            <a:pt x="0" y="49"/>
                          </a:lnTo>
                          <a:lnTo>
                            <a:pt x="9" y="45"/>
                          </a:lnTo>
                          <a:lnTo>
                            <a:pt x="9" y="49"/>
                          </a:lnTo>
                          <a:lnTo>
                            <a:pt x="18" y="49"/>
                          </a:lnTo>
                          <a:lnTo>
                            <a:pt x="22" y="45"/>
                          </a:lnTo>
                          <a:lnTo>
                            <a:pt x="36" y="45"/>
                          </a:lnTo>
                          <a:lnTo>
                            <a:pt x="40" y="54"/>
                          </a:lnTo>
                          <a:lnTo>
                            <a:pt x="54" y="58"/>
                          </a:lnTo>
                          <a:lnTo>
                            <a:pt x="67" y="58"/>
                          </a:lnTo>
                          <a:lnTo>
                            <a:pt x="76" y="54"/>
                          </a:lnTo>
                          <a:lnTo>
                            <a:pt x="89" y="49"/>
                          </a:lnTo>
                          <a:lnTo>
                            <a:pt x="94" y="45"/>
                          </a:lnTo>
                          <a:lnTo>
                            <a:pt x="94" y="40"/>
                          </a:lnTo>
                          <a:lnTo>
                            <a:pt x="94" y="36"/>
                          </a:lnTo>
                          <a:lnTo>
                            <a:pt x="94" y="31"/>
                          </a:lnTo>
                          <a:lnTo>
                            <a:pt x="103" y="31"/>
                          </a:lnTo>
                          <a:lnTo>
                            <a:pt x="107" y="22"/>
                          </a:lnTo>
                          <a:lnTo>
                            <a:pt x="107" y="18"/>
                          </a:lnTo>
                          <a:lnTo>
                            <a:pt x="107" y="13"/>
                          </a:lnTo>
                          <a:lnTo>
                            <a:pt x="103" y="13"/>
                          </a:lnTo>
                          <a:lnTo>
                            <a:pt x="98" y="13"/>
                          </a:lnTo>
                          <a:lnTo>
                            <a:pt x="98" y="4"/>
                          </a:lnTo>
                          <a:lnTo>
                            <a:pt x="76" y="0"/>
                          </a:lnTo>
                          <a:lnTo>
                            <a:pt x="67" y="9"/>
                          </a:lnTo>
                          <a:lnTo>
                            <a:pt x="58" y="9"/>
                          </a:lnTo>
                          <a:lnTo>
                            <a:pt x="54" y="13"/>
                          </a:lnTo>
                          <a:lnTo>
                            <a:pt x="45" y="18"/>
                          </a:lnTo>
                          <a:lnTo>
                            <a:pt x="40" y="22"/>
                          </a:lnTo>
                          <a:lnTo>
                            <a:pt x="49" y="27"/>
                          </a:lnTo>
                          <a:lnTo>
                            <a:pt x="45" y="36"/>
                          </a:lnTo>
                          <a:lnTo>
                            <a:pt x="40" y="31"/>
                          </a:lnTo>
                          <a:lnTo>
                            <a:pt x="22" y="36"/>
                          </a:lnTo>
                          <a:lnTo>
                            <a:pt x="0" y="3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4" name="Freeform 18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813" y="1799"/>
                      <a:ext cx="55" cy="46"/>
                    </a:xfrm>
                    <a:custGeom>
                      <a:avLst/>
                      <a:gdLst>
                        <a:gd name="T0" fmla="*/ 0 w 58"/>
                        <a:gd name="T1" fmla="*/ 8 h 49"/>
                        <a:gd name="T2" fmla="*/ 9 w 58"/>
                        <a:gd name="T3" fmla="*/ 8 h 49"/>
                        <a:gd name="T4" fmla="*/ 9 w 58"/>
                        <a:gd name="T5" fmla="*/ 8 h 49"/>
                        <a:gd name="T6" fmla="*/ 9 w 58"/>
                        <a:gd name="T7" fmla="*/ 8 h 49"/>
                        <a:gd name="T8" fmla="*/ 9 w 58"/>
                        <a:gd name="T9" fmla="*/ 8 h 49"/>
                        <a:gd name="T10" fmla="*/ 9 w 58"/>
                        <a:gd name="T11" fmla="*/ 8 h 49"/>
                        <a:gd name="T12" fmla="*/ 9 w 58"/>
                        <a:gd name="T13" fmla="*/ 8 h 49"/>
                        <a:gd name="T14" fmla="*/ 9 w 58"/>
                        <a:gd name="T15" fmla="*/ 8 h 49"/>
                        <a:gd name="T16" fmla="*/ 9 w 58"/>
                        <a:gd name="T17" fmla="*/ 8 h 49"/>
                        <a:gd name="T18" fmla="*/ 9 w 58"/>
                        <a:gd name="T19" fmla="*/ 8 h 49"/>
                        <a:gd name="T20" fmla="*/ 9 w 58"/>
                        <a:gd name="T21" fmla="*/ 8 h 49"/>
                        <a:gd name="T22" fmla="*/ 9 w 58"/>
                        <a:gd name="T23" fmla="*/ 8 h 49"/>
                        <a:gd name="T24" fmla="*/ 9 w 58"/>
                        <a:gd name="T25" fmla="*/ 8 h 49"/>
                        <a:gd name="T26" fmla="*/ 9 w 58"/>
                        <a:gd name="T27" fmla="*/ 8 h 49"/>
                        <a:gd name="T28" fmla="*/ 10 w 58"/>
                        <a:gd name="T29" fmla="*/ 8 h 49"/>
                        <a:gd name="T30" fmla="*/ 11 w 58"/>
                        <a:gd name="T31" fmla="*/ 8 h 49"/>
                        <a:gd name="T32" fmla="*/ 10 w 58"/>
                        <a:gd name="T33" fmla="*/ 8 h 49"/>
                        <a:gd name="T34" fmla="*/ 9 w 58"/>
                        <a:gd name="T35" fmla="*/ 8 h 49"/>
                        <a:gd name="T36" fmla="*/ 9 w 58"/>
                        <a:gd name="T37" fmla="*/ 8 h 49"/>
                        <a:gd name="T38" fmla="*/ 9 w 58"/>
                        <a:gd name="T39" fmla="*/ 8 h 49"/>
                        <a:gd name="T40" fmla="*/ 9 w 58"/>
                        <a:gd name="T41" fmla="*/ 8 h 49"/>
                        <a:gd name="T42" fmla="*/ 9 w 58"/>
                        <a:gd name="T43" fmla="*/ 0 h 49"/>
                        <a:gd name="T44" fmla="*/ 9 w 58"/>
                        <a:gd name="T45" fmla="*/ 8 h 49"/>
                        <a:gd name="T46" fmla="*/ 9 w 58"/>
                        <a:gd name="T47" fmla="*/ 8 h 49"/>
                        <a:gd name="T48" fmla="*/ 9 w 58"/>
                        <a:gd name="T49" fmla="*/ 8 h 49"/>
                        <a:gd name="T50" fmla="*/ 9 w 58"/>
                        <a:gd name="T51" fmla="*/ 4 h 49"/>
                        <a:gd name="T52" fmla="*/ 5 w 58"/>
                        <a:gd name="T53" fmla="*/ 4 h 49"/>
                        <a:gd name="T54" fmla="*/ 0 w 58"/>
                        <a:gd name="T55" fmla="*/ 8 h 49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w 58"/>
                        <a:gd name="T85" fmla="*/ 0 h 49"/>
                        <a:gd name="T86" fmla="*/ 58 w 58"/>
                        <a:gd name="T87" fmla="*/ 49 h 49"/>
                      </a:gdLst>
                      <a:ahLst/>
                      <a:cxnLst>
                        <a:cxn ang="T56">
                          <a:pos x="T0" y="T1"/>
                        </a:cxn>
                        <a:cxn ang="T57">
                          <a:pos x="T2" y="T3"/>
                        </a:cxn>
                        <a:cxn ang="T58">
                          <a:pos x="T4" y="T5"/>
                        </a:cxn>
                        <a:cxn ang="T59">
                          <a:pos x="T6" y="T7"/>
                        </a:cxn>
                        <a:cxn ang="T60">
                          <a:pos x="T8" y="T9"/>
                        </a:cxn>
                        <a:cxn ang="T61">
                          <a:pos x="T10" y="T11"/>
                        </a:cxn>
                        <a:cxn ang="T62">
                          <a:pos x="T12" y="T13"/>
                        </a:cxn>
                        <a:cxn ang="T63">
                          <a:pos x="T14" y="T15"/>
                        </a:cxn>
                        <a:cxn ang="T64">
                          <a:pos x="T16" y="T17"/>
                        </a:cxn>
                        <a:cxn ang="T65">
                          <a:pos x="T18" y="T19"/>
                        </a:cxn>
                        <a:cxn ang="T66">
                          <a:pos x="T20" y="T21"/>
                        </a:cxn>
                        <a:cxn ang="T67">
                          <a:pos x="T22" y="T23"/>
                        </a:cxn>
                        <a:cxn ang="T68">
                          <a:pos x="T24" y="T25"/>
                        </a:cxn>
                        <a:cxn ang="T69">
                          <a:pos x="T26" y="T27"/>
                        </a:cxn>
                        <a:cxn ang="T70">
                          <a:pos x="T28" y="T29"/>
                        </a:cxn>
                        <a:cxn ang="T71">
                          <a:pos x="T30" y="T31"/>
                        </a:cxn>
                        <a:cxn ang="T72">
                          <a:pos x="T32" y="T33"/>
                        </a:cxn>
                        <a:cxn ang="T73">
                          <a:pos x="T34" y="T35"/>
                        </a:cxn>
                        <a:cxn ang="T74">
                          <a:pos x="T36" y="T37"/>
                        </a:cxn>
                        <a:cxn ang="T75">
                          <a:pos x="T38" y="T39"/>
                        </a:cxn>
                        <a:cxn ang="T76">
                          <a:pos x="T40" y="T41"/>
                        </a:cxn>
                        <a:cxn ang="T77">
                          <a:pos x="T42" y="T43"/>
                        </a:cxn>
                        <a:cxn ang="T78">
                          <a:pos x="T44" y="T45"/>
                        </a:cxn>
                        <a:cxn ang="T79">
                          <a:pos x="T46" y="T47"/>
                        </a:cxn>
                        <a:cxn ang="T80">
                          <a:pos x="T48" y="T49"/>
                        </a:cxn>
                        <a:cxn ang="T81">
                          <a:pos x="T50" y="T51"/>
                        </a:cxn>
                        <a:cxn ang="T82">
                          <a:pos x="T52" y="T53"/>
                        </a:cxn>
                        <a:cxn ang="T83">
                          <a:pos x="T54" y="T55"/>
                        </a:cxn>
                      </a:cxnLst>
                      <a:rect l="T84" t="T85" r="T86" b="T87"/>
                      <a:pathLst>
                        <a:path w="58" h="49">
                          <a:moveTo>
                            <a:pt x="0" y="9"/>
                          </a:moveTo>
                          <a:lnTo>
                            <a:pt x="9" y="22"/>
                          </a:lnTo>
                          <a:lnTo>
                            <a:pt x="14" y="22"/>
                          </a:lnTo>
                          <a:lnTo>
                            <a:pt x="18" y="27"/>
                          </a:lnTo>
                          <a:lnTo>
                            <a:pt x="23" y="27"/>
                          </a:lnTo>
                          <a:lnTo>
                            <a:pt x="23" y="36"/>
                          </a:lnTo>
                          <a:lnTo>
                            <a:pt x="27" y="36"/>
                          </a:lnTo>
                          <a:lnTo>
                            <a:pt x="36" y="31"/>
                          </a:lnTo>
                          <a:lnTo>
                            <a:pt x="32" y="40"/>
                          </a:lnTo>
                          <a:lnTo>
                            <a:pt x="40" y="45"/>
                          </a:lnTo>
                          <a:lnTo>
                            <a:pt x="45" y="49"/>
                          </a:lnTo>
                          <a:lnTo>
                            <a:pt x="49" y="49"/>
                          </a:lnTo>
                          <a:lnTo>
                            <a:pt x="49" y="45"/>
                          </a:lnTo>
                          <a:lnTo>
                            <a:pt x="49" y="36"/>
                          </a:lnTo>
                          <a:lnTo>
                            <a:pt x="54" y="36"/>
                          </a:lnTo>
                          <a:lnTo>
                            <a:pt x="58" y="27"/>
                          </a:lnTo>
                          <a:lnTo>
                            <a:pt x="54" y="18"/>
                          </a:lnTo>
                          <a:lnTo>
                            <a:pt x="49" y="18"/>
                          </a:lnTo>
                          <a:lnTo>
                            <a:pt x="49" y="13"/>
                          </a:lnTo>
                          <a:lnTo>
                            <a:pt x="45" y="9"/>
                          </a:lnTo>
                          <a:lnTo>
                            <a:pt x="36" y="9"/>
                          </a:lnTo>
                          <a:lnTo>
                            <a:pt x="27" y="0"/>
                          </a:lnTo>
                          <a:lnTo>
                            <a:pt x="23" y="9"/>
                          </a:lnTo>
                          <a:lnTo>
                            <a:pt x="18" y="9"/>
                          </a:lnTo>
                          <a:lnTo>
                            <a:pt x="9" y="9"/>
                          </a:lnTo>
                          <a:lnTo>
                            <a:pt x="9" y="4"/>
                          </a:lnTo>
                          <a:lnTo>
                            <a:pt x="5" y="4"/>
                          </a:ln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5" name="Freeform 18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86" y="1929"/>
                      <a:ext cx="55" cy="47"/>
                    </a:xfrm>
                    <a:custGeom>
                      <a:avLst/>
                      <a:gdLst>
                        <a:gd name="T0" fmla="*/ 9 w 58"/>
                        <a:gd name="T1" fmla="*/ 8 h 50"/>
                        <a:gd name="T2" fmla="*/ 9 w 58"/>
                        <a:gd name="T3" fmla="*/ 8 h 50"/>
                        <a:gd name="T4" fmla="*/ 9 w 58"/>
                        <a:gd name="T5" fmla="*/ 8 h 50"/>
                        <a:gd name="T6" fmla="*/ 9 w 58"/>
                        <a:gd name="T7" fmla="*/ 8 h 50"/>
                        <a:gd name="T8" fmla="*/ 9 w 58"/>
                        <a:gd name="T9" fmla="*/ 8 h 50"/>
                        <a:gd name="T10" fmla="*/ 9 w 58"/>
                        <a:gd name="T11" fmla="*/ 8 h 50"/>
                        <a:gd name="T12" fmla="*/ 9 w 58"/>
                        <a:gd name="T13" fmla="*/ 8 h 50"/>
                        <a:gd name="T14" fmla="*/ 9 w 58"/>
                        <a:gd name="T15" fmla="*/ 8 h 50"/>
                        <a:gd name="T16" fmla="*/ 9 w 58"/>
                        <a:gd name="T17" fmla="*/ 8 h 50"/>
                        <a:gd name="T18" fmla="*/ 9 w 58"/>
                        <a:gd name="T19" fmla="*/ 8 h 50"/>
                        <a:gd name="T20" fmla="*/ 9 w 58"/>
                        <a:gd name="T21" fmla="*/ 8 h 50"/>
                        <a:gd name="T22" fmla="*/ 9 w 58"/>
                        <a:gd name="T23" fmla="*/ 8 h 50"/>
                        <a:gd name="T24" fmla="*/ 9 w 58"/>
                        <a:gd name="T25" fmla="*/ 8 h 50"/>
                        <a:gd name="T26" fmla="*/ 10 w 58"/>
                        <a:gd name="T27" fmla="*/ 8 h 50"/>
                        <a:gd name="T28" fmla="*/ 11 w 58"/>
                        <a:gd name="T29" fmla="*/ 8 h 50"/>
                        <a:gd name="T30" fmla="*/ 10 w 58"/>
                        <a:gd name="T31" fmla="*/ 8 h 50"/>
                        <a:gd name="T32" fmla="*/ 11 w 58"/>
                        <a:gd name="T33" fmla="*/ 8 h 50"/>
                        <a:gd name="T34" fmla="*/ 11 w 58"/>
                        <a:gd name="T35" fmla="*/ 8 h 50"/>
                        <a:gd name="T36" fmla="*/ 9 w 58"/>
                        <a:gd name="T37" fmla="*/ 8 h 50"/>
                        <a:gd name="T38" fmla="*/ 9 w 58"/>
                        <a:gd name="T39" fmla="*/ 8 h 50"/>
                        <a:gd name="T40" fmla="*/ 10 w 58"/>
                        <a:gd name="T41" fmla="*/ 8 h 50"/>
                        <a:gd name="T42" fmla="*/ 10 w 58"/>
                        <a:gd name="T43" fmla="*/ 5 h 50"/>
                        <a:gd name="T44" fmla="*/ 9 w 58"/>
                        <a:gd name="T45" fmla="*/ 5 h 50"/>
                        <a:gd name="T46" fmla="*/ 9 w 58"/>
                        <a:gd name="T47" fmla="*/ 5 h 50"/>
                        <a:gd name="T48" fmla="*/ 9 w 58"/>
                        <a:gd name="T49" fmla="*/ 5 h 50"/>
                        <a:gd name="T50" fmla="*/ 9 w 58"/>
                        <a:gd name="T51" fmla="*/ 0 h 50"/>
                        <a:gd name="T52" fmla="*/ 9 w 58"/>
                        <a:gd name="T53" fmla="*/ 0 h 50"/>
                        <a:gd name="T54" fmla="*/ 9 w 58"/>
                        <a:gd name="T55" fmla="*/ 5 h 50"/>
                        <a:gd name="T56" fmla="*/ 9 w 58"/>
                        <a:gd name="T57" fmla="*/ 0 h 50"/>
                        <a:gd name="T58" fmla="*/ 9 w 58"/>
                        <a:gd name="T59" fmla="*/ 0 h 50"/>
                        <a:gd name="T60" fmla="*/ 9 w 58"/>
                        <a:gd name="T61" fmla="*/ 0 h 50"/>
                        <a:gd name="T62" fmla="*/ 9 w 58"/>
                        <a:gd name="T63" fmla="*/ 0 h 50"/>
                        <a:gd name="T64" fmla="*/ 9 w 58"/>
                        <a:gd name="T65" fmla="*/ 5 h 50"/>
                        <a:gd name="T66" fmla="*/ 5 w 58"/>
                        <a:gd name="T67" fmla="*/ 0 h 50"/>
                        <a:gd name="T68" fmla="*/ 5 w 58"/>
                        <a:gd name="T69" fmla="*/ 0 h 50"/>
                        <a:gd name="T70" fmla="*/ 0 w 58"/>
                        <a:gd name="T71" fmla="*/ 8 h 50"/>
                        <a:gd name="T72" fmla="*/ 5 w 58"/>
                        <a:gd name="T73" fmla="*/ 8 h 50"/>
                        <a:gd name="T74" fmla="*/ 9 w 58"/>
                        <a:gd name="T75" fmla="*/ 8 h 50"/>
                        <a:gd name="T76" fmla="*/ 9 w 58"/>
                        <a:gd name="T77" fmla="*/ 8 h 50"/>
                        <a:gd name="T78" fmla="*/ 9 w 58"/>
                        <a:gd name="T79" fmla="*/ 8 h 50"/>
                        <a:gd name="T80" fmla="*/ 9 w 58"/>
                        <a:gd name="T81" fmla="*/ 8 h 50"/>
                        <a:gd name="T82" fmla="*/ 9 w 58"/>
                        <a:gd name="T83" fmla="*/ 8 h 50"/>
                        <a:gd name="T84" fmla="*/ 9 w 58"/>
                        <a:gd name="T85" fmla="*/ 8 h 50"/>
                        <a:gd name="T86" fmla="*/ 9 w 58"/>
                        <a:gd name="T87" fmla="*/ 8 h 50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w 58"/>
                        <a:gd name="T133" fmla="*/ 0 h 50"/>
                        <a:gd name="T134" fmla="*/ 58 w 58"/>
                        <a:gd name="T135" fmla="*/ 50 h 50"/>
                      </a:gdLst>
                      <a:ahLst/>
                      <a:cxnLst>
                        <a:cxn ang="T88">
                          <a:pos x="T0" y="T1"/>
                        </a:cxn>
                        <a:cxn ang="T89">
                          <a:pos x="T2" y="T3"/>
                        </a:cxn>
                        <a:cxn ang="T90">
                          <a:pos x="T4" y="T5"/>
                        </a:cxn>
                        <a:cxn ang="T91">
                          <a:pos x="T6" y="T7"/>
                        </a:cxn>
                        <a:cxn ang="T92">
                          <a:pos x="T8" y="T9"/>
                        </a:cxn>
                        <a:cxn ang="T93">
                          <a:pos x="T10" y="T11"/>
                        </a:cxn>
                        <a:cxn ang="T94">
                          <a:pos x="T12" y="T13"/>
                        </a:cxn>
                        <a:cxn ang="T95">
                          <a:pos x="T14" y="T15"/>
                        </a:cxn>
                        <a:cxn ang="T96">
                          <a:pos x="T16" y="T17"/>
                        </a:cxn>
                        <a:cxn ang="T97">
                          <a:pos x="T18" y="T19"/>
                        </a:cxn>
                        <a:cxn ang="T98">
                          <a:pos x="T20" y="T21"/>
                        </a:cxn>
                        <a:cxn ang="T99">
                          <a:pos x="T22" y="T23"/>
                        </a:cxn>
                        <a:cxn ang="T100">
                          <a:pos x="T24" y="T25"/>
                        </a:cxn>
                        <a:cxn ang="T101">
                          <a:pos x="T26" y="T27"/>
                        </a:cxn>
                        <a:cxn ang="T102">
                          <a:pos x="T28" y="T29"/>
                        </a:cxn>
                        <a:cxn ang="T103">
                          <a:pos x="T30" y="T31"/>
                        </a:cxn>
                        <a:cxn ang="T104">
                          <a:pos x="T32" y="T33"/>
                        </a:cxn>
                        <a:cxn ang="T105">
                          <a:pos x="T34" y="T35"/>
                        </a:cxn>
                        <a:cxn ang="T106">
                          <a:pos x="T36" y="T37"/>
                        </a:cxn>
                        <a:cxn ang="T107">
                          <a:pos x="T38" y="T39"/>
                        </a:cxn>
                        <a:cxn ang="T108">
                          <a:pos x="T40" y="T41"/>
                        </a:cxn>
                        <a:cxn ang="T109">
                          <a:pos x="T42" y="T43"/>
                        </a:cxn>
                        <a:cxn ang="T110">
                          <a:pos x="T44" y="T45"/>
                        </a:cxn>
                        <a:cxn ang="T111">
                          <a:pos x="T46" y="T47"/>
                        </a:cxn>
                        <a:cxn ang="T112">
                          <a:pos x="T48" y="T49"/>
                        </a:cxn>
                        <a:cxn ang="T113">
                          <a:pos x="T50" y="T51"/>
                        </a:cxn>
                        <a:cxn ang="T114">
                          <a:pos x="T52" y="T53"/>
                        </a:cxn>
                        <a:cxn ang="T115">
                          <a:pos x="T54" y="T55"/>
                        </a:cxn>
                        <a:cxn ang="T116">
                          <a:pos x="T56" y="T57"/>
                        </a:cxn>
                        <a:cxn ang="T117">
                          <a:pos x="T58" y="T59"/>
                        </a:cxn>
                        <a:cxn ang="T118">
                          <a:pos x="T60" y="T61"/>
                        </a:cxn>
                        <a:cxn ang="T119">
                          <a:pos x="T62" y="T63"/>
                        </a:cxn>
                        <a:cxn ang="T120">
                          <a:pos x="T64" y="T65"/>
                        </a:cxn>
                        <a:cxn ang="T121">
                          <a:pos x="T66" y="T67"/>
                        </a:cxn>
                        <a:cxn ang="T122">
                          <a:pos x="T68" y="T69"/>
                        </a:cxn>
                        <a:cxn ang="T123">
                          <a:pos x="T70" y="T71"/>
                        </a:cxn>
                        <a:cxn ang="T124">
                          <a:pos x="T72" y="T73"/>
                        </a:cxn>
                        <a:cxn ang="T125">
                          <a:pos x="T74" y="T75"/>
                        </a:cxn>
                        <a:cxn ang="T126">
                          <a:pos x="T76" y="T77"/>
                        </a:cxn>
                        <a:cxn ang="T127">
                          <a:pos x="T78" y="T79"/>
                        </a:cxn>
                        <a:cxn ang="T128">
                          <a:pos x="T80" y="T81"/>
                        </a:cxn>
                        <a:cxn ang="T129">
                          <a:pos x="T82" y="T83"/>
                        </a:cxn>
                        <a:cxn ang="T130">
                          <a:pos x="T84" y="T85"/>
                        </a:cxn>
                        <a:cxn ang="T131">
                          <a:pos x="T86" y="T87"/>
                        </a:cxn>
                      </a:cxnLst>
                      <a:rect l="T132" t="T133" r="T134" b="T135"/>
                      <a:pathLst>
                        <a:path w="58" h="50">
                          <a:moveTo>
                            <a:pt x="32" y="45"/>
                          </a:moveTo>
                          <a:lnTo>
                            <a:pt x="32" y="45"/>
                          </a:lnTo>
                          <a:lnTo>
                            <a:pt x="36" y="45"/>
                          </a:lnTo>
                          <a:lnTo>
                            <a:pt x="45" y="50"/>
                          </a:lnTo>
                          <a:lnTo>
                            <a:pt x="45" y="45"/>
                          </a:lnTo>
                          <a:lnTo>
                            <a:pt x="45" y="41"/>
                          </a:lnTo>
                          <a:lnTo>
                            <a:pt x="50" y="36"/>
                          </a:lnTo>
                          <a:lnTo>
                            <a:pt x="50" y="32"/>
                          </a:lnTo>
                          <a:lnTo>
                            <a:pt x="54" y="32"/>
                          </a:lnTo>
                          <a:lnTo>
                            <a:pt x="58" y="27"/>
                          </a:lnTo>
                          <a:lnTo>
                            <a:pt x="54" y="23"/>
                          </a:lnTo>
                          <a:lnTo>
                            <a:pt x="58" y="23"/>
                          </a:lnTo>
                          <a:lnTo>
                            <a:pt x="50" y="18"/>
                          </a:lnTo>
                          <a:lnTo>
                            <a:pt x="50" y="14"/>
                          </a:lnTo>
                          <a:lnTo>
                            <a:pt x="54" y="9"/>
                          </a:lnTo>
                          <a:lnTo>
                            <a:pt x="54" y="5"/>
                          </a:lnTo>
                          <a:lnTo>
                            <a:pt x="50" y="5"/>
                          </a:lnTo>
                          <a:lnTo>
                            <a:pt x="45" y="5"/>
                          </a:lnTo>
                          <a:lnTo>
                            <a:pt x="41" y="0"/>
                          </a:lnTo>
                          <a:lnTo>
                            <a:pt x="36" y="0"/>
                          </a:lnTo>
                          <a:lnTo>
                            <a:pt x="32" y="5"/>
                          </a:lnTo>
                          <a:lnTo>
                            <a:pt x="23" y="0"/>
                          </a:lnTo>
                          <a:lnTo>
                            <a:pt x="18" y="0"/>
                          </a:lnTo>
                          <a:lnTo>
                            <a:pt x="14" y="0"/>
                          </a:lnTo>
                          <a:lnTo>
                            <a:pt x="9" y="5"/>
                          </a:lnTo>
                          <a:lnTo>
                            <a:pt x="5" y="0"/>
                          </a:lnTo>
                          <a:lnTo>
                            <a:pt x="0" y="9"/>
                          </a:lnTo>
                          <a:lnTo>
                            <a:pt x="5" y="9"/>
                          </a:lnTo>
                          <a:lnTo>
                            <a:pt x="9" y="18"/>
                          </a:lnTo>
                          <a:lnTo>
                            <a:pt x="9" y="23"/>
                          </a:lnTo>
                          <a:lnTo>
                            <a:pt x="23" y="36"/>
                          </a:lnTo>
                          <a:lnTo>
                            <a:pt x="27" y="36"/>
                          </a:lnTo>
                          <a:lnTo>
                            <a:pt x="32" y="4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6" name="Freeform 184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79" y="1946"/>
                      <a:ext cx="84" cy="59"/>
                    </a:xfrm>
                    <a:custGeom>
                      <a:avLst/>
                      <a:gdLst>
                        <a:gd name="T0" fmla="*/ 4 w 89"/>
                        <a:gd name="T1" fmla="*/ 0 h 63"/>
                        <a:gd name="T2" fmla="*/ 0 w 89"/>
                        <a:gd name="T3" fmla="*/ 7 h 63"/>
                        <a:gd name="T4" fmla="*/ 8 w 89"/>
                        <a:gd name="T5" fmla="*/ 7 h 63"/>
                        <a:gd name="T6" fmla="*/ 8 w 89"/>
                        <a:gd name="T7" fmla="*/ 7 h 63"/>
                        <a:gd name="T8" fmla="*/ 4 w 89"/>
                        <a:gd name="T9" fmla="*/ 7 h 63"/>
                        <a:gd name="T10" fmla="*/ 4 w 89"/>
                        <a:gd name="T11" fmla="*/ 7 h 63"/>
                        <a:gd name="T12" fmla="*/ 8 w 89"/>
                        <a:gd name="T13" fmla="*/ 7 h 63"/>
                        <a:gd name="T14" fmla="*/ 8 w 89"/>
                        <a:gd name="T15" fmla="*/ 8 h 63"/>
                        <a:gd name="T16" fmla="*/ 8 w 89"/>
                        <a:gd name="T17" fmla="*/ 8 h 63"/>
                        <a:gd name="T18" fmla="*/ 8 w 89"/>
                        <a:gd name="T19" fmla="*/ 7 h 63"/>
                        <a:gd name="T20" fmla="*/ 8 w 89"/>
                        <a:gd name="T21" fmla="*/ 8 h 63"/>
                        <a:gd name="T22" fmla="*/ 8 w 89"/>
                        <a:gd name="T23" fmla="*/ 8 h 63"/>
                        <a:gd name="T24" fmla="*/ 8 w 89"/>
                        <a:gd name="T25" fmla="*/ 7 h 63"/>
                        <a:gd name="T26" fmla="*/ 13 w 89"/>
                        <a:gd name="T27" fmla="*/ 7 h 63"/>
                        <a:gd name="T28" fmla="*/ 14 w 89"/>
                        <a:gd name="T29" fmla="*/ 7 h 63"/>
                        <a:gd name="T30" fmla="*/ 16 w 89"/>
                        <a:gd name="T31" fmla="*/ 7 h 63"/>
                        <a:gd name="T32" fmla="*/ 15 w 89"/>
                        <a:gd name="T33" fmla="*/ 7 h 63"/>
                        <a:gd name="T34" fmla="*/ 14 w 89"/>
                        <a:gd name="T35" fmla="*/ 7 h 63"/>
                        <a:gd name="T36" fmla="*/ 15 w 89"/>
                        <a:gd name="T37" fmla="*/ 7 h 63"/>
                        <a:gd name="T38" fmla="*/ 15 w 89"/>
                        <a:gd name="T39" fmla="*/ 7 h 63"/>
                        <a:gd name="T40" fmla="*/ 17 w 89"/>
                        <a:gd name="T41" fmla="*/ 7 h 63"/>
                        <a:gd name="T42" fmla="*/ 17 w 89"/>
                        <a:gd name="T43" fmla="*/ 7 h 63"/>
                        <a:gd name="T44" fmla="*/ 13 w 89"/>
                        <a:gd name="T45" fmla="*/ 5 h 63"/>
                        <a:gd name="T46" fmla="*/ 9 w 89"/>
                        <a:gd name="T47" fmla="*/ 7 h 63"/>
                        <a:gd name="T48" fmla="*/ 8 w 89"/>
                        <a:gd name="T49" fmla="*/ 7 h 63"/>
                        <a:gd name="T50" fmla="*/ 8 w 89"/>
                        <a:gd name="T51" fmla="*/ 7 h 63"/>
                        <a:gd name="T52" fmla="*/ 8 w 89"/>
                        <a:gd name="T53" fmla="*/ 7 h 63"/>
                        <a:gd name="T54" fmla="*/ 8 w 89"/>
                        <a:gd name="T55" fmla="*/ 7 h 63"/>
                        <a:gd name="T56" fmla="*/ 8 w 89"/>
                        <a:gd name="T57" fmla="*/ 0 h 63"/>
                        <a:gd name="T58" fmla="*/ 4 w 89"/>
                        <a:gd name="T59" fmla="*/ 0 h 63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w 89"/>
                        <a:gd name="T91" fmla="*/ 0 h 63"/>
                        <a:gd name="T92" fmla="*/ 89 w 89"/>
                        <a:gd name="T93" fmla="*/ 63 h 63"/>
                      </a:gdLst>
                      <a:ahLst/>
                      <a:cxnLst>
                        <a:cxn ang="T60">
                          <a:pos x="T0" y="T1"/>
                        </a:cxn>
                        <a:cxn ang="T61">
                          <a:pos x="T2" y="T3"/>
                        </a:cxn>
                        <a:cxn ang="T62">
                          <a:pos x="T4" y="T5"/>
                        </a:cxn>
                        <a:cxn ang="T63">
                          <a:pos x="T6" y="T7"/>
                        </a:cxn>
                        <a:cxn ang="T64">
                          <a:pos x="T8" y="T9"/>
                        </a:cxn>
                        <a:cxn ang="T65">
                          <a:pos x="T10" y="T11"/>
                        </a:cxn>
                        <a:cxn ang="T66">
                          <a:pos x="T12" y="T13"/>
                        </a:cxn>
                        <a:cxn ang="T67">
                          <a:pos x="T14" y="T15"/>
                        </a:cxn>
                        <a:cxn ang="T68">
                          <a:pos x="T16" y="T17"/>
                        </a:cxn>
                        <a:cxn ang="T69">
                          <a:pos x="T18" y="T19"/>
                        </a:cxn>
                        <a:cxn ang="T70">
                          <a:pos x="T20" y="T21"/>
                        </a:cxn>
                        <a:cxn ang="T71">
                          <a:pos x="T22" y="T23"/>
                        </a:cxn>
                        <a:cxn ang="T72">
                          <a:pos x="T24" y="T25"/>
                        </a:cxn>
                        <a:cxn ang="T73">
                          <a:pos x="T26" y="T27"/>
                        </a:cxn>
                        <a:cxn ang="T74">
                          <a:pos x="T28" y="T29"/>
                        </a:cxn>
                        <a:cxn ang="T75">
                          <a:pos x="T30" y="T31"/>
                        </a:cxn>
                        <a:cxn ang="T76">
                          <a:pos x="T32" y="T33"/>
                        </a:cxn>
                        <a:cxn ang="T77">
                          <a:pos x="T34" y="T35"/>
                        </a:cxn>
                        <a:cxn ang="T78">
                          <a:pos x="T36" y="T37"/>
                        </a:cxn>
                        <a:cxn ang="T79">
                          <a:pos x="T38" y="T39"/>
                        </a:cxn>
                        <a:cxn ang="T80">
                          <a:pos x="T40" y="T41"/>
                        </a:cxn>
                        <a:cxn ang="T81">
                          <a:pos x="T42" y="T43"/>
                        </a:cxn>
                        <a:cxn ang="T82">
                          <a:pos x="T44" y="T45"/>
                        </a:cxn>
                        <a:cxn ang="T83">
                          <a:pos x="T46" y="T47"/>
                        </a:cxn>
                        <a:cxn ang="T84">
                          <a:pos x="T48" y="T49"/>
                        </a:cxn>
                        <a:cxn ang="T85">
                          <a:pos x="T50" y="T51"/>
                        </a:cxn>
                        <a:cxn ang="T86">
                          <a:pos x="T52" y="T53"/>
                        </a:cxn>
                        <a:cxn ang="T87">
                          <a:pos x="T54" y="T55"/>
                        </a:cxn>
                        <a:cxn ang="T88">
                          <a:pos x="T56" y="T57"/>
                        </a:cxn>
                        <a:cxn ang="T89">
                          <a:pos x="T58" y="T59"/>
                        </a:cxn>
                      </a:cxnLst>
                      <a:rect l="T90" t="T91" r="T92" b="T93"/>
                      <a:pathLst>
                        <a:path w="89" h="63">
                          <a:moveTo>
                            <a:pt x="4" y="0"/>
                          </a:moveTo>
                          <a:lnTo>
                            <a:pt x="0" y="18"/>
                          </a:lnTo>
                          <a:lnTo>
                            <a:pt x="13" y="27"/>
                          </a:lnTo>
                          <a:lnTo>
                            <a:pt x="13" y="32"/>
                          </a:lnTo>
                          <a:lnTo>
                            <a:pt x="4" y="36"/>
                          </a:lnTo>
                          <a:lnTo>
                            <a:pt x="4" y="45"/>
                          </a:lnTo>
                          <a:lnTo>
                            <a:pt x="13" y="49"/>
                          </a:lnTo>
                          <a:lnTo>
                            <a:pt x="13" y="63"/>
                          </a:lnTo>
                          <a:lnTo>
                            <a:pt x="22" y="63"/>
                          </a:lnTo>
                          <a:lnTo>
                            <a:pt x="31" y="58"/>
                          </a:lnTo>
                          <a:lnTo>
                            <a:pt x="40" y="63"/>
                          </a:lnTo>
                          <a:lnTo>
                            <a:pt x="53" y="63"/>
                          </a:lnTo>
                          <a:lnTo>
                            <a:pt x="53" y="54"/>
                          </a:lnTo>
                          <a:lnTo>
                            <a:pt x="71" y="45"/>
                          </a:lnTo>
                          <a:lnTo>
                            <a:pt x="76" y="49"/>
                          </a:lnTo>
                          <a:lnTo>
                            <a:pt x="85" y="49"/>
                          </a:lnTo>
                          <a:lnTo>
                            <a:pt x="80" y="36"/>
                          </a:lnTo>
                          <a:lnTo>
                            <a:pt x="76" y="36"/>
                          </a:lnTo>
                          <a:lnTo>
                            <a:pt x="80" y="32"/>
                          </a:lnTo>
                          <a:lnTo>
                            <a:pt x="80" y="18"/>
                          </a:lnTo>
                          <a:lnTo>
                            <a:pt x="89" y="18"/>
                          </a:lnTo>
                          <a:lnTo>
                            <a:pt x="89" y="14"/>
                          </a:lnTo>
                          <a:lnTo>
                            <a:pt x="71" y="5"/>
                          </a:lnTo>
                          <a:lnTo>
                            <a:pt x="58" y="9"/>
                          </a:lnTo>
                          <a:lnTo>
                            <a:pt x="49" y="18"/>
                          </a:lnTo>
                          <a:lnTo>
                            <a:pt x="35" y="18"/>
                          </a:lnTo>
                          <a:lnTo>
                            <a:pt x="22" y="14"/>
                          </a:lnTo>
                          <a:lnTo>
                            <a:pt x="9" y="9"/>
                          </a:lnTo>
                          <a:lnTo>
                            <a:pt x="9" y="0"/>
                          </a:lnTo>
                          <a:lnTo>
                            <a:pt x="4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7" name="Freeform 18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91" y="1693"/>
                      <a:ext cx="127" cy="114"/>
                    </a:xfrm>
                    <a:custGeom>
                      <a:avLst/>
                      <a:gdLst>
                        <a:gd name="T0" fmla="*/ 9 w 134"/>
                        <a:gd name="T1" fmla="*/ 20 h 121"/>
                        <a:gd name="T2" fmla="*/ 9 w 134"/>
                        <a:gd name="T3" fmla="*/ 18 h 121"/>
                        <a:gd name="T4" fmla="*/ 9 w 134"/>
                        <a:gd name="T5" fmla="*/ 20 h 121"/>
                        <a:gd name="T6" fmla="*/ 12 w 134"/>
                        <a:gd name="T7" fmla="*/ 20 h 121"/>
                        <a:gd name="T8" fmla="*/ 14 w 134"/>
                        <a:gd name="T9" fmla="*/ 20 h 121"/>
                        <a:gd name="T10" fmla="*/ 16 w 134"/>
                        <a:gd name="T11" fmla="*/ 20 h 121"/>
                        <a:gd name="T12" fmla="*/ 18 w 134"/>
                        <a:gd name="T13" fmla="*/ 20 h 121"/>
                        <a:gd name="T14" fmla="*/ 21 w 134"/>
                        <a:gd name="T15" fmla="*/ 20 h 121"/>
                        <a:gd name="T16" fmla="*/ 22 w 134"/>
                        <a:gd name="T17" fmla="*/ 20 h 121"/>
                        <a:gd name="T18" fmla="*/ 23 w 134"/>
                        <a:gd name="T19" fmla="*/ 17 h 121"/>
                        <a:gd name="T20" fmla="*/ 25 w 134"/>
                        <a:gd name="T21" fmla="*/ 17 h 121"/>
                        <a:gd name="T22" fmla="*/ 25 w 134"/>
                        <a:gd name="T23" fmla="*/ 13 h 121"/>
                        <a:gd name="T24" fmla="*/ 25 w 134"/>
                        <a:gd name="T25" fmla="*/ 14 h 121"/>
                        <a:gd name="T26" fmla="*/ 26 w 134"/>
                        <a:gd name="T27" fmla="*/ 12 h 121"/>
                        <a:gd name="T28" fmla="*/ 25 w 134"/>
                        <a:gd name="T29" fmla="*/ 10 h 121"/>
                        <a:gd name="T30" fmla="*/ 24 w 134"/>
                        <a:gd name="T31" fmla="*/ 8 h 121"/>
                        <a:gd name="T32" fmla="*/ 23 w 134"/>
                        <a:gd name="T33" fmla="*/ 8 h 121"/>
                        <a:gd name="T34" fmla="*/ 23 w 134"/>
                        <a:gd name="T35" fmla="*/ 8 h 121"/>
                        <a:gd name="T36" fmla="*/ 21 w 134"/>
                        <a:gd name="T37" fmla="*/ 8 h 121"/>
                        <a:gd name="T38" fmla="*/ 18 w 134"/>
                        <a:gd name="T39" fmla="*/ 5 h 121"/>
                        <a:gd name="T40" fmla="*/ 16 w 134"/>
                        <a:gd name="T41" fmla="*/ 0 h 121"/>
                        <a:gd name="T42" fmla="*/ 14 w 134"/>
                        <a:gd name="T43" fmla="*/ 0 h 121"/>
                        <a:gd name="T44" fmla="*/ 12 w 134"/>
                        <a:gd name="T45" fmla="*/ 8 h 121"/>
                        <a:gd name="T46" fmla="*/ 9 w 134"/>
                        <a:gd name="T47" fmla="*/ 8 h 121"/>
                        <a:gd name="T48" fmla="*/ 9 w 134"/>
                        <a:gd name="T49" fmla="*/ 8 h 121"/>
                        <a:gd name="T50" fmla="*/ 9 w 134"/>
                        <a:gd name="T51" fmla="*/ 8 h 121"/>
                        <a:gd name="T52" fmla="*/ 9 w 134"/>
                        <a:gd name="T53" fmla="*/ 8 h 121"/>
                        <a:gd name="T54" fmla="*/ 9 w 134"/>
                        <a:gd name="T55" fmla="*/ 8 h 121"/>
                        <a:gd name="T56" fmla="*/ 9 w 134"/>
                        <a:gd name="T57" fmla="*/ 8 h 121"/>
                        <a:gd name="T58" fmla="*/ 9 w 134"/>
                        <a:gd name="T59" fmla="*/ 8 h 121"/>
                        <a:gd name="T60" fmla="*/ 9 w 134"/>
                        <a:gd name="T61" fmla="*/ 12 h 121"/>
                        <a:gd name="T62" fmla="*/ 9 w 134"/>
                        <a:gd name="T63" fmla="*/ 16 h 121"/>
                        <a:gd name="T64" fmla="*/ 5 w 134"/>
                        <a:gd name="T65" fmla="*/ 18 h 121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134"/>
                        <a:gd name="T100" fmla="*/ 0 h 121"/>
                        <a:gd name="T101" fmla="*/ 134 w 134"/>
                        <a:gd name="T102" fmla="*/ 121 h 121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134" h="121">
                          <a:moveTo>
                            <a:pt x="5" y="112"/>
                          </a:moveTo>
                          <a:lnTo>
                            <a:pt x="13" y="116"/>
                          </a:lnTo>
                          <a:lnTo>
                            <a:pt x="18" y="107"/>
                          </a:lnTo>
                          <a:lnTo>
                            <a:pt x="22" y="103"/>
                          </a:lnTo>
                          <a:lnTo>
                            <a:pt x="36" y="107"/>
                          </a:lnTo>
                          <a:lnTo>
                            <a:pt x="45" y="112"/>
                          </a:lnTo>
                          <a:lnTo>
                            <a:pt x="58" y="107"/>
                          </a:lnTo>
                          <a:lnTo>
                            <a:pt x="63" y="112"/>
                          </a:lnTo>
                          <a:lnTo>
                            <a:pt x="67" y="121"/>
                          </a:lnTo>
                          <a:lnTo>
                            <a:pt x="67" y="116"/>
                          </a:lnTo>
                          <a:lnTo>
                            <a:pt x="76" y="116"/>
                          </a:lnTo>
                          <a:lnTo>
                            <a:pt x="76" y="112"/>
                          </a:lnTo>
                          <a:lnTo>
                            <a:pt x="80" y="116"/>
                          </a:lnTo>
                          <a:lnTo>
                            <a:pt x="85" y="112"/>
                          </a:lnTo>
                          <a:lnTo>
                            <a:pt x="89" y="121"/>
                          </a:lnTo>
                          <a:lnTo>
                            <a:pt x="98" y="116"/>
                          </a:lnTo>
                          <a:lnTo>
                            <a:pt x="107" y="121"/>
                          </a:lnTo>
                          <a:lnTo>
                            <a:pt x="107" y="116"/>
                          </a:lnTo>
                          <a:lnTo>
                            <a:pt x="107" y="112"/>
                          </a:lnTo>
                          <a:lnTo>
                            <a:pt x="112" y="99"/>
                          </a:lnTo>
                          <a:lnTo>
                            <a:pt x="121" y="103"/>
                          </a:lnTo>
                          <a:lnTo>
                            <a:pt x="121" y="94"/>
                          </a:lnTo>
                          <a:lnTo>
                            <a:pt x="116" y="81"/>
                          </a:lnTo>
                          <a:lnTo>
                            <a:pt x="121" y="76"/>
                          </a:lnTo>
                          <a:lnTo>
                            <a:pt x="125" y="81"/>
                          </a:lnTo>
                          <a:lnTo>
                            <a:pt x="130" y="76"/>
                          </a:lnTo>
                          <a:lnTo>
                            <a:pt x="134" y="72"/>
                          </a:lnTo>
                          <a:lnTo>
                            <a:pt x="130" y="72"/>
                          </a:lnTo>
                          <a:lnTo>
                            <a:pt x="125" y="63"/>
                          </a:lnTo>
                          <a:lnTo>
                            <a:pt x="116" y="67"/>
                          </a:lnTo>
                          <a:lnTo>
                            <a:pt x="116" y="54"/>
                          </a:lnTo>
                          <a:lnTo>
                            <a:pt x="112" y="49"/>
                          </a:lnTo>
                          <a:lnTo>
                            <a:pt x="112" y="45"/>
                          </a:lnTo>
                          <a:lnTo>
                            <a:pt x="112" y="36"/>
                          </a:lnTo>
                          <a:lnTo>
                            <a:pt x="112" y="31"/>
                          </a:lnTo>
                          <a:lnTo>
                            <a:pt x="107" y="18"/>
                          </a:lnTo>
                          <a:lnTo>
                            <a:pt x="98" y="9"/>
                          </a:lnTo>
                          <a:lnTo>
                            <a:pt x="89" y="14"/>
                          </a:lnTo>
                          <a:lnTo>
                            <a:pt x="85" y="5"/>
                          </a:lnTo>
                          <a:lnTo>
                            <a:pt x="76" y="5"/>
                          </a:lnTo>
                          <a:lnTo>
                            <a:pt x="76" y="0"/>
                          </a:lnTo>
                          <a:lnTo>
                            <a:pt x="72" y="0"/>
                          </a:lnTo>
                          <a:lnTo>
                            <a:pt x="67" y="0"/>
                          </a:lnTo>
                          <a:lnTo>
                            <a:pt x="63" y="9"/>
                          </a:lnTo>
                          <a:lnTo>
                            <a:pt x="58" y="14"/>
                          </a:lnTo>
                          <a:lnTo>
                            <a:pt x="45" y="18"/>
                          </a:lnTo>
                          <a:lnTo>
                            <a:pt x="45" y="23"/>
                          </a:lnTo>
                          <a:lnTo>
                            <a:pt x="49" y="27"/>
                          </a:lnTo>
                          <a:lnTo>
                            <a:pt x="45" y="27"/>
                          </a:lnTo>
                          <a:lnTo>
                            <a:pt x="40" y="31"/>
                          </a:lnTo>
                          <a:lnTo>
                            <a:pt x="36" y="40"/>
                          </a:lnTo>
                          <a:lnTo>
                            <a:pt x="31" y="45"/>
                          </a:lnTo>
                          <a:lnTo>
                            <a:pt x="31" y="54"/>
                          </a:lnTo>
                          <a:lnTo>
                            <a:pt x="27" y="49"/>
                          </a:lnTo>
                          <a:lnTo>
                            <a:pt x="22" y="54"/>
                          </a:lnTo>
                          <a:lnTo>
                            <a:pt x="13" y="49"/>
                          </a:lnTo>
                          <a:lnTo>
                            <a:pt x="5" y="58"/>
                          </a:lnTo>
                          <a:lnTo>
                            <a:pt x="9" y="72"/>
                          </a:lnTo>
                          <a:lnTo>
                            <a:pt x="13" y="81"/>
                          </a:lnTo>
                          <a:lnTo>
                            <a:pt x="13" y="90"/>
                          </a:lnTo>
                          <a:lnTo>
                            <a:pt x="0" y="94"/>
                          </a:lnTo>
                          <a:lnTo>
                            <a:pt x="5" y="103"/>
                          </a:lnTo>
                          <a:lnTo>
                            <a:pt x="5" y="11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8" name="Freeform 186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956" y="1905"/>
                      <a:ext cx="80" cy="76"/>
                    </a:xfrm>
                    <a:custGeom>
                      <a:avLst/>
                      <a:gdLst>
                        <a:gd name="T0" fmla="*/ 0 w 85"/>
                        <a:gd name="T1" fmla="*/ 10 h 80"/>
                        <a:gd name="T2" fmla="*/ 8 w 85"/>
                        <a:gd name="T3" fmla="*/ 10 h 80"/>
                        <a:gd name="T4" fmla="*/ 8 w 85"/>
                        <a:gd name="T5" fmla="*/ 10 h 80"/>
                        <a:gd name="T6" fmla="*/ 8 w 85"/>
                        <a:gd name="T7" fmla="*/ 10 h 80"/>
                        <a:gd name="T8" fmla="*/ 8 w 85"/>
                        <a:gd name="T9" fmla="*/ 10 h 80"/>
                        <a:gd name="T10" fmla="*/ 8 w 85"/>
                        <a:gd name="T11" fmla="*/ 13 h 80"/>
                        <a:gd name="T12" fmla="*/ 8 w 85"/>
                        <a:gd name="T13" fmla="*/ 15 h 80"/>
                        <a:gd name="T14" fmla="*/ 8 w 85"/>
                        <a:gd name="T15" fmla="*/ 13 h 80"/>
                        <a:gd name="T16" fmla="*/ 8 w 85"/>
                        <a:gd name="T17" fmla="*/ 15 h 80"/>
                        <a:gd name="T18" fmla="*/ 10 w 85"/>
                        <a:gd name="T19" fmla="*/ 16 h 80"/>
                        <a:gd name="T20" fmla="*/ 8 w 85"/>
                        <a:gd name="T21" fmla="*/ 13 h 80"/>
                        <a:gd name="T22" fmla="*/ 8 w 85"/>
                        <a:gd name="T23" fmla="*/ 13 h 80"/>
                        <a:gd name="T24" fmla="*/ 8 w 85"/>
                        <a:gd name="T25" fmla="*/ 10 h 80"/>
                        <a:gd name="T26" fmla="*/ 8 w 85"/>
                        <a:gd name="T27" fmla="*/ 10 h 80"/>
                        <a:gd name="T28" fmla="*/ 8 w 85"/>
                        <a:gd name="T29" fmla="*/ 10 h 80"/>
                        <a:gd name="T30" fmla="*/ 8 w 85"/>
                        <a:gd name="T31" fmla="*/ 10 h 80"/>
                        <a:gd name="T32" fmla="*/ 8 w 85"/>
                        <a:gd name="T33" fmla="*/ 10 h 80"/>
                        <a:gd name="T34" fmla="*/ 10 w 85"/>
                        <a:gd name="T35" fmla="*/ 10 h 80"/>
                        <a:gd name="T36" fmla="*/ 12 w 85"/>
                        <a:gd name="T37" fmla="*/ 10 h 80"/>
                        <a:gd name="T38" fmla="*/ 13 w 85"/>
                        <a:gd name="T39" fmla="*/ 10 h 80"/>
                        <a:gd name="T40" fmla="*/ 14 w 85"/>
                        <a:gd name="T41" fmla="*/ 10 h 80"/>
                        <a:gd name="T42" fmla="*/ 15 w 85"/>
                        <a:gd name="T43" fmla="*/ 10 h 80"/>
                        <a:gd name="T44" fmla="*/ 14 w 85"/>
                        <a:gd name="T45" fmla="*/ 10 h 80"/>
                        <a:gd name="T46" fmla="*/ 14 w 85"/>
                        <a:gd name="T47" fmla="*/ 10 h 80"/>
                        <a:gd name="T48" fmla="*/ 13 w 85"/>
                        <a:gd name="T49" fmla="*/ 10 h 80"/>
                        <a:gd name="T50" fmla="*/ 8 w 85"/>
                        <a:gd name="T51" fmla="*/ 10 h 80"/>
                        <a:gd name="T52" fmla="*/ 8 w 85"/>
                        <a:gd name="T53" fmla="*/ 4 h 80"/>
                        <a:gd name="T54" fmla="*/ 8 w 85"/>
                        <a:gd name="T55" fmla="*/ 0 h 80"/>
                        <a:gd name="T56" fmla="*/ 8 w 85"/>
                        <a:gd name="T57" fmla="*/ 4 h 80"/>
                        <a:gd name="T58" fmla="*/ 8 w 85"/>
                        <a:gd name="T59" fmla="*/ 9 h 80"/>
                        <a:gd name="T60" fmla="*/ 8 w 85"/>
                        <a:gd name="T61" fmla="*/ 9 h 80"/>
                        <a:gd name="T62" fmla="*/ 8 w 85"/>
                        <a:gd name="T63" fmla="*/ 10 h 80"/>
                        <a:gd name="T64" fmla="*/ 8 w 85"/>
                        <a:gd name="T65" fmla="*/ 10 h 80"/>
                        <a:gd name="T66" fmla="*/ 8 w 85"/>
                        <a:gd name="T67" fmla="*/ 10 h 80"/>
                        <a:gd name="T68" fmla="*/ 8 w 85"/>
                        <a:gd name="T69" fmla="*/ 10 h 80"/>
                        <a:gd name="T70" fmla="*/ 5 w 85"/>
                        <a:gd name="T71" fmla="*/ 10 h 80"/>
                        <a:gd name="T72" fmla="*/ 10 w 85"/>
                        <a:gd name="T73" fmla="*/ 16 h 80"/>
                        <a:gd name="T74" fmla="*/ 12 w 85"/>
                        <a:gd name="T75" fmla="*/ 18 h 80"/>
                        <a:gd name="T76" fmla="*/ 13 w 85"/>
                        <a:gd name="T77" fmla="*/ 17 h 80"/>
                        <a:gd name="T78" fmla="*/ 10 w 85"/>
                        <a:gd name="T79" fmla="*/ 16 h 80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w 85"/>
                        <a:gd name="T121" fmla="*/ 0 h 80"/>
                        <a:gd name="T122" fmla="*/ 85 w 85"/>
                        <a:gd name="T123" fmla="*/ 80 h 80"/>
                      </a:gdLst>
                      <a:ahLst/>
                      <a:cxnLst>
                        <a:cxn ang="T80">
                          <a:pos x="T0" y="T1"/>
                        </a:cxn>
                        <a:cxn ang="T81">
                          <a:pos x="T2" y="T3"/>
                        </a:cxn>
                        <a:cxn ang="T82">
                          <a:pos x="T4" y="T5"/>
                        </a:cxn>
                        <a:cxn ang="T83">
                          <a:pos x="T6" y="T7"/>
                        </a:cxn>
                        <a:cxn ang="T84">
                          <a:pos x="T8" y="T9"/>
                        </a:cxn>
                        <a:cxn ang="T85">
                          <a:pos x="T10" y="T11"/>
                        </a:cxn>
                        <a:cxn ang="T86">
                          <a:pos x="T12" y="T13"/>
                        </a:cxn>
                        <a:cxn ang="T87">
                          <a:pos x="T14" y="T15"/>
                        </a:cxn>
                        <a:cxn ang="T88">
                          <a:pos x="T16" y="T17"/>
                        </a:cxn>
                        <a:cxn ang="T89">
                          <a:pos x="T18" y="T19"/>
                        </a:cxn>
                        <a:cxn ang="T90">
                          <a:pos x="T20" y="T21"/>
                        </a:cxn>
                        <a:cxn ang="T91">
                          <a:pos x="T22" y="T23"/>
                        </a:cxn>
                        <a:cxn ang="T92">
                          <a:pos x="T24" y="T25"/>
                        </a:cxn>
                        <a:cxn ang="T93">
                          <a:pos x="T26" y="T27"/>
                        </a:cxn>
                        <a:cxn ang="T94">
                          <a:pos x="T28" y="T29"/>
                        </a:cxn>
                        <a:cxn ang="T95">
                          <a:pos x="T30" y="T31"/>
                        </a:cxn>
                        <a:cxn ang="T96">
                          <a:pos x="T32" y="T33"/>
                        </a:cxn>
                        <a:cxn ang="T97">
                          <a:pos x="T34" y="T35"/>
                        </a:cxn>
                        <a:cxn ang="T98">
                          <a:pos x="T36" y="T37"/>
                        </a:cxn>
                        <a:cxn ang="T99">
                          <a:pos x="T38" y="T39"/>
                        </a:cxn>
                        <a:cxn ang="T100">
                          <a:pos x="T40" y="T41"/>
                        </a:cxn>
                        <a:cxn ang="T101">
                          <a:pos x="T42" y="T43"/>
                        </a:cxn>
                        <a:cxn ang="T102">
                          <a:pos x="T44" y="T45"/>
                        </a:cxn>
                        <a:cxn ang="T103">
                          <a:pos x="T46" y="T47"/>
                        </a:cxn>
                        <a:cxn ang="T104">
                          <a:pos x="T48" y="T49"/>
                        </a:cxn>
                        <a:cxn ang="T105">
                          <a:pos x="T50" y="T51"/>
                        </a:cxn>
                        <a:cxn ang="T106">
                          <a:pos x="T52" y="T53"/>
                        </a:cxn>
                        <a:cxn ang="T107">
                          <a:pos x="T54" y="T55"/>
                        </a:cxn>
                        <a:cxn ang="T108">
                          <a:pos x="T56" y="T57"/>
                        </a:cxn>
                        <a:cxn ang="T109">
                          <a:pos x="T58" y="T59"/>
                        </a:cxn>
                        <a:cxn ang="T110">
                          <a:pos x="T60" y="T61"/>
                        </a:cxn>
                        <a:cxn ang="T111">
                          <a:pos x="T62" y="T63"/>
                        </a:cxn>
                        <a:cxn ang="T112">
                          <a:pos x="T64" y="T65"/>
                        </a:cxn>
                        <a:cxn ang="T113">
                          <a:pos x="T66" y="T67"/>
                        </a:cxn>
                        <a:cxn ang="T114">
                          <a:pos x="T68" y="T69"/>
                        </a:cxn>
                        <a:cxn ang="T115">
                          <a:pos x="T70" y="T71"/>
                        </a:cxn>
                        <a:cxn ang="T116">
                          <a:pos x="T72" y="T73"/>
                        </a:cxn>
                        <a:cxn ang="T117">
                          <a:pos x="T74" y="T75"/>
                        </a:cxn>
                        <a:cxn ang="T118">
                          <a:pos x="T76" y="T77"/>
                        </a:cxn>
                        <a:cxn ang="T119">
                          <a:pos x="T78" y="T79"/>
                        </a:cxn>
                      </a:cxnLst>
                      <a:rect l="T120" t="T121" r="T122" b="T123"/>
                      <a:pathLst>
                        <a:path w="85" h="80">
                          <a:moveTo>
                            <a:pt x="5" y="22"/>
                          </a:moveTo>
                          <a:lnTo>
                            <a:pt x="0" y="22"/>
                          </a:lnTo>
                          <a:lnTo>
                            <a:pt x="5" y="35"/>
                          </a:lnTo>
                          <a:lnTo>
                            <a:pt x="9" y="35"/>
                          </a:lnTo>
                          <a:lnTo>
                            <a:pt x="14" y="26"/>
                          </a:lnTo>
                          <a:lnTo>
                            <a:pt x="22" y="31"/>
                          </a:lnTo>
                          <a:lnTo>
                            <a:pt x="18" y="35"/>
                          </a:lnTo>
                          <a:lnTo>
                            <a:pt x="27" y="44"/>
                          </a:lnTo>
                          <a:lnTo>
                            <a:pt x="22" y="44"/>
                          </a:lnTo>
                          <a:lnTo>
                            <a:pt x="22" y="53"/>
                          </a:lnTo>
                          <a:lnTo>
                            <a:pt x="31" y="49"/>
                          </a:lnTo>
                          <a:lnTo>
                            <a:pt x="36" y="62"/>
                          </a:lnTo>
                          <a:lnTo>
                            <a:pt x="45" y="62"/>
                          </a:lnTo>
                          <a:lnTo>
                            <a:pt x="45" y="67"/>
                          </a:lnTo>
                          <a:lnTo>
                            <a:pt x="54" y="67"/>
                          </a:lnTo>
                          <a:lnTo>
                            <a:pt x="45" y="62"/>
                          </a:lnTo>
                          <a:lnTo>
                            <a:pt x="49" y="62"/>
                          </a:lnTo>
                          <a:lnTo>
                            <a:pt x="54" y="67"/>
                          </a:lnTo>
                          <a:lnTo>
                            <a:pt x="54" y="71"/>
                          </a:lnTo>
                          <a:lnTo>
                            <a:pt x="63" y="71"/>
                          </a:lnTo>
                          <a:lnTo>
                            <a:pt x="58" y="62"/>
                          </a:lnTo>
                          <a:lnTo>
                            <a:pt x="54" y="62"/>
                          </a:lnTo>
                          <a:lnTo>
                            <a:pt x="40" y="49"/>
                          </a:lnTo>
                          <a:lnTo>
                            <a:pt x="40" y="44"/>
                          </a:lnTo>
                          <a:lnTo>
                            <a:pt x="36" y="35"/>
                          </a:lnTo>
                          <a:lnTo>
                            <a:pt x="31" y="35"/>
                          </a:lnTo>
                          <a:lnTo>
                            <a:pt x="36" y="26"/>
                          </a:lnTo>
                          <a:lnTo>
                            <a:pt x="40" y="31"/>
                          </a:lnTo>
                          <a:lnTo>
                            <a:pt x="45" y="26"/>
                          </a:lnTo>
                          <a:lnTo>
                            <a:pt x="49" y="26"/>
                          </a:lnTo>
                          <a:lnTo>
                            <a:pt x="54" y="26"/>
                          </a:lnTo>
                          <a:lnTo>
                            <a:pt x="63" y="31"/>
                          </a:lnTo>
                          <a:lnTo>
                            <a:pt x="67" y="26"/>
                          </a:lnTo>
                          <a:lnTo>
                            <a:pt x="72" y="26"/>
                          </a:lnTo>
                          <a:lnTo>
                            <a:pt x="76" y="31"/>
                          </a:lnTo>
                          <a:lnTo>
                            <a:pt x="81" y="31"/>
                          </a:lnTo>
                          <a:lnTo>
                            <a:pt x="81" y="26"/>
                          </a:lnTo>
                          <a:lnTo>
                            <a:pt x="85" y="26"/>
                          </a:lnTo>
                          <a:lnTo>
                            <a:pt x="85" y="22"/>
                          </a:lnTo>
                          <a:lnTo>
                            <a:pt x="81" y="22"/>
                          </a:lnTo>
                          <a:lnTo>
                            <a:pt x="81" y="18"/>
                          </a:lnTo>
                          <a:lnTo>
                            <a:pt x="81" y="13"/>
                          </a:lnTo>
                          <a:lnTo>
                            <a:pt x="76" y="13"/>
                          </a:lnTo>
                          <a:lnTo>
                            <a:pt x="67" y="18"/>
                          </a:lnTo>
                          <a:lnTo>
                            <a:pt x="49" y="13"/>
                          </a:lnTo>
                          <a:lnTo>
                            <a:pt x="45" y="4"/>
                          </a:lnTo>
                          <a:lnTo>
                            <a:pt x="40" y="0"/>
                          </a:lnTo>
                          <a:lnTo>
                            <a:pt x="40" y="4"/>
                          </a:lnTo>
                          <a:lnTo>
                            <a:pt x="36" y="4"/>
                          </a:lnTo>
                          <a:lnTo>
                            <a:pt x="36" y="9"/>
                          </a:lnTo>
                          <a:lnTo>
                            <a:pt x="31" y="9"/>
                          </a:lnTo>
                          <a:lnTo>
                            <a:pt x="31" y="13"/>
                          </a:lnTo>
                          <a:lnTo>
                            <a:pt x="27" y="18"/>
                          </a:lnTo>
                          <a:lnTo>
                            <a:pt x="27" y="22"/>
                          </a:lnTo>
                          <a:lnTo>
                            <a:pt x="22" y="22"/>
                          </a:lnTo>
                          <a:lnTo>
                            <a:pt x="18" y="18"/>
                          </a:lnTo>
                          <a:lnTo>
                            <a:pt x="14" y="22"/>
                          </a:lnTo>
                          <a:lnTo>
                            <a:pt x="5" y="22"/>
                          </a:lnTo>
                          <a:close/>
                          <a:moveTo>
                            <a:pt x="63" y="71"/>
                          </a:moveTo>
                          <a:lnTo>
                            <a:pt x="72" y="80"/>
                          </a:lnTo>
                          <a:lnTo>
                            <a:pt x="76" y="80"/>
                          </a:lnTo>
                          <a:lnTo>
                            <a:pt x="76" y="76"/>
                          </a:lnTo>
                          <a:lnTo>
                            <a:pt x="67" y="71"/>
                          </a:lnTo>
                          <a:lnTo>
                            <a:pt x="63" y="7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9" name="Freeform 18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214" y="2103"/>
                      <a:ext cx="33" cy="17"/>
                    </a:xfrm>
                    <a:custGeom>
                      <a:avLst/>
                      <a:gdLst>
                        <a:gd name="T0" fmla="*/ 8 w 35"/>
                        <a:gd name="T1" fmla="*/ 9 h 18"/>
                        <a:gd name="T2" fmla="*/ 8 w 35"/>
                        <a:gd name="T3" fmla="*/ 9 h 18"/>
                        <a:gd name="T4" fmla="*/ 0 w 35"/>
                        <a:gd name="T5" fmla="*/ 9 h 18"/>
                        <a:gd name="T6" fmla="*/ 4 w 35"/>
                        <a:gd name="T7" fmla="*/ 9 h 18"/>
                        <a:gd name="T8" fmla="*/ 8 w 35"/>
                        <a:gd name="T9" fmla="*/ 9 h 18"/>
                        <a:gd name="T10" fmla="*/ 8 w 35"/>
                        <a:gd name="T11" fmla="*/ 9 h 18"/>
                        <a:gd name="T12" fmla="*/ 8 w 35"/>
                        <a:gd name="T13" fmla="*/ 9 h 18"/>
                        <a:gd name="T14" fmla="*/ 8 w 35"/>
                        <a:gd name="T15" fmla="*/ 0 h 18"/>
                        <a:gd name="T16" fmla="*/ 8 w 35"/>
                        <a:gd name="T17" fmla="*/ 0 h 18"/>
                        <a:gd name="T18" fmla="*/ 8 w 35"/>
                        <a:gd name="T19" fmla="*/ 0 h 18"/>
                        <a:gd name="T20" fmla="*/ 8 w 35"/>
                        <a:gd name="T21" fmla="*/ 9 h 18"/>
                        <a:gd name="T22" fmla="*/ 8 w 35"/>
                        <a:gd name="T23" fmla="*/ 9 h 18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w 35"/>
                        <a:gd name="T37" fmla="*/ 0 h 18"/>
                        <a:gd name="T38" fmla="*/ 35 w 35"/>
                        <a:gd name="T39" fmla="*/ 18 h 18"/>
                      </a:gdLst>
                      <a:ahLst/>
                      <a:cxnLst>
                        <a:cxn ang="T24">
                          <a:pos x="T0" y="T1"/>
                        </a:cxn>
                        <a:cxn ang="T25">
                          <a:pos x="T2" y="T3"/>
                        </a:cxn>
                        <a:cxn ang="T26">
                          <a:pos x="T4" y="T5"/>
                        </a:cxn>
                        <a:cxn ang="T27">
                          <a:pos x="T6" y="T7"/>
                        </a:cxn>
                        <a:cxn ang="T28">
                          <a:pos x="T8" y="T9"/>
                        </a:cxn>
                        <a:cxn ang="T29">
                          <a:pos x="T10" y="T11"/>
                        </a:cxn>
                        <a:cxn ang="T30">
                          <a:pos x="T12" y="T13"/>
                        </a:cxn>
                        <a:cxn ang="T31">
                          <a:pos x="T14" y="T15"/>
                        </a:cxn>
                        <a:cxn ang="T32">
                          <a:pos x="T16" y="T17"/>
                        </a:cxn>
                        <a:cxn ang="T33">
                          <a:pos x="T18" y="T19"/>
                        </a:cxn>
                        <a:cxn ang="T34">
                          <a:pos x="T20" y="T21"/>
                        </a:cxn>
                        <a:cxn ang="T35">
                          <a:pos x="T22" y="T23"/>
                        </a:cxn>
                      </a:cxnLst>
                      <a:rect l="T36" t="T37" r="T38" b="T39"/>
                      <a:pathLst>
                        <a:path w="35" h="18">
                          <a:moveTo>
                            <a:pt x="9" y="9"/>
                          </a:moveTo>
                          <a:lnTo>
                            <a:pt x="9" y="9"/>
                          </a:lnTo>
                          <a:lnTo>
                            <a:pt x="0" y="13"/>
                          </a:lnTo>
                          <a:lnTo>
                            <a:pt x="4" y="18"/>
                          </a:lnTo>
                          <a:lnTo>
                            <a:pt x="13" y="18"/>
                          </a:lnTo>
                          <a:lnTo>
                            <a:pt x="22" y="13"/>
                          </a:lnTo>
                          <a:lnTo>
                            <a:pt x="22" y="9"/>
                          </a:lnTo>
                          <a:lnTo>
                            <a:pt x="35" y="0"/>
                          </a:lnTo>
                          <a:lnTo>
                            <a:pt x="31" y="0"/>
                          </a:lnTo>
                          <a:lnTo>
                            <a:pt x="26" y="0"/>
                          </a:lnTo>
                          <a:lnTo>
                            <a:pt x="17" y="9"/>
                          </a:lnTo>
                          <a:lnTo>
                            <a:pt x="9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0" name="Freeform 188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39" y="1816"/>
                      <a:ext cx="89" cy="50"/>
                    </a:xfrm>
                    <a:custGeom>
                      <a:avLst/>
                      <a:gdLst>
                        <a:gd name="T0" fmla="*/ 9 w 94"/>
                        <a:gd name="T1" fmla="*/ 0 h 53"/>
                        <a:gd name="T2" fmla="*/ 9 w 94"/>
                        <a:gd name="T3" fmla="*/ 0 h 53"/>
                        <a:gd name="T4" fmla="*/ 9 w 94"/>
                        <a:gd name="T5" fmla="*/ 8 h 53"/>
                        <a:gd name="T6" fmla="*/ 9 w 94"/>
                        <a:gd name="T7" fmla="*/ 8 h 53"/>
                        <a:gd name="T8" fmla="*/ 9 w 94"/>
                        <a:gd name="T9" fmla="*/ 8 h 53"/>
                        <a:gd name="T10" fmla="*/ 5 w 94"/>
                        <a:gd name="T11" fmla="*/ 8 h 53"/>
                        <a:gd name="T12" fmla="*/ 0 w 94"/>
                        <a:gd name="T13" fmla="*/ 8 h 53"/>
                        <a:gd name="T14" fmla="*/ 5 w 94"/>
                        <a:gd name="T15" fmla="*/ 8 h 53"/>
                        <a:gd name="T16" fmla="*/ 9 w 94"/>
                        <a:gd name="T17" fmla="*/ 8 h 53"/>
                        <a:gd name="T18" fmla="*/ 9 w 94"/>
                        <a:gd name="T19" fmla="*/ 8 h 53"/>
                        <a:gd name="T20" fmla="*/ 9 w 94"/>
                        <a:gd name="T21" fmla="*/ 8 h 53"/>
                        <a:gd name="T22" fmla="*/ 9 w 94"/>
                        <a:gd name="T23" fmla="*/ 8 h 53"/>
                        <a:gd name="T24" fmla="*/ 9 w 94"/>
                        <a:gd name="T25" fmla="*/ 8 h 53"/>
                        <a:gd name="T26" fmla="*/ 9 w 94"/>
                        <a:gd name="T27" fmla="*/ 8 h 53"/>
                        <a:gd name="T28" fmla="*/ 13 w 94"/>
                        <a:gd name="T29" fmla="*/ 8 h 53"/>
                        <a:gd name="T30" fmla="*/ 13 w 94"/>
                        <a:gd name="T31" fmla="*/ 8 h 53"/>
                        <a:gd name="T32" fmla="*/ 15 w 94"/>
                        <a:gd name="T33" fmla="*/ 8 h 53"/>
                        <a:gd name="T34" fmla="*/ 17 w 94"/>
                        <a:gd name="T35" fmla="*/ 8 h 53"/>
                        <a:gd name="T36" fmla="*/ 18 w 94"/>
                        <a:gd name="T37" fmla="*/ 8 h 53"/>
                        <a:gd name="T38" fmla="*/ 19 w 94"/>
                        <a:gd name="T39" fmla="*/ 8 h 53"/>
                        <a:gd name="T40" fmla="*/ 20 w 94"/>
                        <a:gd name="T41" fmla="*/ 8 h 53"/>
                        <a:gd name="T42" fmla="*/ 20 w 94"/>
                        <a:gd name="T43" fmla="*/ 8 h 53"/>
                        <a:gd name="T44" fmla="*/ 18 w 94"/>
                        <a:gd name="T45" fmla="*/ 8 h 53"/>
                        <a:gd name="T46" fmla="*/ 17 w 94"/>
                        <a:gd name="T47" fmla="*/ 8 h 53"/>
                        <a:gd name="T48" fmla="*/ 15 w 94"/>
                        <a:gd name="T49" fmla="*/ 8 h 53"/>
                        <a:gd name="T50" fmla="*/ 13 w 94"/>
                        <a:gd name="T51" fmla="*/ 8 h 53"/>
                        <a:gd name="T52" fmla="*/ 11 w 94"/>
                        <a:gd name="T53" fmla="*/ 8 h 53"/>
                        <a:gd name="T54" fmla="*/ 12 w 94"/>
                        <a:gd name="T55" fmla="*/ 8 h 53"/>
                        <a:gd name="T56" fmla="*/ 9 w 94"/>
                        <a:gd name="T57" fmla="*/ 8 h 53"/>
                        <a:gd name="T58" fmla="*/ 9 w 94"/>
                        <a:gd name="T59" fmla="*/ 0 h 53"/>
                        <a:gd name="T60" fmla="*/ 9 w 94"/>
                        <a:gd name="T61" fmla="*/ 4 h 53"/>
                        <a:gd name="T62" fmla="*/ 9 w 94"/>
                        <a:gd name="T63" fmla="*/ 0 h 53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w 94"/>
                        <a:gd name="T97" fmla="*/ 0 h 53"/>
                        <a:gd name="T98" fmla="*/ 94 w 94"/>
                        <a:gd name="T99" fmla="*/ 53 h 53"/>
                      </a:gdLst>
                      <a:ahLst/>
                      <a:cxnLst>
                        <a:cxn ang="T64">
                          <a:pos x="T0" y="T1"/>
                        </a:cxn>
                        <a:cxn ang="T65">
                          <a:pos x="T2" y="T3"/>
                        </a:cxn>
                        <a:cxn ang="T66">
                          <a:pos x="T4" y="T5"/>
                        </a:cxn>
                        <a:cxn ang="T67">
                          <a:pos x="T6" y="T7"/>
                        </a:cxn>
                        <a:cxn ang="T68">
                          <a:pos x="T8" y="T9"/>
                        </a:cxn>
                        <a:cxn ang="T69">
                          <a:pos x="T10" y="T11"/>
                        </a:cxn>
                        <a:cxn ang="T70">
                          <a:pos x="T12" y="T13"/>
                        </a:cxn>
                        <a:cxn ang="T71">
                          <a:pos x="T14" y="T15"/>
                        </a:cxn>
                        <a:cxn ang="T72">
                          <a:pos x="T16" y="T17"/>
                        </a:cxn>
                        <a:cxn ang="T73">
                          <a:pos x="T18" y="T19"/>
                        </a:cxn>
                        <a:cxn ang="T74">
                          <a:pos x="T20" y="T21"/>
                        </a:cxn>
                        <a:cxn ang="T75">
                          <a:pos x="T22" y="T23"/>
                        </a:cxn>
                        <a:cxn ang="T76">
                          <a:pos x="T24" y="T25"/>
                        </a:cxn>
                        <a:cxn ang="T77">
                          <a:pos x="T26" y="T27"/>
                        </a:cxn>
                        <a:cxn ang="T78">
                          <a:pos x="T28" y="T29"/>
                        </a:cxn>
                        <a:cxn ang="T79">
                          <a:pos x="T30" y="T31"/>
                        </a:cxn>
                        <a:cxn ang="T80">
                          <a:pos x="T32" y="T33"/>
                        </a:cxn>
                        <a:cxn ang="T81">
                          <a:pos x="T34" y="T35"/>
                        </a:cxn>
                        <a:cxn ang="T82">
                          <a:pos x="T36" y="T37"/>
                        </a:cxn>
                        <a:cxn ang="T83">
                          <a:pos x="T38" y="T39"/>
                        </a:cxn>
                        <a:cxn ang="T84">
                          <a:pos x="T40" y="T41"/>
                        </a:cxn>
                        <a:cxn ang="T85">
                          <a:pos x="T42" y="T43"/>
                        </a:cxn>
                        <a:cxn ang="T86">
                          <a:pos x="T44" y="T45"/>
                        </a:cxn>
                        <a:cxn ang="T87">
                          <a:pos x="T46" y="T47"/>
                        </a:cxn>
                        <a:cxn ang="T88">
                          <a:pos x="T48" y="T49"/>
                        </a:cxn>
                        <a:cxn ang="T89">
                          <a:pos x="T50" y="T51"/>
                        </a:cxn>
                        <a:cxn ang="T90">
                          <a:pos x="T52" y="T53"/>
                        </a:cxn>
                        <a:cxn ang="T91">
                          <a:pos x="T54" y="T55"/>
                        </a:cxn>
                        <a:cxn ang="T92">
                          <a:pos x="T56" y="T57"/>
                        </a:cxn>
                        <a:cxn ang="T93">
                          <a:pos x="T58" y="T59"/>
                        </a:cxn>
                        <a:cxn ang="T94">
                          <a:pos x="T60" y="T61"/>
                        </a:cxn>
                        <a:cxn ang="T95">
                          <a:pos x="T62" y="T63"/>
                        </a:cxn>
                      </a:cxnLst>
                      <a:rect l="T96" t="T97" r="T98" b="T99"/>
                      <a:pathLst>
                        <a:path w="94" h="53">
                          <a:moveTo>
                            <a:pt x="40" y="0"/>
                          </a:moveTo>
                          <a:lnTo>
                            <a:pt x="36" y="0"/>
                          </a:lnTo>
                          <a:lnTo>
                            <a:pt x="32" y="9"/>
                          </a:lnTo>
                          <a:lnTo>
                            <a:pt x="18" y="9"/>
                          </a:lnTo>
                          <a:lnTo>
                            <a:pt x="9" y="18"/>
                          </a:lnTo>
                          <a:lnTo>
                            <a:pt x="5" y="18"/>
                          </a:lnTo>
                          <a:lnTo>
                            <a:pt x="0" y="18"/>
                          </a:lnTo>
                          <a:lnTo>
                            <a:pt x="5" y="27"/>
                          </a:lnTo>
                          <a:lnTo>
                            <a:pt x="9" y="36"/>
                          </a:lnTo>
                          <a:lnTo>
                            <a:pt x="18" y="36"/>
                          </a:lnTo>
                          <a:lnTo>
                            <a:pt x="27" y="44"/>
                          </a:lnTo>
                          <a:lnTo>
                            <a:pt x="27" y="49"/>
                          </a:lnTo>
                          <a:lnTo>
                            <a:pt x="36" y="49"/>
                          </a:lnTo>
                          <a:lnTo>
                            <a:pt x="45" y="40"/>
                          </a:lnTo>
                          <a:lnTo>
                            <a:pt x="67" y="44"/>
                          </a:lnTo>
                          <a:lnTo>
                            <a:pt x="67" y="53"/>
                          </a:lnTo>
                          <a:lnTo>
                            <a:pt x="72" y="49"/>
                          </a:lnTo>
                          <a:lnTo>
                            <a:pt x="81" y="49"/>
                          </a:lnTo>
                          <a:lnTo>
                            <a:pt x="85" y="44"/>
                          </a:lnTo>
                          <a:lnTo>
                            <a:pt x="90" y="36"/>
                          </a:lnTo>
                          <a:lnTo>
                            <a:pt x="94" y="31"/>
                          </a:lnTo>
                          <a:lnTo>
                            <a:pt x="94" y="22"/>
                          </a:lnTo>
                          <a:lnTo>
                            <a:pt x="85" y="22"/>
                          </a:lnTo>
                          <a:lnTo>
                            <a:pt x="81" y="13"/>
                          </a:lnTo>
                          <a:lnTo>
                            <a:pt x="72" y="9"/>
                          </a:lnTo>
                          <a:lnTo>
                            <a:pt x="67" y="18"/>
                          </a:lnTo>
                          <a:lnTo>
                            <a:pt x="58" y="13"/>
                          </a:lnTo>
                          <a:lnTo>
                            <a:pt x="63" y="9"/>
                          </a:lnTo>
                          <a:lnTo>
                            <a:pt x="54" y="9"/>
                          </a:lnTo>
                          <a:lnTo>
                            <a:pt x="49" y="0"/>
                          </a:lnTo>
                          <a:lnTo>
                            <a:pt x="45" y="4"/>
                          </a:lnTo>
                          <a:lnTo>
                            <a:pt x="40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1" name="Freeform 189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686" y="1520"/>
                      <a:ext cx="296" cy="210"/>
                    </a:xfrm>
                    <a:custGeom>
                      <a:avLst/>
                      <a:gdLst>
                        <a:gd name="T0" fmla="*/ 0 w 313"/>
                        <a:gd name="T1" fmla="*/ 8 h 223"/>
                        <a:gd name="T2" fmla="*/ 5 w 313"/>
                        <a:gd name="T3" fmla="*/ 8 h 223"/>
                        <a:gd name="T4" fmla="*/ 5 w 313"/>
                        <a:gd name="T5" fmla="*/ 8 h 223"/>
                        <a:gd name="T6" fmla="*/ 9 w 313"/>
                        <a:gd name="T7" fmla="*/ 8 h 223"/>
                        <a:gd name="T8" fmla="*/ 9 w 313"/>
                        <a:gd name="T9" fmla="*/ 8 h 223"/>
                        <a:gd name="T10" fmla="*/ 5 w 313"/>
                        <a:gd name="T11" fmla="*/ 8 h 223"/>
                        <a:gd name="T12" fmla="*/ 9 w 313"/>
                        <a:gd name="T13" fmla="*/ 0 h 223"/>
                        <a:gd name="T14" fmla="*/ 0 w 313"/>
                        <a:gd name="T15" fmla="*/ 4 h 223"/>
                        <a:gd name="T16" fmla="*/ 45 w 313"/>
                        <a:gd name="T17" fmla="*/ 36 h 223"/>
                        <a:gd name="T18" fmla="*/ 44 w 313"/>
                        <a:gd name="T19" fmla="*/ 34 h 223"/>
                        <a:gd name="T20" fmla="*/ 44 w 313"/>
                        <a:gd name="T21" fmla="*/ 32 h 223"/>
                        <a:gd name="T22" fmla="*/ 45 w 313"/>
                        <a:gd name="T23" fmla="*/ 32 h 223"/>
                        <a:gd name="T24" fmla="*/ 46 w 313"/>
                        <a:gd name="T25" fmla="*/ 30 h 223"/>
                        <a:gd name="T26" fmla="*/ 46 w 313"/>
                        <a:gd name="T27" fmla="*/ 28 h 223"/>
                        <a:gd name="T28" fmla="*/ 46 w 313"/>
                        <a:gd name="T29" fmla="*/ 26 h 223"/>
                        <a:gd name="T30" fmla="*/ 45 w 313"/>
                        <a:gd name="T31" fmla="*/ 25 h 223"/>
                        <a:gd name="T32" fmla="*/ 46 w 313"/>
                        <a:gd name="T33" fmla="*/ 25 h 223"/>
                        <a:gd name="T34" fmla="*/ 46 w 313"/>
                        <a:gd name="T35" fmla="*/ 23 h 223"/>
                        <a:gd name="T36" fmla="*/ 46 w 313"/>
                        <a:gd name="T37" fmla="*/ 22 h 223"/>
                        <a:gd name="T38" fmla="*/ 44 w 313"/>
                        <a:gd name="T39" fmla="*/ 24 h 223"/>
                        <a:gd name="T40" fmla="*/ 42 w 313"/>
                        <a:gd name="T41" fmla="*/ 26 h 223"/>
                        <a:gd name="T42" fmla="*/ 42 w 313"/>
                        <a:gd name="T43" fmla="*/ 26 h 223"/>
                        <a:gd name="T44" fmla="*/ 42 w 313"/>
                        <a:gd name="T45" fmla="*/ 28 h 223"/>
                        <a:gd name="T46" fmla="*/ 42 w 313"/>
                        <a:gd name="T47" fmla="*/ 28 h 223"/>
                        <a:gd name="T48" fmla="*/ 42 w 313"/>
                        <a:gd name="T49" fmla="*/ 30 h 223"/>
                        <a:gd name="T50" fmla="*/ 42 w 313"/>
                        <a:gd name="T51" fmla="*/ 32 h 223"/>
                        <a:gd name="T52" fmla="*/ 42 w 313"/>
                        <a:gd name="T53" fmla="*/ 34 h 223"/>
                        <a:gd name="T54" fmla="*/ 42 w 313"/>
                        <a:gd name="T55" fmla="*/ 34 h 223"/>
                        <a:gd name="T56" fmla="*/ 42 w 313"/>
                        <a:gd name="T57" fmla="*/ 36 h 223"/>
                        <a:gd name="T58" fmla="*/ 45 w 313"/>
                        <a:gd name="T59" fmla="*/ 34 h 223"/>
                        <a:gd name="T60" fmla="*/ 46 w 313"/>
                        <a:gd name="T61" fmla="*/ 34 h 223"/>
                        <a:gd name="T62" fmla="*/ 46 w 313"/>
                        <a:gd name="T63" fmla="*/ 36 h 223"/>
                        <a:gd name="T64" fmla="*/ 46 w 313"/>
                        <a:gd name="T65" fmla="*/ 34 h 223"/>
                        <a:gd name="T66" fmla="*/ 46 w 313"/>
                        <a:gd name="T67" fmla="*/ 34 h 223"/>
                        <a:gd name="T68" fmla="*/ 46 w 313"/>
                        <a:gd name="T69" fmla="*/ 36 h 223"/>
                        <a:gd name="T70" fmla="*/ 49 w 313"/>
                        <a:gd name="T71" fmla="*/ 36 h 223"/>
                        <a:gd name="T72" fmla="*/ 49 w 313"/>
                        <a:gd name="T73" fmla="*/ 36 h 223"/>
                        <a:gd name="T74" fmla="*/ 49 w 313"/>
                        <a:gd name="T75" fmla="*/ 36 h 223"/>
                        <a:gd name="T76" fmla="*/ 46 w 313"/>
                        <a:gd name="T77" fmla="*/ 36 h 223"/>
                        <a:gd name="T78" fmla="*/ 49 w 313"/>
                        <a:gd name="T79" fmla="*/ 32 h 223"/>
                        <a:gd name="T80" fmla="*/ 48 w 313"/>
                        <a:gd name="T81" fmla="*/ 32 h 223"/>
                        <a:gd name="T82" fmla="*/ 48 w 313"/>
                        <a:gd name="T83" fmla="*/ 34 h 223"/>
                        <a:gd name="T84" fmla="*/ 49 w 313"/>
                        <a:gd name="T85" fmla="*/ 34 h 223"/>
                        <a:gd name="T86" fmla="*/ 52 w 313"/>
                        <a:gd name="T87" fmla="*/ 34 h 223"/>
                        <a:gd name="T88" fmla="*/ 52 w 313"/>
                        <a:gd name="T89" fmla="*/ 34 h 223"/>
                        <a:gd name="T90" fmla="*/ 52 w 313"/>
                        <a:gd name="T91" fmla="*/ 32 h 223"/>
                        <a:gd name="T92" fmla="*/ 52 w 313"/>
                        <a:gd name="T93" fmla="*/ 30 h 223"/>
                        <a:gd name="T94" fmla="*/ 49 w 313"/>
                        <a:gd name="T95" fmla="*/ 30 h 223"/>
                        <a:gd name="T96" fmla="*/ 57 w 313"/>
                        <a:gd name="T97" fmla="*/ 34 h 223"/>
                        <a:gd name="T98" fmla="*/ 58 w 313"/>
                        <a:gd name="T99" fmla="*/ 34 h 223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w 313"/>
                        <a:gd name="T151" fmla="*/ 0 h 223"/>
                        <a:gd name="T152" fmla="*/ 313 w 313"/>
                        <a:gd name="T153" fmla="*/ 223 h 223"/>
                      </a:gdLst>
                      <a:ahLst/>
                      <a:cxnLst>
                        <a:cxn ang="T100">
                          <a:pos x="T0" y="T1"/>
                        </a:cxn>
                        <a:cxn ang="T101">
                          <a:pos x="T2" y="T3"/>
                        </a:cxn>
                        <a:cxn ang="T102">
                          <a:pos x="T4" y="T5"/>
                        </a:cxn>
                        <a:cxn ang="T103">
                          <a:pos x="T6" y="T7"/>
                        </a:cxn>
                        <a:cxn ang="T104">
                          <a:pos x="T8" y="T9"/>
                        </a:cxn>
                        <a:cxn ang="T105">
                          <a:pos x="T10" y="T11"/>
                        </a:cxn>
                        <a:cxn ang="T106">
                          <a:pos x="T12" y="T13"/>
                        </a:cxn>
                        <a:cxn ang="T107">
                          <a:pos x="T14" y="T15"/>
                        </a:cxn>
                        <a:cxn ang="T108">
                          <a:pos x="T16" y="T17"/>
                        </a:cxn>
                        <a:cxn ang="T109">
                          <a:pos x="T18" y="T19"/>
                        </a:cxn>
                        <a:cxn ang="T110">
                          <a:pos x="T20" y="T21"/>
                        </a:cxn>
                        <a:cxn ang="T111">
                          <a:pos x="T22" y="T23"/>
                        </a:cxn>
                        <a:cxn ang="T112">
                          <a:pos x="T24" y="T25"/>
                        </a:cxn>
                        <a:cxn ang="T113">
                          <a:pos x="T26" y="T27"/>
                        </a:cxn>
                        <a:cxn ang="T114">
                          <a:pos x="T28" y="T29"/>
                        </a:cxn>
                        <a:cxn ang="T115">
                          <a:pos x="T30" y="T31"/>
                        </a:cxn>
                        <a:cxn ang="T116">
                          <a:pos x="T32" y="T33"/>
                        </a:cxn>
                        <a:cxn ang="T117">
                          <a:pos x="T34" y="T35"/>
                        </a:cxn>
                        <a:cxn ang="T118">
                          <a:pos x="T36" y="T37"/>
                        </a:cxn>
                        <a:cxn ang="T119">
                          <a:pos x="T38" y="T39"/>
                        </a:cxn>
                        <a:cxn ang="T120">
                          <a:pos x="T40" y="T41"/>
                        </a:cxn>
                        <a:cxn ang="T121">
                          <a:pos x="T42" y="T43"/>
                        </a:cxn>
                        <a:cxn ang="T122">
                          <a:pos x="T44" y="T45"/>
                        </a:cxn>
                        <a:cxn ang="T123">
                          <a:pos x="T46" y="T47"/>
                        </a:cxn>
                        <a:cxn ang="T124">
                          <a:pos x="T48" y="T49"/>
                        </a:cxn>
                        <a:cxn ang="T125">
                          <a:pos x="T50" y="T51"/>
                        </a:cxn>
                        <a:cxn ang="T126">
                          <a:pos x="T52" y="T53"/>
                        </a:cxn>
                        <a:cxn ang="T127">
                          <a:pos x="T54" y="T55"/>
                        </a:cxn>
                        <a:cxn ang="T128">
                          <a:pos x="T56" y="T57"/>
                        </a:cxn>
                        <a:cxn ang="T129">
                          <a:pos x="T58" y="T59"/>
                        </a:cxn>
                        <a:cxn ang="T130">
                          <a:pos x="T60" y="T61"/>
                        </a:cxn>
                        <a:cxn ang="T131">
                          <a:pos x="T62" y="T63"/>
                        </a:cxn>
                        <a:cxn ang="T132">
                          <a:pos x="T64" y="T65"/>
                        </a:cxn>
                        <a:cxn ang="T133">
                          <a:pos x="T66" y="T67"/>
                        </a:cxn>
                        <a:cxn ang="T134">
                          <a:pos x="T68" y="T69"/>
                        </a:cxn>
                        <a:cxn ang="T135">
                          <a:pos x="T70" y="T71"/>
                        </a:cxn>
                        <a:cxn ang="T136">
                          <a:pos x="T72" y="T73"/>
                        </a:cxn>
                        <a:cxn ang="T137">
                          <a:pos x="T74" y="T75"/>
                        </a:cxn>
                        <a:cxn ang="T138">
                          <a:pos x="T76" y="T77"/>
                        </a:cxn>
                        <a:cxn ang="T139">
                          <a:pos x="T78" y="T79"/>
                        </a:cxn>
                        <a:cxn ang="T140">
                          <a:pos x="T80" y="T81"/>
                        </a:cxn>
                        <a:cxn ang="T141">
                          <a:pos x="T82" y="T83"/>
                        </a:cxn>
                        <a:cxn ang="T142">
                          <a:pos x="T84" y="T85"/>
                        </a:cxn>
                        <a:cxn ang="T143">
                          <a:pos x="T86" y="T87"/>
                        </a:cxn>
                        <a:cxn ang="T144">
                          <a:pos x="T88" y="T89"/>
                        </a:cxn>
                        <a:cxn ang="T145">
                          <a:pos x="T90" y="T91"/>
                        </a:cxn>
                        <a:cxn ang="T146">
                          <a:pos x="T92" y="T93"/>
                        </a:cxn>
                        <a:cxn ang="T147">
                          <a:pos x="T94" y="T95"/>
                        </a:cxn>
                        <a:cxn ang="T148">
                          <a:pos x="T96" y="T97"/>
                        </a:cxn>
                        <a:cxn ang="T149">
                          <a:pos x="T98" y="T99"/>
                        </a:cxn>
                      </a:cxnLst>
                      <a:rect l="T150" t="T151" r="T152" b="T153"/>
                      <a:pathLst>
                        <a:path w="313" h="223">
                          <a:moveTo>
                            <a:pt x="0" y="4"/>
                          </a:moveTo>
                          <a:lnTo>
                            <a:pt x="0" y="9"/>
                          </a:lnTo>
                          <a:lnTo>
                            <a:pt x="5" y="13"/>
                          </a:lnTo>
                          <a:lnTo>
                            <a:pt x="5" y="18"/>
                          </a:lnTo>
                          <a:lnTo>
                            <a:pt x="9" y="22"/>
                          </a:lnTo>
                          <a:lnTo>
                            <a:pt x="5" y="27"/>
                          </a:lnTo>
                          <a:lnTo>
                            <a:pt x="9" y="31"/>
                          </a:lnTo>
                          <a:lnTo>
                            <a:pt x="5" y="27"/>
                          </a:lnTo>
                          <a:lnTo>
                            <a:pt x="9" y="18"/>
                          </a:lnTo>
                          <a:lnTo>
                            <a:pt x="5" y="13"/>
                          </a:lnTo>
                          <a:lnTo>
                            <a:pt x="5" y="4"/>
                          </a:lnTo>
                          <a:lnTo>
                            <a:pt x="14" y="0"/>
                          </a:lnTo>
                          <a:lnTo>
                            <a:pt x="9" y="0"/>
                          </a:lnTo>
                          <a:lnTo>
                            <a:pt x="0" y="4"/>
                          </a:lnTo>
                          <a:close/>
                          <a:moveTo>
                            <a:pt x="224" y="219"/>
                          </a:moveTo>
                          <a:lnTo>
                            <a:pt x="241" y="214"/>
                          </a:lnTo>
                          <a:lnTo>
                            <a:pt x="237" y="210"/>
                          </a:lnTo>
                          <a:lnTo>
                            <a:pt x="237" y="206"/>
                          </a:lnTo>
                          <a:lnTo>
                            <a:pt x="241" y="197"/>
                          </a:lnTo>
                          <a:lnTo>
                            <a:pt x="237" y="192"/>
                          </a:lnTo>
                          <a:lnTo>
                            <a:pt x="241" y="192"/>
                          </a:lnTo>
                          <a:lnTo>
                            <a:pt x="241" y="188"/>
                          </a:lnTo>
                          <a:lnTo>
                            <a:pt x="241" y="179"/>
                          </a:lnTo>
                          <a:lnTo>
                            <a:pt x="246" y="183"/>
                          </a:lnTo>
                          <a:lnTo>
                            <a:pt x="250" y="174"/>
                          </a:lnTo>
                          <a:lnTo>
                            <a:pt x="250" y="170"/>
                          </a:lnTo>
                          <a:lnTo>
                            <a:pt x="246" y="170"/>
                          </a:lnTo>
                          <a:lnTo>
                            <a:pt x="246" y="165"/>
                          </a:lnTo>
                          <a:lnTo>
                            <a:pt x="241" y="156"/>
                          </a:lnTo>
                          <a:lnTo>
                            <a:pt x="241" y="152"/>
                          </a:lnTo>
                          <a:lnTo>
                            <a:pt x="246" y="156"/>
                          </a:lnTo>
                          <a:lnTo>
                            <a:pt x="250" y="147"/>
                          </a:lnTo>
                          <a:lnTo>
                            <a:pt x="246" y="143"/>
                          </a:lnTo>
                          <a:lnTo>
                            <a:pt x="246" y="139"/>
                          </a:lnTo>
                          <a:lnTo>
                            <a:pt x="246" y="134"/>
                          </a:lnTo>
                          <a:lnTo>
                            <a:pt x="241" y="134"/>
                          </a:lnTo>
                          <a:lnTo>
                            <a:pt x="237" y="152"/>
                          </a:lnTo>
                          <a:lnTo>
                            <a:pt x="224" y="156"/>
                          </a:lnTo>
                          <a:lnTo>
                            <a:pt x="219" y="161"/>
                          </a:lnTo>
                          <a:lnTo>
                            <a:pt x="219" y="165"/>
                          </a:lnTo>
                          <a:lnTo>
                            <a:pt x="224" y="165"/>
                          </a:lnTo>
                          <a:lnTo>
                            <a:pt x="224" y="170"/>
                          </a:lnTo>
                          <a:lnTo>
                            <a:pt x="219" y="170"/>
                          </a:lnTo>
                          <a:lnTo>
                            <a:pt x="219" y="174"/>
                          </a:lnTo>
                          <a:lnTo>
                            <a:pt x="224" y="174"/>
                          </a:lnTo>
                          <a:lnTo>
                            <a:pt x="219" y="179"/>
                          </a:lnTo>
                          <a:lnTo>
                            <a:pt x="219" y="183"/>
                          </a:lnTo>
                          <a:lnTo>
                            <a:pt x="224" y="188"/>
                          </a:lnTo>
                          <a:lnTo>
                            <a:pt x="219" y="192"/>
                          </a:lnTo>
                          <a:lnTo>
                            <a:pt x="219" y="201"/>
                          </a:lnTo>
                          <a:lnTo>
                            <a:pt x="224" y="197"/>
                          </a:lnTo>
                          <a:lnTo>
                            <a:pt x="224" y="206"/>
                          </a:lnTo>
                          <a:lnTo>
                            <a:pt x="224" y="214"/>
                          </a:lnTo>
                          <a:lnTo>
                            <a:pt x="224" y="219"/>
                          </a:lnTo>
                          <a:close/>
                          <a:moveTo>
                            <a:pt x="241" y="197"/>
                          </a:moveTo>
                          <a:lnTo>
                            <a:pt x="241" y="206"/>
                          </a:lnTo>
                          <a:lnTo>
                            <a:pt x="241" y="210"/>
                          </a:lnTo>
                          <a:lnTo>
                            <a:pt x="246" y="210"/>
                          </a:lnTo>
                          <a:lnTo>
                            <a:pt x="246" y="219"/>
                          </a:lnTo>
                          <a:lnTo>
                            <a:pt x="250" y="210"/>
                          </a:lnTo>
                          <a:lnTo>
                            <a:pt x="246" y="210"/>
                          </a:lnTo>
                          <a:lnTo>
                            <a:pt x="246" y="206"/>
                          </a:lnTo>
                          <a:lnTo>
                            <a:pt x="246" y="201"/>
                          </a:lnTo>
                          <a:lnTo>
                            <a:pt x="241" y="197"/>
                          </a:lnTo>
                          <a:close/>
                          <a:moveTo>
                            <a:pt x="250" y="214"/>
                          </a:moveTo>
                          <a:lnTo>
                            <a:pt x="250" y="219"/>
                          </a:lnTo>
                          <a:lnTo>
                            <a:pt x="259" y="223"/>
                          </a:lnTo>
                          <a:lnTo>
                            <a:pt x="264" y="219"/>
                          </a:lnTo>
                          <a:lnTo>
                            <a:pt x="268" y="219"/>
                          </a:lnTo>
                          <a:lnTo>
                            <a:pt x="264" y="214"/>
                          </a:lnTo>
                          <a:lnTo>
                            <a:pt x="259" y="214"/>
                          </a:lnTo>
                          <a:lnTo>
                            <a:pt x="250" y="214"/>
                          </a:lnTo>
                          <a:close/>
                          <a:moveTo>
                            <a:pt x="264" y="183"/>
                          </a:moveTo>
                          <a:lnTo>
                            <a:pt x="264" y="192"/>
                          </a:lnTo>
                          <a:lnTo>
                            <a:pt x="259" y="183"/>
                          </a:lnTo>
                          <a:lnTo>
                            <a:pt x="255" y="192"/>
                          </a:lnTo>
                          <a:lnTo>
                            <a:pt x="250" y="192"/>
                          </a:lnTo>
                          <a:lnTo>
                            <a:pt x="255" y="206"/>
                          </a:lnTo>
                          <a:lnTo>
                            <a:pt x="259" y="206"/>
                          </a:lnTo>
                          <a:lnTo>
                            <a:pt x="264" y="210"/>
                          </a:lnTo>
                          <a:lnTo>
                            <a:pt x="273" y="214"/>
                          </a:lnTo>
                          <a:lnTo>
                            <a:pt x="273" y="210"/>
                          </a:lnTo>
                          <a:lnTo>
                            <a:pt x="268" y="206"/>
                          </a:lnTo>
                          <a:lnTo>
                            <a:pt x="273" y="201"/>
                          </a:lnTo>
                          <a:lnTo>
                            <a:pt x="268" y="197"/>
                          </a:lnTo>
                          <a:lnTo>
                            <a:pt x="273" y="197"/>
                          </a:lnTo>
                          <a:lnTo>
                            <a:pt x="273" y="192"/>
                          </a:lnTo>
                          <a:lnTo>
                            <a:pt x="273" y="183"/>
                          </a:lnTo>
                          <a:lnTo>
                            <a:pt x="268" y="179"/>
                          </a:lnTo>
                          <a:lnTo>
                            <a:pt x="264" y="183"/>
                          </a:lnTo>
                          <a:close/>
                          <a:moveTo>
                            <a:pt x="308" y="206"/>
                          </a:moveTo>
                          <a:lnTo>
                            <a:pt x="304" y="210"/>
                          </a:lnTo>
                          <a:lnTo>
                            <a:pt x="313" y="210"/>
                          </a:lnTo>
                          <a:lnTo>
                            <a:pt x="313" y="206"/>
                          </a:lnTo>
                          <a:lnTo>
                            <a:pt x="308" y="206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2" name="Freeform 190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3071" y="1601"/>
                      <a:ext cx="93" cy="59"/>
                    </a:xfrm>
                    <a:custGeom>
                      <a:avLst/>
                      <a:gdLst>
                        <a:gd name="T0" fmla="*/ 4 w 98"/>
                        <a:gd name="T1" fmla="*/ 10 h 62"/>
                        <a:gd name="T2" fmla="*/ 0 w 98"/>
                        <a:gd name="T3" fmla="*/ 10 h 62"/>
                        <a:gd name="T4" fmla="*/ 4 w 98"/>
                        <a:gd name="T5" fmla="*/ 10 h 62"/>
                        <a:gd name="T6" fmla="*/ 0 w 98"/>
                        <a:gd name="T7" fmla="*/ 10 h 62"/>
                        <a:gd name="T8" fmla="*/ 4 w 98"/>
                        <a:gd name="T9" fmla="*/ 10 h 62"/>
                        <a:gd name="T10" fmla="*/ 9 w 98"/>
                        <a:gd name="T11" fmla="*/ 10 h 62"/>
                        <a:gd name="T12" fmla="*/ 9 w 98"/>
                        <a:gd name="T13" fmla="*/ 10 h 62"/>
                        <a:gd name="T14" fmla="*/ 9 w 98"/>
                        <a:gd name="T15" fmla="*/ 10 h 62"/>
                        <a:gd name="T16" fmla="*/ 9 w 98"/>
                        <a:gd name="T17" fmla="*/ 10 h 62"/>
                        <a:gd name="T18" fmla="*/ 9 w 98"/>
                        <a:gd name="T19" fmla="*/ 10 h 62"/>
                        <a:gd name="T20" fmla="*/ 9 w 98"/>
                        <a:gd name="T21" fmla="*/ 10 h 62"/>
                        <a:gd name="T22" fmla="*/ 9 w 98"/>
                        <a:gd name="T23" fmla="*/ 10 h 62"/>
                        <a:gd name="T24" fmla="*/ 9 w 98"/>
                        <a:gd name="T25" fmla="*/ 10 h 62"/>
                        <a:gd name="T26" fmla="*/ 9 w 98"/>
                        <a:gd name="T27" fmla="*/ 10 h 62"/>
                        <a:gd name="T28" fmla="*/ 9 w 98"/>
                        <a:gd name="T29" fmla="*/ 10 h 62"/>
                        <a:gd name="T30" fmla="*/ 9 w 98"/>
                        <a:gd name="T31" fmla="*/ 10 h 62"/>
                        <a:gd name="T32" fmla="*/ 4 w 98"/>
                        <a:gd name="T33" fmla="*/ 10 h 62"/>
                        <a:gd name="T34" fmla="*/ 9 w 98"/>
                        <a:gd name="T35" fmla="*/ 12 h 62"/>
                        <a:gd name="T36" fmla="*/ 10 w 98"/>
                        <a:gd name="T37" fmla="*/ 10 h 62"/>
                        <a:gd name="T38" fmla="*/ 13 w 98"/>
                        <a:gd name="T39" fmla="*/ 12 h 62"/>
                        <a:gd name="T40" fmla="*/ 16 w 98"/>
                        <a:gd name="T41" fmla="*/ 13 h 62"/>
                        <a:gd name="T42" fmla="*/ 17 w 98"/>
                        <a:gd name="T43" fmla="*/ 13 h 62"/>
                        <a:gd name="T44" fmla="*/ 19 w 98"/>
                        <a:gd name="T45" fmla="*/ 14 h 62"/>
                        <a:gd name="T46" fmla="*/ 21 w 98"/>
                        <a:gd name="T47" fmla="*/ 13 h 62"/>
                        <a:gd name="T48" fmla="*/ 22 w 98"/>
                        <a:gd name="T49" fmla="*/ 12 h 62"/>
                        <a:gd name="T50" fmla="*/ 20 w 98"/>
                        <a:gd name="T51" fmla="*/ 10 h 62"/>
                        <a:gd name="T52" fmla="*/ 19 w 98"/>
                        <a:gd name="T53" fmla="*/ 10 h 62"/>
                        <a:gd name="T54" fmla="*/ 19 w 98"/>
                        <a:gd name="T55" fmla="*/ 10 h 62"/>
                        <a:gd name="T56" fmla="*/ 19 w 98"/>
                        <a:gd name="T57" fmla="*/ 10 h 62"/>
                        <a:gd name="T58" fmla="*/ 21 w 98"/>
                        <a:gd name="T59" fmla="*/ 10 h 62"/>
                        <a:gd name="T60" fmla="*/ 22 w 98"/>
                        <a:gd name="T61" fmla="*/ 9 h 62"/>
                        <a:gd name="T62" fmla="*/ 21 w 98"/>
                        <a:gd name="T63" fmla="*/ 0 h 62"/>
                        <a:gd name="T64" fmla="*/ 20 w 98"/>
                        <a:gd name="T65" fmla="*/ 4 h 62"/>
                        <a:gd name="T66" fmla="*/ 16 w 98"/>
                        <a:gd name="T67" fmla="*/ 0 h 62"/>
                        <a:gd name="T68" fmla="*/ 9 w 98"/>
                        <a:gd name="T69" fmla="*/ 9 h 62"/>
                        <a:gd name="T70" fmla="*/ 9 w 98"/>
                        <a:gd name="T71" fmla="*/ 10 h 62"/>
                        <a:gd name="T72" fmla="*/ 9 w 98"/>
                        <a:gd name="T73" fmla="*/ 10 h 62"/>
                        <a:gd name="T74" fmla="*/ 9 w 98"/>
                        <a:gd name="T75" fmla="*/ 10 h 62"/>
                        <a:gd name="T76" fmla="*/ 9 w 98"/>
                        <a:gd name="T77" fmla="*/ 10 h 62"/>
                        <a:gd name="T78" fmla="*/ 9 w 98"/>
                        <a:gd name="T79" fmla="*/ 12 h 62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w 98"/>
                        <a:gd name="T121" fmla="*/ 0 h 62"/>
                        <a:gd name="T122" fmla="*/ 98 w 98"/>
                        <a:gd name="T123" fmla="*/ 62 h 62"/>
                      </a:gdLst>
                      <a:ahLst/>
                      <a:cxnLst>
                        <a:cxn ang="T80">
                          <a:pos x="T0" y="T1"/>
                        </a:cxn>
                        <a:cxn ang="T81">
                          <a:pos x="T2" y="T3"/>
                        </a:cxn>
                        <a:cxn ang="T82">
                          <a:pos x="T4" y="T5"/>
                        </a:cxn>
                        <a:cxn ang="T83">
                          <a:pos x="T6" y="T7"/>
                        </a:cxn>
                        <a:cxn ang="T84">
                          <a:pos x="T8" y="T9"/>
                        </a:cxn>
                        <a:cxn ang="T85">
                          <a:pos x="T10" y="T11"/>
                        </a:cxn>
                        <a:cxn ang="T86">
                          <a:pos x="T12" y="T13"/>
                        </a:cxn>
                        <a:cxn ang="T87">
                          <a:pos x="T14" y="T15"/>
                        </a:cxn>
                        <a:cxn ang="T88">
                          <a:pos x="T16" y="T17"/>
                        </a:cxn>
                        <a:cxn ang="T89">
                          <a:pos x="T18" y="T19"/>
                        </a:cxn>
                        <a:cxn ang="T90">
                          <a:pos x="T20" y="T21"/>
                        </a:cxn>
                        <a:cxn ang="T91">
                          <a:pos x="T22" y="T23"/>
                        </a:cxn>
                        <a:cxn ang="T92">
                          <a:pos x="T24" y="T25"/>
                        </a:cxn>
                        <a:cxn ang="T93">
                          <a:pos x="T26" y="T27"/>
                        </a:cxn>
                        <a:cxn ang="T94">
                          <a:pos x="T28" y="T29"/>
                        </a:cxn>
                        <a:cxn ang="T95">
                          <a:pos x="T30" y="T31"/>
                        </a:cxn>
                        <a:cxn ang="T96">
                          <a:pos x="T32" y="T33"/>
                        </a:cxn>
                        <a:cxn ang="T97">
                          <a:pos x="T34" y="T35"/>
                        </a:cxn>
                        <a:cxn ang="T98">
                          <a:pos x="T36" y="T37"/>
                        </a:cxn>
                        <a:cxn ang="T99">
                          <a:pos x="T38" y="T39"/>
                        </a:cxn>
                        <a:cxn ang="T100">
                          <a:pos x="T40" y="T41"/>
                        </a:cxn>
                        <a:cxn ang="T101">
                          <a:pos x="T42" y="T43"/>
                        </a:cxn>
                        <a:cxn ang="T102">
                          <a:pos x="T44" y="T45"/>
                        </a:cxn>
                        <a:cxn ang="T103">
                          <a:pos x="T46" y="T47"/>
                        </a:cxn>
                        <a:cxn ang="T104">
                          <a:pos x="T48" y="T49"/>
                        </a:cxn>
                        <a:cxn ang="T105">
                          <a:pos x="T50" y="T51"/>
                        </a:cxn>
                        <a:cxn ang="T106">
                          <a:pos x="T52" y="T53"/>
                        </a:cxn>
                        <a:cxn ang="T107">
                          <a:pos x="T54" y="T55"/>
                        </a:cxn>
                        <a:cxn ang="T108">
                          <a:pos x="T56" y="T57"/>
                        </a:cxn>
                        <a:cxn ang="T109">
                          <a:pos x="T58" y="T59"/>
                        </a:cxn>
                        <a:cxn ang="T110">
                          <a:pos x="T60" y="T61"/>
                        </a:cxn>
                        <a:cxn ang="T111">
                          <a:pos x="T62" y="T63"/>
                        </a:cxn>
                        <a:cxn ang="T112">
                          <a:pos x="T64" y="T65"/>
                        </a:cxn>
                        <a:cxn ang="T113">
                          <a:pos x="T66" y="T67"/>
                        </a:cxn>
                        <a:cxn ang="T114">
                          <a:pos x="T68" y="T69"/>
                        </a:cxn>
                        <a:cxn ang="T115">
                          <a:pos x="T70" y="T71"/>
                        </a:cxn>
                        <a:cxn ang="T116">
                          <a:pos x="T72" y="T73"/>
                        </a:cxn>
                        <a:cxn ang="T117">
                          <a:pos x="T74" y="T75"/>
                        </a:cxn>
                        <a:cxn ang="T118">
                          <a:pos x="T76" y="T77"/>
                        </a:cxn>
                        <a:cxn ang="T119">
                          <a:pos x="T78" y="T79"/>
                        </a:cxn>
                      </a:cxnLst>
                      <a:rect l="T120" t="T121" r="T122" b="T123"/>
                      <a:pathLst>
                        <a:path w="98" h="62">
                          <a:moveTo>
                            <a:pt x="4" y="31"/>
                          </a:moveTo>
                          <a:lnTo>
                            <a:pt x="0" y="36"/>
                          </a:lnTo>
                          <a:lnTo>
                            <a:pt x="4" y="40"/>
                          </a:lnTo>
                          <a:lnTo>
                            <a:pt x="0" y="45"/>
                          </a:lnTo>
                          <a:lnTo>
                            <a:pt x="4" y="49"/>
                          </a:lnTo>
                          <a:lnTo>
                            <a:pt x="9" y="40"/>
                          </a:lnTo>
                          <a:lnTo>
                            <a:pt x="13" y="40"/>
                          </a:lnTo>
                          <a:lnTo>
                            <a:pt x="22" y="31"/>
                          </a:lnTo>
                          <a:lnTo>
                            <a:pt x="22" y="27"/>
                          </a:lnTo>
                          <a:lnTo>
                            <a:pt x="18" y="27"/>
                          </a:lnTo>
                          <a:lnTo>
                            <a:pt x="13" y="27"/>
                          </a:lnTo>
                          <a:lnTo>
                            <a:pt x="22" y="22"/>
                          </a:lnTo>
                          <a:lnTo>
                            <a:pt x="13" y="18"/>
                          </a:lnTo>
                          <a:lnTo>
                            <a:pt x="9" y="22"/>
                          </a:lnTo>
                          <a:lnTo>
                            <a:pt x="13" y="27"/>
                          </a:lnTo>
                          <a:lnTo>
                            <a:pt x="4" y="31"/>
                          </a:lnTo>
                          <a:close/>
                          <a:moveTo>
                            <a:pt x="40" y="54"/>
                          </a:moveTo>
                          <a:lnTo>
                            <a:pt x="53" y="49"/>
                          </a:lnTo>
                          <a:lnTo>
                            <a:pt x="62" y="54"/>
                          </a:lnTo>
                          <a:lnTo>
                            <a:pt x="71" y="58"/>
                          </a:lnTo>
                          <a:lnTo>
                            <a:pt x="76" y="58"/>
                          </a:lnTo>
                          <a:lnTo>
                            <a:pt x="85" y="62"/>
                          </a:lnTo>
                          <a:lnTo>
                            <a:pt x="94" y="58"/>
                          </a:lnTo>
                          <a:lnTo>
                            <a:pt x="98" y="54"/>
                          </a:lnTo>
                          <a:lnTo>
                            <a:pt x="89" y="45"/>
                          </a:lnTo>
                          <a:lnTo>
                            <a:pt x="85" y="36"/>
                          </a:lnTo>
                          <a:lnTo>
                            <a:pt x="85" y="31"/>
                          </a:lnTo>
                          <a:lnTo>
                            <a:pt x="85" y="22"/>
                          </a:lnTo>
                          <a:lnTo>
                            <a:pt x="94" y="18"/>
                          </a:lnTo>
                          <a:lnTo>
                            <a:pt x="98" y="9"/>
                          </a:lnTo>
                          <a:lnTo>
                            <a:pt x="94" y="0"/>
                          </a:lnTo>
                          <a:lnTo>
                            <a:pt x="89" y="4"/>
                          </a:lnTo>
                          <a:lnTo>
                            <a:pt x="71" y="0"/>
                          </a:lnTo>
                          <a:lnTo>
                            <a:pt x="40" y="9"/>
                          </a:lnTo>
                          <a:lnTo>
                            <a:pt x="27" y="18"/>
                          </a:lnTo>
                          <a:lnTo>
                            <a:pt x="27" y="31"/>
                          </a:lnTo>
                          <a:lnTo>
                            <a:pt x="35" y="40"/>
                          </a:lnTo>
                          <a:lnTo>
                            <a:pt x="40" y="36"/>
                          </a:lnTo>
                          <a:lnTo>
                            <a:pt x="40" y="5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3" name="Freeform 19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54" y="1259"/>
                      <a:ext cx="156" cy="342"/>
                    </a:xfrm>
                    <a:custGeom>
                      <a:avLst/>
                      <a:gdLst>
                        <a:gd name="T0" fmla="*/ 9 w 165"/>
                        <a:gd name="T1" fmla="*/ 9 h 362"/>
                        <a:gd name="T2" fmla="*/ 9 w 165"/>
                        <a:gd name="T3" fmla="*/ 15 h 362"/>
                        <a:gd name="T4" fmla="*/ 9 w 165"/>
                        <a:gd name="T5" fmla="*/ 23 h 362"/>
                        <a:gd name="T6" fmla="*/ 9 w 165"/>
                        <a:gd name="T7" fmla="*/ 27 h 362"/>
                        <a:gd name="T8" fmla="*/ 10 w 165"/>
                        <a:gd name="T9" fmla="*/ 31 h 362"/>
                        <a:gd name="T10" fmla="*/ 13 w 165"/>
                        <a:gd name="T11" fmla="*/ 35 h 362"/>
                        <a:gd name="T12" fmla="*/ 9 w 165"/>
                        <a:gd name="T13" fmla="*/ 41 h 362"/>
                        <a:gd name="T14" fmla="*/ 9 w 165"/>
                        <a:gd name="T15" fmla="*/ 45 h 362"/>
                        <a:gd name="T16" fmla="*/ 9 w 165"/>
                        <a:gd name="T17" fmla="*/ 48 h 362"/>
                        <a:gd name="T18" fmla="*/ 9 w 165"/>
                        <a:gd name="T19" fmla="*/ 51 h 362"/>
                        <a:gd name="T20" fmla="*/ 9 w 165"/>
                        <a:gd name="T21" fmla="*/ 57 h 362"/>
                        <a:gd name="T22" fmla="*/ 9 w 165"/>
                        <a:gd name="T23" fmla="*/ 61 h 362"/>
                        <a:gd name="T24" fmla="*/ 9 w 165"/>
                        <a:gd name="T25" fmla="*/ 61 h 362"/>
                        <a:gd name="T26" fmla="*/ 9 w 165"/>
                        <a:gd name="T27" fmla="*/ 63 h 362"/>
                        <a:gd name="T28" fmla="*/ 9 w 165"/>
                        <a:gd name="T29" fmla="*/ 65 h 362"/>
                        <a:gd name="T30" fmla="*/ 9 w 165"/>
                        <a:gd name="T31" fmla="*/ 65 h 362"/>
                        <a:gd name="T32" fmla="*/ 10 w 165"/>
                        <a:gd name="T33" fmla="*/ 63 h 362"/>
                        <a:gd name="T34" fmla="*/ 11 w 165"/>
                        <a:gd name="T35" fmla="*/ 65 h 362"/>
                        <a:gd name="T36" fmla="*/ 15 w 165"/>
                        <a:gd name="T37" fmla="*/ 63 h 362"/>
                        <a:gd name="T38" fmla="*/ 17 w 165"/>
                        <a:gd name="T39" fmla="*/ 62 h 362"/>
                        <a:gd name="T40" fmla="*/ 19 w 165"/>
                        <a:gd name="T41" fmla="*/ 61 h 362"/>
                        <a:gd name="T42" fmla="*/ 22 w 165"/>
                        <a:gd name="T43" fmla="*/ 61 h 362"/>
                        <a:gd name="T44" fmla="*/ 24 w 165"/>
                        <a:gd name="T45" fmla="*/ 58 h 362"/>
                        <a:gd name="T46" fmla="*/ 30 w 165"/>
                        <a:gd name="T47" fmla="*/ 51 h 362"/>
                        <a:gd name="T48" fmla="*/ 27 w 165"/>
                        <a:gd name="T49" fmla="*/ 46 h 362"/>
                        <a:gd name="T50" fmla="*/ 27 w 165"/>
                        <a:gd name="T51" fmla="*/ 41 h 362"/>
                        <a:gd name="T52" fmla="*/ 26 w 165"/>
                        <a:gd name="T53" fmla="*/ 39 h 362"/>
                        <a:gd name="T54" fmla="*/ 25 w 165"/>
                        <a:gd name="T55" fmla="*/ 31 h 362"/>
                        <a:gd name="T56" fmla="*/ 25 w 165"/>
                        <a:gd name="T57" fmla="*/ 27 h 362"/>
                        <a:gd name="T58" fmla="*/ 23 w 165"/>
                        <a:gd name="T59" fmla="*/ 22 h 362"/>
                        <a:gd name="T60" fmla="*/ 25 w 165"/>
                        <a:gd name="T61" fmla="*/ 16 h 362"/>
                        <a:gd name="T62" fmla="*/ 22 w 165"/>
                        <a:gd name="T63" fmla="*/ 9 h 362"/>
                        <a:gd name="T64" fmla="*/ 22 w 165"/>
                        <a:gd name="T65" fmla="*/ 9 h 362"/>
                        <a:gd name="T66" fmla="*/ 22 w 165"/>
                        <a:gd name="T67" fmla="*/ 9 h 362"/>
                        <a:gd name="T68" fmla="*/ 23 w 165"/>
                        <a:gd name="T69" fmla="*/ 9 h 362"/>
                        <a:gd name="T70" fmla="*/ 21 w 165"/>
                        <a:gd name="T71" fmla="*/ 0 h 362"/>
                        <a:gd name="T72" fmla="*/ 15 w 165"/>
                        <a:gd name="T73" fmla="*/ 9 h 362"/>
                        <a:gd name="T74" fmla="*/ 11 w 165"/>
                        <a:gd name="T75" fmla="*/ 10 h 362"/>
                        <a:gd name="T76" fmla="*/ 9 w 165"/>
                        <a:gd name="T77" fmla="*/ 9 h 362"/>
                        <a:gd name="T78" fmla="*/ 9 w 165"/>
                        <a:gd name="T79" fmla="*/ 9 h 362"/>
                        <a:gd name="T80" fmla="*/ 0 w 165"/>
                        <a:gd name="T81" fmla="*/ 9 h 362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165"/>
                        <a:gd name="T124" fmla="*/ 0 h 362"/>
                        <a:gd name="T125" fmla="*/ 165 w 165"/>
                        <a:gd name="T126" fmla="*/ 362 h 362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165" h="362">
                          <a:moveTo>
                            <a:pt x="4" y="40"/>
                          </a:moveTo>
                          <a:lnTo>
                            <a:pt x="18" y="54"/>
                          </a:lnTo>
                          <a:lnTo>
                            <a:pt x="40" y="62"/>
                          </a:lnTo>
                          <a:lnTo>
                            <a:pt x="45" y="76"/>
                          </a:lnTo>
                          <a:lnTo>
                            <a:pt x="49" y="98"/>
                          </a:lnTo>
                          <a:lnTo>
                            <a:pt x="53" y="121"/>
                          </a:lnTo>
                          <a:lnTo>
                            <a:pt x="49" y="138"/>
                          </a:lnTo>
                          <a:lnTo>
                            <a:pt x="49" y="152"/>
                          </a:lnTo>
                          <a:lnTo>
                            <a:pt x="53" y="165"/>
                          </a:lnTo>
                          <a:lnTo>
                            <a:pt x="58" y="165"/>
                          </a:lnTo>
                          <a:lnTo>
                            <a:pt x="71" y="183"/>
                          </a:lnTo>
                          <a:lnTo>
                            <a:pt x="67" y="192"/>
                          </a:lnTo>
                          <a:lnTo>
                            <a:pt x="71" y="197"/>
                          </a:lnTo>
                          <a:lnTo>
                            <a:pt x="45" y="219"/>
                          </a:lnTo>
                          <a:lnTo>
                            <a:pt x="31" y="237"/>
                          </a:lnTo>
                          <a:lnTo>
                            <a:pt x="22" y="250"/>
                          </a:lnTo>
                          <a:lnTo>
                            <a:pt x="13" y="250"/>
                          </a:lnTo>
                          <a:lnTo>
                            <a:pt x="9" y="264"/>
                          </a:lnTo>
                          <a:lnTo>
                            <a:pt x="9" y="277"/>
                          </a:lnTo>
                          <a:lnTo>
                            <a:pt x="13" y="277"/>
                          </a:lnTo>
                          <a:lnTo>
                            <a:pt x="18" y="299"/>
                          </a:lnTo>
                          <a:lnTo>
                            <a:pt x="13" y="313"/>
                          </a:lnTo>
                          <a:lnTo>
                            <a:pt x="18" y="331"/>
                          </a:lnTo>
                          <a:lnTo>
                            <a:pt x="27" y="335"/>
                          </a:lnTo>
                          <a:lnTo>
                            <a:pt x="31" y="344"/>
                          </a:lnTo>
                          <a:lnTo>
                            <a:pt x="36" y="340"/>
                          </a:lnTo>
                          <a:lnTo>
                            <a:pt x="36" y="344"/>
                          </a:lnTo>
                          <a:lnTo>
                            <a:pt x="36" y="348"/>
                          </a:lnTo>
                          <a:lnTo>
                            <a:pt x="36" y="353"/>
                          </a:lnTo>
                          <a:lnTo>
                            <a:pt x="40" y="353"/>
                          </a:lnTo>
                          <a:lnTo>
                            <a:pt x="36" y="362"/>
                          </a:lnTo>
                          <a:lnTo>
                            <a:pt x="40" y="362"/>
                          </a:lnTo>
                          <a:lnTo>
                            <a:pt x="45" y="353"/>
                          </a:lnTo>
                          <a:lnTo>
                            <a:pt x="58" y="348"/>
                          </a:lnTo>
                          <a:lnTo>
                            <a:pt x="58" y="353"/>
                          </a:lnTo>
                          <a:lnTo>
                            <a:pt x="62" y="353"/>
                          </a:lnTo>
                          <a:lnTo>
                            <a:pt x="67" y="344"/>
                          </a:lnTo>
                          <a:lnTo>
                            <a:pt x="76" y="348"/>
                          </a:lnTo>
                          <a:lnTo>
                            <a:pt x="80" y="344"/>
                          </a:lnTo>
                          <a:lnTo>
                            <a:pt x="85" y="344"/>
                          </a:lnTo>
                          <a:lnTo>
                            <a:pt x="94" y="344"/>
                          </a:lnTo>
                          <a:lnTo>
                            <a:pt x="98" y="340"/>
                          </a:lnTo>
                          <a:lnTo>
                            <a:pt x="107" y="344"/>
                          </a:lnTo>
                          <a:lnTo>
                            <a:pt x="112" y="340"/>
                          </a:lnTo>
                          <a:lnTo>
                            <a:pt x="120" y="331"/>
                          </a:lnTo>
                          <a:lnTo>
                            <a:pt x="129" y="322"/>
                          </a:lnTo>
                          <a:lnTo>
                            <a:pt x="134" y="308"/>
                          </a:lnTo>
                          <a:lnTo>
                            <a:pt x="161" y="281"/>
                          </a:lnTo>
                          <a:lnTo>
                            <a:pt x="165" y="273"/>
                          </a:lnTo>
                          <a:lnTo>
                            <a:pt x="147" y="255"/>
                          </a:lnTo>
                          <a:lnTo>
                            <a:pt x="134" y="241"/>
                          </a:lnTo>
                          <a:lnTo>
                            <a:pt x="147" y="228"/>
                          </a:lnTo>
                          <a:lnTo>
                            <a:pt x="134" y="219"/>
                          </a:lnTo>
                          <a:lnTo>
                            <a:pt x="143" y="214"/>
                          </a:lnTo>
                          <a:lnTo>
                            <a:pt x="134" y="210"/>
                          </a:lnTo>
                          <a:lnTo>
                            <a:pt x="134" y="165"/>
                          </a:lnTo>
                          <a:lnTo>
                            <a:pt x="143" y="161"/>
                          </a:lnTo>
                          <a:lnTo>
                            <a:pt x="134" y="147"/>
                          </a:lnTo>
                          <a:lnTo>
                            <a:pt x="129" y="130"/>
                          </a:lnTo>
                          <a:lnTo>
                            <a:pt x="120" y="116"/>
                          </a:lnTo>
                          <a:lnTo>
                            <a:pt x="134" y="89"/>
                          </a:lnTo>
                          <a:lnTo>
                            <a:pt x="134" y="80"/>
                          </a:lnTo>
                          <a:lnTo>
                            <a:pt x="120" y="71"/>
                          </a:lnTo>
                          <a:lnTo>
                            <a:pt x="116" y="54"/>
                          </a:lnTo>
                          <a:lnTo>
                            <a:pt x="125" y="36"/>
                          </a:lnTo>
                          <a:lnTo>
                            <a:pt x="112" y="40"/>
                          </a:lnTo>
                          <a:lnTo>
                            <a:pt x="112" y="36"/>
                          </a:lnTo>
                          <a:lnTo>
                            <a:pt x="116" y="31"/>
                          </a:lnTo>
                          <a:lnTo>
                            <a:pt x="120" y="13"/>
                          </a:lnTo>
                          <a:lnTo>
                            <a:pt x="120" y="9"/>
                          </a:lnTo>
                          <a:lnTo>
                            <a:pt x="112" y="9"/>
                          </a:lnTo>
                          <a:lnTo>
                            <a:pt x="107" y="0"/>
                          </a:lnTo>
                          <a:lnTo>
                            <a:pt x="89" y="4"/>
                          </a:lnTo>
                          <a:lnTo>
                            <a:pt x="76" y="22"/>
                          </a:lnTo>
                          <a:lnTo>
                            <a:pt x="76" y="45"/>
                          </a:lnTo>
                          <a:lnTo>
                            <a:pt x="62" y="58"/>
                          </a:lnTo>
                          <a:lnTo>
                            <a:pt x="53" y="54"/>
                          </a:lnTo>
                          <a:lnTo>
                            <a:pt x="31" y="54"/>
                          </a:lnTo>
                          <a:lnTo>
                            <a:pt x="18" y="31"/>
                          </a:lnTo>
                          <a:lnTo>
                            <a:pt x="9" y="31"/>
                          </a:lnTo>
                          <a:lnTo>
                            <a:pt x="9" y="36"/>
                          </a:lnTo>
                          <a:lnTo>
                            <a:pt x="0" y="36"/>
                          </a:lnTo>
                          <a:lnTo>
                            <a:pt x="4" y="4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4" name="Freeform 192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716" y="1807"/>
                      <a:ext cx="194" cy="193"/>
                    </a:xfrm>
                    <a:custGeom>
                      <a:avLst/>
                      <a:gdLst>
                        <a:gd name="T0" fmla="*/ 9 w 205"/>
                        <a:gd name="T1" fmla="*/ 28 h 205"/>
                        <a:gd name="T2" fmla="*/ 13 w 205"/>
                        <a:gd name="T3" fmla="*/ 30 h 205"/>
                        <a:gd name="T4" fmla="*/ 18 w 205"/>
                        <a:gd name="T5" fmla="*/ 30 h 205"/>
                        <a:gd name="T6" fmla="*/ 21 w 205"/>
                        <a:gd name="T7" fmla="*/ 31 h 205"/>
                        <a:gd name="T8" fmla="*/ 23 w 205"/>
                        <a:gd name="T9" fmla="*/ 28 h 205"/>
                        <a:gd name="T10" fmla="*/ 24 w 205"/>
                        <a:gd name="T11" fmla="*/ 28 h 205"/>
                        <a:gd name="T12" fmla="*/ 26 w 205"/>
                        <a:gd name="T13" fmla="*/ 28 h 205"/>
                        <a:gd name="T14" fmla="*/ 32 w 205"/>
                        <a:gd name="T15" fmla="*/ 28 h 205"/>
                        <a:gd name="T16" fmla="*/ 34 w 205"/>
                        <a:gd name="T17" fmla="*/ 26 h 205"/>
                        <a:gd name="T18" fmla="*/ 32 w 205"/>
                        <a:gd name="T19" fmla="*/ 25 h 205"/>
                        <a:gd name="T20" fmla="*/ 30 w 205"/>
                        <a:gd name="T21" fmla="*/ 21 h 205"/>
                        <a:gd name="T22" fmla="*/ 32 w 205"/>
                        <a:gd name="T23" fmla="*/ 20 h 205"/>
                        <a:gd name="T24" fmla="*/ 30 w 205"/>
                        <a:gd name="T25" fmla="*/ 18 h 205"/>
                        <a:gd name="T26" fmla="*/ 30 w 205"/>
                        <a:gd name="T27" fmla="*/ 18 h 205"/>
                        <a:gd name="T28" fmla="*/ 32 w 205"/>
                        <a:gd name="T29" fmla="*/ 15 h 205"/>
                        <a:gd name="T30" fmla="*/ 34 w 205"/>
                        <a:gd name="T31" fmla="*/ 14 h 205"/>
                        <a:gd name="T32" fmla="*/ 36 w 205"/>
                        <a:gd name="T33" fmla="*/ 8 h 205"/>
                        <a:gd name="T34" fmla="*/ 34 w 205"/>
                        <a:gd name="T35" fmla="*/ 8 h 205"/>
                        <a:gd name="T36" fmla="*/ 30 w 205"/>
                        <a:gd name="T37" fmla="*/ 8 h 205"/>
                        <a:gd name="T38" fmla="*/ 28 w 205"/>
                        <a:gd name="T39" fmla="*/ 8 h 205"/>
                        <a:gd name="T40" fmla="*/ 26 w 205"/>
                        <a:gd name="T41" fmla="*/ 8 h 205"/>
                        <a:gd name="T42" fmla="*/ 26 w 205"/>
                        <a:gd name="T43" fmla="*/ 8 h 205"/>
                        <a:gd name="T44" fmla="*/ 24 w 205"/>
                        <a:gd name="T45" fmla="*/ 8 h 205"/>
                        <a:gd name="T46" fmla="*/ 23 w 205"/>
                        <a:gd name="T47" fmla="*/ 8 h 205"/>
                        <a:gd name="T48" fmla="*/ 22 w 205"/>
                        <a:gd name="T49" fmla="*/ 8 h 205"/>
                        <a:gd name="T50" fmla="*/ 19 w 205"/>
                        <a:gd name="T51" fmla="*/ 4 h 205"/>
                        <a:gd name="T52" fmla="*/ 19 w 205"/>
                        <a:gd name="T53" fmla="*/ 8 h 205"/>
                        <a:gd name="T54" fmla="*/ 19 w 205"/>
                        <a:gd name="T55" fmla="*/ 8 h 205"/>
                        <a:gd name="T56" fmla="*/ 16 w 205"/>
                        <a:gd name="T57" fmla="*/ 8 h 205"/>
                        <a:gd name="T58" fmla="*/ 13 w 205"/>
                        <a:gd name="T59" fmla="*/ 8 h 205"/>
                        <a:gd name="T60" fmla="*/ 13 w 205"/>
                        <a:gd name="T61" fmla="*/ 8 h 205"/>
                        <a:gd name="T62" fmla="*/ 9 w 205"/>
                        <a:gd name="T63" fmla="*/ 8 h 205"/>
                        <a:gd name="T64" fmla="*/ 9 w 205"/>
                        <a:gd name="T65" fmla="*/ 8 h 205"/>
                        <a:gd name="T66" fmla="*/ 9 w 205"/>
                        <a:gd name="T67" fmla="*/ 8 h 205"/>
                        <a:gd name="T68" fmla="*/ 9 w 205"/>
                        <a:gd name="T69" fmla="*/ 8 h 205"/>
                        <a:gd name="T70" fmla="*/ 9 w 205"/>
                        <a:gd name="T71" fmla="*/ 8 h 205"/>
                        <a:gd name="T72" fmla="*/ 9 w 205"/>
                        <a:gd name="T73" fmla="*/ 8 h 205"/>
                        <a:gd name="T74" fmla="*/ 9 w 205"/>
                        <a:gd name="T75" fmla="*/ 8 h 205"/>
                        <a:gd name="T76" fmla="*/ 8 w 205"/>
                        <a:gd name="T77" fmla="*/ 8 h 205"/>
                        <a:gd name="T78" fmla="*/ 0 w 205"/>
                        <a:gd name="T79" fmla="*/ 9 h 205"/>
                        <a:gd name="T80" fmla="*/ 4 w 205"/>
                        <a:gd name="T81" fmla="*/ 9 h 205"/>
                        <a:gd name="T82" fmla="*/ 0 w 205"/>
                        <a:gd name="T83" fmla="*/ 11 h 205"/>
                        <a:gd name="T84" fmla="*/ 4 w 205"/>
                        <a:gd name="T85" fmla="*/ 13 h 205"/>
                        <a:gd name="T86" fmla="*/ 9 w 205"/>
                        <a:gd name="T87" fmla="*/ 14 h 205"/>
                        <a:gd name="T88" fmla="*/ 9 w 205"/>
                        <a:gd name="T89" fmla="*/ 14 h 205"/>
                        <a:gd name="T90" fmla="*/ 9 w 205"/>
                        <a:gd name="T91" fmla="*/ 15 h 205"/>
                        <a:gd name="T92" fmla="*/ 9 w 205"/>
                        <a:gd name="T93" fmla="*/ 17 h 205"/>
                        <a:gd name="T94" fmla="*/ 9 w 205"/>
                        <a:gd name="T95" fmla="*/ 19 h 205"/>
                        <a:gd name="T96" fmla="*/ 9 w 205"/>
                        <a:gd name="T97" fmla="*/ 20 h 205"/>
                        <a:gd name="T98" fmla="*/ 10 w 205"/>
                        <a:gd name="T99" fmla="*/ 21 h 205"/>
                        <a:gd name="T100" fmla="*/ 9 w 205"/>
                        <a:gd name="T101" fmla="*/ 21 h 205"/>
                        <a:gd name="T102" fmla="*/ 9 w 205"/>
                        <a:gd name="T103" fmla="*/ 23 h 205"/>
                        <a:gd name="T104" fmla="*/ 9 w 205"/>
                        <a:gd name="T105" fmla="*/ 24 h 205"/>
                        <a:gd name="T106" fmla="*/ 9 w 205"/>
                        <a:gd name="T107" fmla="*/ 26 h 205"/>
                        <a:gd name="T108" fmla="*/ 37 w 205"/>
                        <a:gd name="T109" fmla="*/ 32 h 205"/>
                        <a:gd name="T110" fmla="*/ 37 w 205"/>
                        <a:gd name="T111" fmla="*/ 34 h 205"/>
                        <a:gd name="T112" fmla="*/ 40 w 205"/>
                        <a:gd name="T113" fmla="*/ 31 h 205"/>
                        <a:gd name="T114" fmla="*/ 38 w 205"/>
                        <a:gd name="T115" fmla="*/ 28 h 205"/>
                        <a:gd name="T116" fmla="*/ 37 w 205"/>
                        <a:gd name="T117" fmla="*/ 30 h 205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w 205"/>
                        <a:gd name="T178" fmla="*/ 0 h 205"/>
                        <a:gd name="T179" fmla="*/ 205 w 205"/>
                        <a:gd name="T180" fmla="*/ 205 h 205"/>
                      </a:gdLst>
                      <a:ahLst/>
                      <a:cxnLst>
                        <a:cxn ang="T118">
                          <a:pos x="T0" y="T1"/>
                        </a:cxn>
                        <a:cxn ang="T119">
                          <a:pos x="T2" y="T3"/>
                        </a:cxn>
                        <a:cxn ang="T120">
                          <a:pos x="T4" y="T5"/>
                        </a:cxn>
                        <a:cxn ang="T121">
                          <a:pos x="T6" y="T7"/>
                        </a:cxn>
                        <a:cxn ang="T122">
                          <a:pos x="T8" y="T9"/>
                        </a:cxn>
                        <a:cxn ang="T123">
                          <a:pos x="T10" y="T11"/>
                        </a:cxn>
                        <a:cxn ang="T124">
                          <a:pos x="T12" y="T13"/>
                        </a:cxn>
                        <a:cxn ang="T125">
                          <a:pos x="T14" y="T15"/>
                        </a:cxn>
                        <a:cxn ang="T126">
                          <a:pos x="T16" y="T17"/>
                        </a:cxn>
                        <a:cxn ang="T127">
                          <a:pos x="T18" y="T19"/>
                        </a:cxn>
                        <a:cxn ang="T128">
                          <a:pos x="T20" y="T21"/>
                        </a:cxn>
                        <a:cxn ang="T129">
                          <a:pos x="T22" y="T23"/>
                        </a:cxn>
                        <a:cxn ang="T130">
                          <a:pos x="T24" y="T25"/>
                        </a:cxn>
                        <a:cxn ang="T131">
                          <a:pos x="T26" y="T27"/>
                        </a:cxn>
                        <a:cxn ang="T132">
                          <a:pos x="T28" y="T29"/>
                        </a:cxn>
                        <a:cxn ang="T133">
                          <a:pos x="T30" y="T31"/>
                        </a:cxn>
                        <a:cxn ang="T134">
                          <a:pos x="T32" y="T33"/>
                        </a:cxn>
                        <a:cxn ang="T135">
                          <a:pos x="T34" y="T35"/>
                        </a:cxn>
                        <a:cxn ang="T136">
                          <a:pos x="T36" y="T37"/>
                        </a:cxn>
                        <a:cxn ang="T137">
                          <a:pos x="T38" y="T39"/>
                        </a:cxn>
                        <a:cxn ang="T138">
                          <a:pos x="T40" y="T41"/>
                        </a:cxn>
                        <a:cxn ang="T139">
                          <a:pos x="T42" y="T43"/>
                        </a:cxn>
                        <a:cxn ang="T140">
                          <a:pos x="T44" y="T45"/>
                        </a:cxn>
                        <a:cxn ang="T141">
                          <a:pos x="T46" y="T47"/>
                        </a:cxn>
                        <a:cxn ang="T142">
                          <a:pos x="T48" y="T49"/>
                        </a:cxn>
                        <a:cxn ang="T143">
                          <a:pos x="T50" y="T51"/>
                        </a:cxn>
                        <a:cxn ang="T144">
                          <a:pos x="T52" y="T53"/>
                        </a:cxn>
                        <a:cxn ang="T145">
                          <a:pos x="T54" y="T55"/>
                        </a:cxn>
                        <a:cxn ang="T146">
                          <a:pos x="T56" y="T57"/>
                        </a:cxn>
                        <a:cxn ang="T147">
                          <a:pos x="T58" y="T59"/>
                        </a:cxn>
                        <a:cxn ang="T148">
                          <a:pos x="T60" y="T61"/>
                        </a:cxn>
                        <a:cxn ang="T149">
                          <a:pos x="T62" y="T63"/>
                        </a:cxn>
                        <a:cxn ang="T150">
                          <a:pos x="T64" y="T65"/>
                        </a:cxn>
                        <a:cxn ang="T151">
                          <a:pos x="T66" y="T67"/>
                        </a:cxn>
                        <a:cxn ang="T152">
                          <a:pos x="T68" y="T69"/>
                        </a:cxn>
                        <a:cxn ang="T153">
                          <a:pos x="T70" y="T71"/>
                        </a:cxn>
                        <a:cxn ang="T154">
                          <a:pos x="T72" y="T73"/>
                        </a:cxn>
                        <a:cxn ang="T155">
                          <a:pos x="T74" y="T75"/>
                        </a:cxn>
                        <a:cxn ang="T156">
                          <a:pos x="T76" y="T77"/>
                        </a:cxn>
                        <a:cxn ang="T157">
                          <a:pos x="T78" y="T79"/>
                        </a:cxn>
                        <a:cxn ang="T158">
                          <a:pos x="T80" y="T81"/>
                        </a:cxn>
                        <a:cxn ang="T159">
                          <a:pos x="T82" y="T83"/>
                        </a:cxn>
                        <a:cxn ang="T160">
                          <a:pos x="T84" y="T85"/>
                        </a:cxn>
                        <a:cxn ang="T161">
                          <a:pos x="T86" y="T87"/>
                        </a:cxn>
                        <a:cxn ang="T162">
                          <a:pos x="T88" y="T89"/>
                        </a:cxn>
                        <a:cxn ang="T163">
                          <a:pos x="T90" y="T91"/>
                        </a:cxn>
                        <a:cxn ang="T164">
                          <a:pos x="T92" y="T93"/>
                        </a:cxn>
                        <a:cxn ang="T165">
                          <a:pos x="T94" y="T95"/>
                        </a:cxn>
                        <a:cxn ang="T166">
                          <a:pos x="T96" y="T97"/>
                        </a:cxn>
                        <a:cxn ang="T167">
                          <a:pos x="T98" y="T99"/>
                        </a:cxn>
                        <a:cxn ang="T168">
                          <a:pos x="T100" y="T101"/>
                        </a:cxn>
                        <a:cxn ang="T169">
                          <a:pos x="T102" y="T103"/>
                        </a:cxn>
                        <a:cxn ang="T170">
                          <a:pos x="T104" y="T105"/>
                        </a:cxn>
                        <a:cxn ang="T171">
                          <a:pos x="T106" y="T107"/>
                        </a:cxn>
                        <a:cxn ang="T172">
                          <a:pos x="T108" y="T109"/>
                        </a:cxn>
                        <a:cxn ang="T173">
                          <a:pos x="T110" y="T111"/>
                        </a:cxn>
                        <a:cxn ang="T174">
                          <a:pos x="T112" y="T113"/>
                        </a:cxn>
                        <a:cxn ang="T175">
                          <a:pos x="T114" y="T115"/>
                        </a:cxn>
                        <a:cxn ang="T176">
                          <a:pos x="T116" y="T117"/>
                        </a:cxn>
                      </a:cxnLst>
                      <a:rect l="T177" t="T178" r="T179" b="T180"/>
                      <a:pathLst>
                        <a:path w="205" h="205">
                          <a:moveTo>
                            <a:pt x="44" y="165"/>
                          </a:moveTo>
                          <a:lnTo>
                            <a:pt x="49" y="174"/>
                          </a:lnTo>
                          <a:lnTo>
                            <a:pt x="62" y="183"/>
                          </a:lnTo>
                          <a:lnTo>
                            <a:pt x="67" y="183"/>
                          </a:lnTo>
                          <a:lnTo>
                            <a:pt x="80" y="183"/>
                          </a:lnTo>
                          <a:lnTo>
                            <a:pt x="89" y="183"/>
                          </a:lnTo>
                          <a:lnTo>
                            <a:pt x="98" y="188"/>
                          </a:lnTo>
                          <a:lnTo>
                            <a:pt x="107" y="188"/>
                          </a:lnTo>
                          <a:lnTo>
                            <a:pt x="116" y="188"/>
                          </a:lnTo>
                          <a:lnTo>
                            <a:pt x="116" y="174"/>
                          </a:lnTo>
                          <a:lnTo>
                            <a:pt x="120" y="170"/>
                          </a:lnTo>
                          <a:lnTo>
                            <a:pt x="129" y="174"/>
                          </a:lnTo>
                          <a:lnTo>
                            <a:pt x="134" y="170"/>
                          </a:lnTo>
                          <a:lnTo>
                            <a:pt x="142" y="170"/>
                          </a:lnTo>
                          <a:lnTo>
                            <a:pt x="151" y="174"/>
                          </a:lnTo>
                          <a:lnTo>
                            <a:pt x="165" y="170"/>
                          </a:lnTo>
                          <a:lnTo>
                            <a:pt x="169" y="165"/>
                          </a:lnTo>
                          <a:lnTo>
                            <a:pt x="178" y="161"/>
                          </a:lnTo>
                          <a:lnTo>
                            <a:pt x="174" y="156"/>
                          </a:lnTo>
                          <a:lnTo>
                            <a:pt x="165" y="156"/>
                          </a:lnTo>
                          <a:lnTo>
                            <a:pt x="156" y="143"/>
                          </a:lnTo>
                          <a:lnTo>
                            <a:pt x="160" y="129"/>
                          </a:lnTo>
                          <a:lnTo>
                            <a:pt x="165" y="129"/>
                          </a:lnTo>
                          <a:lnTo>
                            <a:pt x="169" y="116"/>
                          </a:lnTo>
                          <a:lnTo>
                            <a:pt x="165" y="107"/>
                          </a:lnTo>
                          <a:lnTo>
                            <a:pt x="160" y="103"/>
                          </a:lnTo>
                          <a:lnTo>
                            <a:pt x="156" y="112"/>
                          </a:lnTo>
                          <a:lnTo>
                            <a:pt x="156" y="103"/>
                          </a:lnTo>
                          <a:lnTo>
                            <a:pt x="165" y="89"/>
                          </a:lnTo>
                          <a:lnTo>
                            <a:pt x="165" y="85"/>
                          </a:lnTo>
                          <a:lnTo>
                            <a:pt x="174" y="85"/>
                          </a:lnTo>
                          <a:lnTo>
                            <a:pt x="178" y="80"/>
                          </a:lnTo>
                          <a:lnTo>
                            <a:pt x="178" y="67"/>
                          </a:lnTo>
                          <a:lnTo>
                            <a:pt x="183" y="53"/>
                          </a:lnTo>
                          <a:lnTo>
                            <a:pt x="178" y="45"/>
                          </a:lnTo>
                          <a:lnTo>
                            <a:pt x="174" y="45"/>
                          </a:lnTo>
                          <a:lnTo>
                            <a:pt x="160" y="49"/>
                          </a:lnTo>
                          <a:lnTo>
                            <a:pt x="160" y="40"/>
                          </a:lnTo>
                          <a:lnTo>
                            <a:pt x="156" y="40"/>
                          </a:lnTo>
                          <a:lnTo>
                            <a:pt x="151" y="40"/>
                          </a:lnTo>
                          <a:lnTo>
                            <a:pt x="147" y="40"/>
                          </a:lnTo>
                          <a:lnTo>
                            <a:pt x="142" y="36"/>
                          </a:lnTo>
                          <a:lnTo>
                            <a:pt x="134" y="31"/>
                          </a:lnTo>
                          <a:lnTo>
                            <a:pt x="138" y="22"/>
                          </a:lnTo>
                          <a:lnTo>
                            <a:pt x="129" y="27"/>
                          </a:lnTo>
                          <a:lnTo>
                            <a:pt x="125" y="27"/>
                          </a:lnTo>
                          <a:lnTo>
                            <a:pt x="125" y="18"/>
                          </a:lnTo>
                          <a:lnTo>
                            <a:pt x="120" y="18"/>
                          </a:lnTo>
                          <a:lnTo>
                            <a:pt x="116" y="13"/>
                          </a:lnTo>
                          <a:lnTo>
                            <a:pt x="111" y="13"/>
                          </a:lnTo>
                          <a:lnTo>
                            <a:pt x="102" y="0"/>
                          </a:lnTo>
                          <a:lnTo>
                            <a:pt x="93" y="4"/>
                          </a:lnTo>
                          <a:lnTo>
                            <a:pt x="93" y="13"/>
                          </a:lnTo>
                          <a:lnTo>
                            <a:pt x="93" y="22"/>
                          </a:lnTo>
                          <a:lnTo>
                            <a:pt x="93" y="27"/>
                          </a:lnTo>
                          <a:lnTo>
                            <a:pt x="84" y="27"/>
                          </a:lnTo>
                          <a:lnTo>
                            <a:pt x="80" y="31"/>
                          </a:lnTo>
                          <a:lnTo>
                            <a:pt x="75" y="31"/>
                          </a:lnTo>
                          <a:lnTo>
                            <a:pt x="67" y="36"/>
                          </a:lnTo>
                          <a:lnTo>
                            <a:pt x="71" y="40"/>
                          </a:lnTo>
                          <a:lnTo>
                            <a:pt x="67" y="40"/>
                          </a:lnTo>
                          <a:lnTo>
                            <a:pt x="53" y="40"/>
                          </a:lnTo>
                          <a:lnTo>
                            <a:pt x="49" y="45"/>
                          </a:lnTo>
                          <a:lnTo>
                            <a:pt x="49" y="36"/>
                          </a:lnTo>
                          <a:lnTo>
                            <a:pt x="40" y="36"/>
                          </a:lnTo>
                          <a:lnTo>
                            <a:pt x="40" y="40"/>
                          </a:lnTo>
                          <a:lnTo>
                            <a:pt x="44" y="45"/>
                          </a:lnTo>
                          <a:lnTo>
                            <a:pt x="44" y="53"/>
                          </a:lnTo>
                          <a:lnTo>
                            <a:pt x="49" y="58"/>
                          </a:lnTo>
                          <a:lnTo>
                            <a:pt x="40" y="58"/>
                          </a:lnTo>
                          <a:lnTo>
                            <a:pt x="35" y="58"/>
                          </a:lnTo>
                          <a:lnTo>
                            <a:pt x="31" y="62"/>
                          </a:lnTo>
                          <a:lnTo>
                            <a:pt x="22" y="53"/>
                          </a:lnTo>
                          <a:lnTo>
                            <a:pt x="17" y="53"/>
                          </a:lnTo>
                          <a:lnTo>
                            <a:pt x="17" y="58"/>
                          </a:lnTo>
                          <a:lnTo>
                            <a:pt x="13" y="58"/>
                          </a:lnTo>
                          <a:lnTo>
                            <a:pt x="8" y="58"/>
                          </a:lnTo>
                          <a:lnTo>
                            <a:pt x="4" y="58"/>
                          </a:lnTo>
                          <a:lnTo>
                            <a:pt x="0" y="62"/>
                          </a:lnTo>
                          <a:lnTo>
                            <a:pt x="0" y="67"/>
                          </a:lnTo>
                          <a:lnTo>
                            <a:pt x="4" y="62"/>
                          </a:lnTo>
                          <a:lnTo>
                            <a:pt x="8" y="67"/>
                          </a:lnTo>
                          <a:lnTo>
                            <a:pt x="0" y="67"/>
                          </a:lnTo>
                          <a:lnTo>
                            <a:pt x="0" y="71"/>
                          </a:lnTo>
                          <a:lnTo>
                            <a:pt x="4" y="76"/>
                          </a:lnTo>
                          <a:lnTo>
                            <a:pt x="8" y="71"/>
                          </a:lnTo>
                          <a:lnTo>
                            <a:pt x="22" y="80"/>
                          </a:lnTo>
                          <a:lnTo>
                            <a:pt x="22" y="85"/>
                          </a:lnTo>
                          <a:lnTo>
                            <a:pt x="26" y="80"/>
                          </a:lnTo>
                          <a:lnTo>
                            <a:pt x="35" y="85"/>
                          </a:lnTo>
                          <a:lnTo>
                            <a:pt x="35" y="89"/>
                          </a:lnTo>
                          <a:lnTo>
                            <a:pt x="40" y="89"/>
                          </a:lnTo>
                          <a:lnTo>
                            <a:pt x="40" y="98"/>
                          </a:lnTo>
                          <a:lnTo>
                            <a:pt x="44" y="107"/>
                          </a:lnTo>
                          <a:lnTo>
                            <a:pt x="53" y="112"/>
                          </a:lnTo>
                          <a:lnTo>
                            <a:pt x="49" y="116"/>
                          </a:lnTo>
                          <a:lnTo>
                            <a:pt x="49" y="121"/>
                          </a:lnTo>
                          <a:lnTo>
                            <a:pt x="58" y="129"/>
                          </a:lnTo>
                          <a:lnTo>
                            <a:pt x="49" y="129"/>
                          </a:lnTo>
                          <a:lnTo>
                            <a:pt x="49" y="143"/>
                          </a:lnTo>
                          <a:lnTo>
                            <a:pt x="53" y="138"/>
                          </a:lnTo>
                          <a:lnTo>
                            <a:pt x="53" y="143"/>
                          </a:lnTo>
                          <a:lnTo>
                            <a:pt x="49" y="147"/>
                          </a:lnTo>
                          <a:lnTo>
                            <a:pt x="44" y="165"/>
                          </a:lnTo>
                          <a:close/>
                          <a:moveTo>
                            <a:pt x="192" y="183"/>
                          </a:moveTo>
                          <a:lnTo>
                            <a:pt x="192" y="192"/>
                          </a:lnTo>
                          <a:lnTo>
                            <a:pt x="187" y="196"/>
                          </a:lnTo>
                          <a:lnTo>
                            <a:pt x="192" y="205"/>
                          </a:lnTo>
                          <a:lnTo>
                            <a:pt x="201" y="205"/>
                          </a:lnTo>
                          <a:lnTo>
                            <a:pt x="205" y="188"/>
                          </a:lnTo>
                          <a:lnTo>
                            <a:pt x="201" y="174"/>
                          </a:lnTo>
                          <a:lnTo>
                            <a:pt x="196" y="174"/>
                          </a:lnTo>
                          <a:lnTo>
                            <a:pt x="196" y="183"/>
                          </a:lnTo>
                          <a:lnTo>
                            <a:pt x="192" y="18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5" name="Freeform 193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859" y="1722"/>
                      <a:ext cx="118" cy="165"/>
                    </a:xfrm>
                    <a:custGeom>
                      <a:avLst/>
                      <a:gdLst>
                        <a:gd name="T0" fmla="*/ 8 w 125"/>
                        <a:gd name="T1" fmla="*/ 20 h 175"/>
                        <a:gd name="T2" fmla="*/ 0 w 125"/>
                        <a:gd name="T3" fmla="*/ 17 h 175"/>
                        <a:gd name="T4" fmla="*/ 0 w 125"/>
                        <a:gd name="T5" fmla="*/ 15 h 175"/>
                        <a:gd name="T6" fmla="*/ 8 w 125"/>
                        <a:gd name="T7" fmla="*/ 13 h 175"/>
                        <a:gd name="T8" fmla="*/ 8 w 125"/>
                        <a:gd name="T9" fmla="*/ 8 h 175"/>
                        <a:gd name="T10" fmla="*/ 8 w 125"/>
                        <a:gd name="T11" fmla="*/ 8 h 175"/>
                        <a:gd name="T12" fmla="*/ 8 w 125"/>
                        <a:gd name="T13" fmla="*/ 8 h 175"/>
                        <a:gd name="T14" fmla="*/ 8 w 125"/>
                        <a:gd name="T15" fmla="*/ 8 h 175"/>
                        <a:gd name="T16" fmla="*/ 8 w 125"/>
                        <a:gd name="T17" fmla="*/ 8 h 175"/>
                        <a:gd name="T18" fmla="*/ 8 w 125"/>
                        <a:gd name="T19" fmla="*/ 8 h 175"/>
                        <a:gd name="T20" fmla="*/ 8 w 125"/>
                        <a:gd name="T21" fmla="*/ 8 h 175"/>
                        <a:gd name="T22" fmla="*/ 8 w 125"/>
                        <a:gd name="T23" fmla="*/ 8 h 175"/>
                        <a:gd name="T24" fmla="*/ 8 w 125"/>
                        <a:gd name="T25" fmla="*/ 8 h 175"/>
                        <a:gd name="T26" fmla="*/ 8 w 125"/>
                        <a:gd name="T27" fmla="*/ 8 h 175"/>
                        <a:gd name="T28" fmla="*/ 8 w 125"/>
                        <a:gd name="T29" fmla="*/ 8 h 175"/>
                        <a:gd name="T30" fmla="*/ 9 w 125"/>
                        <a:gd name="T31" fmla="*/ 0 h 175"/>
                        <a:gd name="T32" fmla="*/ 9 w 125"/>
                        <a:gd name="T33" fmla="*/ 8 h 175"/>
                        <a:gd name="T34" fmla="*/ 12 w 125"/>
                        <a:gd name="T35" fmla="*/ 8 h 175"/>
                        <a:gd name="T36" fmla="*/ 13 w 125"/>
                        <a:gd name="T37" fmla="*/ 8 h 175"/>
                        <a:gd name="T38" fmla="*/ 12 w 125"/>
                        <a:gd name="T39" fmla="*/ 8 h 175"/>
                        <a:gd name="T40" fmla="*/ 11 w 125"/>
                        <a:gd name="T41" fmla="*/ 8 h 175"/>
                        <a:gd name="T42" fmla="*/ 13 w 125"/>
                        <a:gd name="T43" fmla="*/ 8 h 175"/>
                        <a:gd name="T44" fmla="*/ 14 w 125"/>
                        <a:gd name="T45" fmla="*/ 8 h 175"/>
                        <a:gd name="T46" fmla="*/ 17 w 125"/>
                        <a:gd name="T47" fmla="*/ 8 h 175"/>
                        <a:gd name="T48" fmla="*/ 18 w 125"/>
                        <a:gd name="T49" fmla="*/ 8 h 175"/>
                        <a:gd name="T50" fmla="*/ 20 w 125"/>
                        <a:gd name="T51" fmla="*/ 8 h 175"/>
                        <a:gd name="T52" fmla="*/ 21 w 125"/>
                        <a:gd name="T53" fmla="*/ 8 h 175"/>
                        <a:gd name="T54" fmla="*/ 21 w 125"/>
                        <a:gd name="T55" fmla="*/ 8 h 175"/>
                        <a:gd name="T56" fmla="*/ 22 w 125"/>
                        <a:gd name="T57" fmla="*/ 13 h 175"/>
                        <a:gd name="T58" fmla="*/ 23 w 125"/>
                        <a:gd name="T59" fmla="*/ 16 h 175"/>
                        <a:gd name="T60" fmla="*/ 22 w 125"/>
                        <a:gd name="T61" fmla="*/ 18 h 175"/>
                        <a:gd name="T62" fmla="*/ 19 w 125"/>
                        <a:gd name="T63" fmla="*/ 20 h 175"/>
                        <a:gd name="T64" fmla="*/ 17 w 125"/>
                        <a:gd name="T65" fmla="*/ 21 h 175"/>
                        <a:gd name="T66" fmla="*/ 17 w 125"/>
                        <a:gd name="T67" fmla="*/ 22 h 175"/>
                        <a:gd name="T68" fmla="*/ 19 w 125"/>
                        <a:gd name="T69" fmla="*/ 23 h 175"/>
                        <a:gd name="T70" fmla="*/ 21 w 125"/>
                        <a:gd name="T71" fmla="*/ 25 h 175"/>
                        <a:gd name="T72" fmla="*/ 19 w 125"/>
                        <a:gd name="T73" fmla="*/ 27 h 175"/>
                        <a:gd name="T74" fmla="*/ 19 w 125"/>
                        <a:gd name="T75" fmla="*/ 29 h 175"/>
                        <a:gd name="T76" fmla="*/ 18 w 125"/>
                        <a:gd name="T77" fmla="*/ 29 h 175"/>
                        <a:gd name="T78" fmla="*/ 8 w 125"/>
                        <a:gd name="T79" fmla="*/ 29 h 175"/>
                        <a:gd name="T80" fmla="*/ 8 w 125"/>
                        <a:gd name="T81" fmla="*/ 29 h 175"/>
                        <a:gd name="T82" fmla="*/ 8 w 125"/>
                        <a:gd name="T83" fmla="*/ 29 h 175"/>
                        <a:gd name="T84" fmla="*/ 8 w 125"/>
                        <a:gd name="T85" fmla="*/ 24 h 175"/>
                        <a:gd name="T86" fmla="*/ 8 w 125"/>
                        <a:gd name="T87" fmla="*/ 23 h 175"/>
                        <a:gd name="T88" fmla="*/ 8 w 125"/>
                        <a:gd name="T89" fmla="*/ 23 h 175"/>
                        <a:gd name="T90" fmla="*/ 5 w 125"/>
                        <a:gd name="T91" fmla="*/ 21 h 175"/>
                        <a:gd name="T92" fmla="*/ 19 w 125"/>
                        <a:gd name="T93" fmla="*/ 8 h 175"/>
                        <a:gd name="T94" fmla="*/ 20 w 125"/>
                        <a:gd name="T95" fmla="*/ 8 h 175"/>
                        <a:gd name="T96" fmla="*/ 19 w 125"/>
                        <a:gd name="T97" fmla="*/ 8 h 175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w 125"/>
                        <a:gd name="T148" fmla="*/ 0 h 175"/>
                        <a:gd name="T149" fmla="*/ 125 w 125"/>
                        <a:gd name="T150" fmla="*/ 175 h 175"/>
                      </a:gdLst>
                      <a:ahLst/>
                      <a:cxnLst>
                        <a:cxn ang="T98">
                          <a:pos x="T0" y="T1"/>
                        </a:cxn>
                        <a:cxn ang="T99">
                          <a:pos x="T2" y="T3"/>
                        </a:cxn>
                        <a:cxn ang="T100">
                          <a:pos x="T4" y="T5"/>
                        </a:cxn>
                        <a:cxn ang="T101">
                          <a:pos x="T6" y="T7"/>
                        </a:cxn>
                        <a:cxn ang="T102">
                          <a:pos x="T8" y="T9"/>
                        </a:cxn>
                        <a:cxn ang="T103">
                          <a:pos x="T10" y="T11"/>
                        </a:cxn>
                        <a:cxn ang="T104">
                          <a:pos x="T12" y="T13"/>
                        </a:cxn>
                        <a:cxn ang="T105">
                          <a:pos x="T14" y="T15"/>
                        </a:cxn>
                        <a:cxn ang="T106">
                          <a:pos x="T16" y="T17"/>
                        </a:cxn>
                        <a:cxn ang="T107">
                          <a:pos x="T18" y="T19"/>
                        </a:cxn>
                        <a:cxn ang="T108">
                          <a:pos x="T20" y="T21"/>
                        </a:cxn>
                        <a:cxn ang="T109">
                          <a:pos x="T22" y="T23"/>
                        </a:cxn>
                        <a:cxn ang="T110">
                          <a:pos x="T24" y="T25"/>
                        </a:cxn>
                        <a:cxn ang="T111">
                          <a:pos x="T26" y="T27"/>
                        </a:cxn>
                        <a:cxn ang="T112">
                          <a:pos x="T28" y="T29"/>
                        </a:cxn>
                        <a:cxn ang="T113">
                          <a:pos x="T30" y="T31"/>
                        </a:cxn>
                        <a:cxn ang="T114">
                          <a:pos x="T32" y="T33"/>
                        </a:cxn>
                        <a:cxn ang="T115">
                          <a:pos x="T34" y="T35"/>
                        </a:cxn>
                        <a:cxn ang="T116">
                          <a:pos x="T36" y="T37"/>
                        </a:cxn>
                        <a:cxn ang="T117">
                          <a:pos x="T38" y="T39"/>
                        </a:cxn>
                        <a:cxn ang="T118">
                          <a:pos x="T40" y="T41"/>
                        </a:cxn>
                        <a:cxn ang="T119">
                          <a:pos x="T42" y="T43"/>
                        </a:cxn>
                        <a:cxn ang="T120">
                          <a:pos x="T44" y="T45"/>
                        </a:cxn>
                        <a:cxn ang="T121">
                          <a:pos x="T46" y="T47"/>
                        </a:cxn>
                        <a:cxn ang="T122">
                          <a:pos x="T48" y="T49"/>
                        </a:cxn>
                        <a:cxn ang="T123">
                          <a:pos x="T50" y="T51"/>
                        </a:cxn>
                        <a:cxn ang="T124">
                          <a:pos x="T52" y="T53"/>
                        </a:cxn>
                        <a:cxn ang="T125">
                          <a:pos x="T54" y="T55"/>
                        </a:cxn>
                        <a:cxn ang="T126">
                          <a:pos x="T56" y="T57"/>
                        </a:cxn>
                        <a:cxn ang="T127">
                          <a:pos x="T58" y="T59"/>
                        </a:cxn>
                        <a:cxn ang="T128">
                          <a:pos x="T60" y="T61"/>
                        </a:cxn>
                        <a:cxn ang="T129">
                          <a:pos x="T62" y="T63"/>
                        </a:cxn>
                        <a:cxn ang="T130">
                          <a:pos x="T64" y="T65"/>
                        </a:cxn>
                        <a:cxn ang="T131">
                          <a:pos x="T66" y="T67"/>
                        </a:cxn>
                        <a:cxn ang="T132">
                          <a:pos x="T68" y="T69"/>
                        </a:cxn>
                        <a:cxn ang="T133">
                          <a:pos x="T70" y="T71"/>
                        </a:cxn>
                        <a:cxn ang="T134">
                          <a:pos x="T72" y="T73"/>
                        </a:cxn>
                        <a:cxn ang="T135">
                          <a:pos x="T74" y="T75"/>
                        </a:cxn>
                        <a:cxn ang="T136">
                          <a:pos x="T76" y="T77"/>
                        </a:cxn>
                        <a:cxn ang="T137">
                          <a:pos x="T78" y="T79"/>
                        </a:cxn>
                        <a:cxn ang="T138">
                          <a:pos x="T80" y="T81"/>
                        </a:cxn>
                        <a:cxn ang="T139">
                          <a:pos x="T82" y="T83"/>
                        </a:cxn>
                        <a:cxn ang="T140">
                          <a:pos x="T84" y="T85"/>
                        </a:cxn>
                        <a:cxn ang="T141">
                          <a:pos x="T86" y="T87"/>
                        </a:cxn>
                        <a:cxn ang="T142">
                          <a:pos x="T88" y="T89"/>
                        </a:cxn>
                        <a:cxn ang="T143">
                          <a:pos x="T90" y="T91"/>
                        </a:cxn>
                        <a:cxn ang="T144">
                          <a:pos x="T92" y="T93"/>
                        </a:cxn>
                        <a:cxn ang="T145">
                          <a:pos x="T94" y="T95"/>
                        </a:cxn>
                        <a:cxn ang="T146">
                          <a:pos x="T96" y="T97"/>
                        </a:cxn>
                      </a:cxnLst>
                      <a:rect l="T147" t="T148" r="T149" b="T150"/>
                      <a:pathLst>
                        <a:path w="125" h="175">
                          <a:moveTo>
                            <a:pt x="5" y="117"/>
                          </a:moveTo>
                          <a:lnTo>
                            <a:pt x="9" y="108"/>
                          </a:lnTo>
                          <a:lnTo>
                            <a:pt x="5" y="99"/>
                          </a:lnTo>
                          <a:lnTo>
                            <a:pt x="0" y="94"/>
                          </a:lnTo>
                          <a:lnTo>
                            <a:pt x="5" y="85"/>
                          </a:lnTo>
                          <a:lnTo>
                            <a:pt x="0" y="81"/>
                          </a:lnTo>
                          <a:lnTo>
                            <a:pt x="0" y="76"/>
                          </a:lnTo>
                          <a:lnTo>
                            <a:pt x="9" y="72"/>
                          </a:lnTo>
                          <a:lnTo>
                            <a:pt x="14" y="72"/>
                          </a:lnTo>
                          <a:lnTo>
                            <a:pt x="14" y="54"/>
                          </a:lnTo>
                          <a:lnTo>
                            <a:pt x="18" y="45"/>
                          </a:lnTo>
                          <a:lnTo>
                            <a:pt x="14" y="45"/>
                          </a:lnTo>
                          <a:lnTo>
                            <a:pt x="14" y="36"/>
                          </a:lnTo>
                          <a:lnTo>
                            <a:pt x="18" y="36"/>
                          </a:lnTo>
                          <a:lnTo>
                            <a:pt x="18" y="32"/>
                          </a:lnTo>
                          <a:lnTo>
                            <a:pt x="27" y="32"/>
                          </a:lnTo>
                          <a:lnTo>
                            <a:pt x="32" y="32"/>
                          </a:lnTo>
                          <a:lnTo>
                            <a:pt x="32" y="36"/>
                          </a:lnTo>
                          <a:lnTo>
                            <a:pt x="36" y="36"/>
                          </a:lnTo>
                          <a:lnTo>
                            <a:pt x="36" y="32"/>
                          </a:lnTo>
                          <a:lnTo>
                            <a:pt x="41" y="27"/>
                          </a:lnTo>
                          <a:lnTo>
                            <a:pt x="45" y="27"/>
                          </a:lnTo>
                          <a:lnTo>
                            <a:pt x="50" y="27"/>
                          </a:lnTo>
                          <a:lnTo>
                            <a:pt x="45" y="23"/>
                          </a:lnTo>
                          <a:lnTo>
                            <a:pt x="45" y="18"/>
                          </a:lnTo>
                          <a:lnTo>
                            <a:pt x="41" y="14"/>
                          </a:lnTo>
                          <a:lnTo>
                            <a:pt x="45" y="14"/>
                          </a:lnTo>
                          <a:lnTo>
                            <a:pt x="41" y="5"/>
                          </a:lnTo>
                          <a:lnTo>
                            <a:pt x="58" y="0"/>
                          </a:lnTo>
                          <a:lnTo>
                            <a:pt x="58" y="9"/>
                          </a:lnTo>
                          <a:lnTo>
                            <a:pt x="58" y="14"/>
                          </a:lnTo>
                          <a:lnTo>
                            <a:pt x="63" y="18"/>
                          </a:lnTo>
                          <a:lnTo>
                            <a:pt x="67" y="14"/>
                          </a:lnTo>
                          <a:lnTo>
                            <a:pt x="67" y="9"/>
                          </a:lnTo>
                          <a:lnTo>
                            <a:pt x="72" y="9"/>
                          </a:lnTo>
                          <a:lnTo>
                            <a:pt x="72" y="14"/>
                          </a:lnTo>
                          <a:lnTo>
                            <a:pt x="67" y="18"/>
                          </a:lnTo>
                          <a:lnTo>
                            <a:pt x="63" y="23"/>
                          </a:lnTo>
                          <a:lnTo>
                            <a:pt x="63" y="27"/>
                          </a:lnTo>
                          <a:lnTo>
                            <a:pt x="72" y="27"/>
                          </a:lnTo>
                          <a:lnTo>
                            <a:pt x="76" y="27"/>
                          </a:lnTo>
                          <a:lnTo>
                            <a:pt x="76" y="23"/>
                          </a:lnTo>
                          <a:lnTo>
                            <a:pt x="85" y="23"/>
                          </a:lnTo>
                          <a:lnTo>
                            <a:pt x="90" y="14"/>
                          </a:lnTo>
                          <a:lnTo>
                            <a:pt x="94" y="14"/>
                          </a:lnTo>
                          <a:lnTo>
                            <a:pt x="94" y="18"/>
                          </a:lnTo>
                          <a:lnTo>
                            <a:pt x="99" y="18"/>
                          </a:lnTo>
                          <a:lnTo>
                            <a:pt x="108" y="23"/>
                          </a:lnTo>
                          <a:lnTo>
                            <a:pt x="108" y="27"/>
                          </a:lnTo>
                          <a:lnTo>
                            <a:pt x="112" y="27"/>
                          </a:lnTo>
                          <a:lnTo>
                            <a:pt x="112" y="36"/>
                          </a:lnTo>
                          <a:lnTo>
                            <a:pt x="112" y="50"/>
                          </a:lnTo>
                          <a:lnTo>
                            <a:pt x="121" y="59"/>
                          </a:lnTo>
                          <a:lnTo>
                            <a:pt x="121" y="72"/>
                          </a:lnTo>
                          <a:lnTo>
                            <a:pt x="121" y="85"/>
                          </a:lnTo>
                          <a:lnTo>
                            <a:pt x="125" y="90"/>
                          </a:lnTo>
                          <a:lnTo>
                            <a:pt x="125" y="99"/>
                          </a:lnTo>
                          <a:lnTo>
                            <a:pt x="121" y="99"/>
                          </a:lnTo>
                          <a:lnTo>
                            <a:pt x="117" y="108"/>
                          </a:lnTo>
                          <a:lnTo>
                            <a:pt x="103" y="108"/>
                          </a:lnTo>
                          <a:lnTo>
                            <a:pt x="94" y="117"/>
                          </a:lnTo>
                          <a:lnTo>
                            <a:pt x="90" y="117"/>
                          </a:lnTo>
                          <a:lnTo>
                            <a:pt x="85" y="117"/>
                          </a:lnTo>
                          <a:lnTo>
                            <a:pt x="90" y="126"/>
                          </a:lnTo>
                          <a:lnTo>
                            <a:pt x="94" y="135"/>
                          </a:lnTo>
                          <a:lnTo>
                            <a:pt x="103" y="135"/>
                          </a:lnTo>
                          <a:lnTo>
                            <a:pt x="112" y="143"/>
                          </a:lnTo>
                          <a:lnTo>
                            <a:pt x="112" y="148"/>
                          </a:lnTo>
                          <a:lnTo>
                            <a:pt x="108" y="152"/>
                          </a:lnTo>
                          <a:lnTo>
                            <a:pt x="99" y="157"/>
                          </a:lnTo>
                          <a:lnTo>
                            <a:pt x="94" y="161"/>
                          </a:lnTo>
                          <a:lnTo>
                            <a:pt x="103" y="166"/>
                          </a:lnTo>
                          <a:lnTo>
                            <a:pt x="99" y="175"/>
                          </a:lnTo>
                          <a:lnTo>
                            <a:pt x="94" y="170"/>
                          </a:lnTo>
                          <a:lnTo>
                            <a:pt x="76" y="175"/>
                          </a:lnTo>
                          <a:lnTo>
                            <a:pt x="54" y="170"/>
                          </a:lnTo>
                          <a:lnTo>
                            <a:pt x="45" y="170"/>
                          </a:lnTo>
                          <a:lnTo>
                            <a:pt x="36" y="170"/>
                          </a:lnTo>
                          <a:lnTo>
                            <a:pt x="27" y="175"/>
                          </a:lnTo>
                          <a:lnTo>
                            <a:pt x="27" y="170"/>
                          </a:lnTo>
                          <a:lnTo>
                            <a:pt x="27" y="157"/>
                          </a:lnTo>
                          <a:lnTo>
                            <a:pt x="32" y="143"/>
                          </a:lnTo>
                          <a:lnTo>
                            <a:pt x="27" y="135"/>
                          </a:lnTo>
                          <a:lnTo>
                            <a:pt x="23" y="135"/>
                          </a:lnTo>
                          <a:lnTo>
                            <a:pt x="9" y="139"/>
                          </a:lnTo>
                          <a:lnTo>
                            <a:pt x="9" y="130"/>
                          </a:lnTo>
                          <a:lnTo>
                            <a:pt x="9" y="126"/>
                          </a:lnTo>
                          <a:lnTo>
                            <a:pt x="5" y="121"/>
                          </a:lnTo>
                          <a:lnTo>
                            <a:pt x="5" y="117"/>
                          </a:lnTo>
                          <a:close/>
                          <a:moveTo>
                            <a:pt x="103" y="9"/>
                          </a:moveTo>
                          <a:lnTo>
                            <a:pt x="99" y="18"/>
                          </a:lnTo>
                          <a:lnTo>
                            <a:pt x="108" y="18"/>
                          </a:lnTo>
                          <a:lnTo>
                            <a:pt x="108" y="14"/>
                          </a:lnTo>
                          <a:lnTo>
                            <a:pt x="103" y="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6" name="Freeform 194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3049" y="2001"/>
                      <a:ext cx="111" cy="119"/>
                    </a:xfrm>
                    <a:custGeom>
                      <a:avLst/>
                      <a:gdLst>
                        <a:gd name="T0" fmla="*/ 9 w 117"/>
                        <a:gd name="T1" fmla="*/ 9 h 126"/>
                        <a:gd name="T2" fmla="*/ 9 w 117"/>
                        <a:gd name="T3" fmla="*/ 12 h 126"/>
                        <a:gd name="T4" fmla="*/ 9 w 117"/>
                        <a:gd name="T5" fmla="*/ 12 h 126"/>
                        <a:gd name="T6" fmla="*/ 9 w 117"/>
                        <a:gd name="T7" fmla="*/ 14 h 126"/>
                        <a:gd name="T8" fmla="*/ 9 w 117"/>
                        <a:gd name="T9" fmla="*/ 13 h 126"/>
                        <a:gd name="T10" fmla="*/ 9 w 117"/>
                        <a:gd name="T11" fmla="*/ 19 h 126"/>
                        <a:gd name="T12" fmla="*/ 9 w 117"/>
                        <a:gd name="T13" fmla="*/ 19 h 126"/>
                        <a:gd name="T14" fmla="*/ 9 w 117"/>
                        <a:gd name="T15" fmla="*/ 20 h 126"/>
                        <a:gd name="T16" fmla="*/ 9 w 117"/>
                        <a:gd name="T17" fmla="*/ 16 h 126"/>
                        <a:gd name="T18" fmla="*/ 9 w 117"/>
                        <a:gd name="T19" fmla="*/ 16 h 126"/>
                        <a:gd name="T20" fmla="*/ 10 w 117"/>
                        <a:gd name="T21" fmla="*/ 15 h 126"/>
                        <a:gd name="T22" fmla="*/ 9 w 117"/>
                        <a:gd name="T23" fmla="*/ 10 h 126"/>
                        <a:gd name="T24" fmla="*/ 9 w 117"/>
                        <a:gd name="T25" fmla="*/ 9 h 126"/>
                        <a:gd name="T26" fmla="*/ 9 w 117"/>
                        <a:gd name="T27" fmla="*/ 9 h 126"/>
                        <a:gd name="T28" fmla="*/ 9 w 117"/>
                        <a:gd name="T29" fmla="*/ 9 h 126"/>
                        <a:gd name="T30" fmla="*/ 11 w 117"/>
                        <a:gd name="T31" fmla="*/ 9 h 126"/>
                        <a:gd name="T32" fmla="*/ 16 w 117"/>
                        <a:gd name="T33" fmla="*/ 9 h 126"/>
                        <a:gd name="T34" fmla="*/ 16 w 117"/>
                        <a:gd name="T35" fmla="*/ 5 h 126"/>
                        <a:gd name="T36" fmla="*/ 9 w 117"/>
                        <a:gd name="T37" fmla="*/ 5 h 126"/>
                        <a:gd name="T38" fmla="*/ 9 w 117"/>
                        <a:gd name="T39" fmla="*/ 9 h 126"/>
                        <a:gd name="T40" fmla="*/ 5 w 117"/>
                        <a:gd name="T41" fmla="*/ 9 h 126"/>
                        <a:gd name="T42" fmla="*/ 10 w 117"/>
                        <a:gd name="T43" fmla="*/ 10 h 126"/>
                        <a:gd name="T44" fmla="*/ 14 w 117"/>
                        <a:gd name="T45" fmla="*/ 14 h 126"/>
                        <a:gd name="T46" fmla="*/ 11 w 117"/>
                        <a:gd name="T47" fmla="*/ 9 h 126"/>
                        <a:gd name="T48" fmla="*/ 9 w 117"/>
                        <a:gd name="T49" fmla="*/ 9 h 126"/>
                        <a:gd name="T50" fmla="*/ 9 w 117"/>
                        <a:gd name="T51" fmla="*/ 22 h 126"/>
                        <a:gd name="T52" fmla="*/ 13 w 117"/>
                        <a:gd name="T53" fmla="*/ 24 h 126"/>
                        <a:gd name="T54" fmla="*/ 18 w 117"/>
                        <a:gd name="T55" fmla="*/ 23 h 126"/>
                        <a:gd name="T56" fmla="*/ 13 w 117"/>
                        <a:gd name="T57" fmla="*/ 22 h 126"/>
                        <a:gd name="T58" fmla="*/ 11 w 117"/>
                        <a:gd name="T59" fmla="*/ 18 h 126"/>
                        <a:gd name="T60" fmla="*/ 11 w 117"/>
                        <a:gd name="T61" fmla="*/ 18 h 126"/>
                        <a:gd name="T62" fmla="*/ 16 w 117"/>
                        <a:gd name="T63" fmla="*/ 17 h 126"/>
                        <a:gd name="T64" fmla="*/ 17 w 117"/>
                        <a:gd name="T65" fmla="*/ 16 h 126"/>
                        <a:gd name="T66" fmla="*/ 18 w 117"/>
                        <a:gd name="T67" fmla="*/ 18 h 126"/>
                        <a:gd name="T68" fmla="*/ 18 w 117"/>
                        <a:gd name="T69" fmla="*/ 18 h 126"/>
                        <a:gd name="T70" fmla="*/ 19 w 117"/>
                        <a:gd name="T71" fmla="*/ 9 h 126"/>
                        <a:gd name="T72" fmla="*/ 20 w 117"/>
                        <a:gd name="T73" fmla="*/ 9 h 126"/>
                        <a:gd name="T74" fmla="*/ 18 w 117"/>
                        <a:gd name="T75" fmla="*/ 15 h 126"/>
                        <a:gd name="T76" fmla="*/ 18 w 117"/>
                        <a:gd name="T77" fmla="*/ 15 h 126"/>
                        <a:gd name="T78" fmla="*/ 19 w 117"/>
                        <a:gd name="T79" fmla="*/ 12 h 126"/>
                        <a:gd name="T80" fmla="*/ 24 w 117"/>
                        <a:gd name="T81" fmla="*/ 20 h 126"/>
                        <a:gd name="T82" fmla="*/ 24 w 117"/>
                        <a:gd name="T83" fmla="*/ 21 h 126"/>
                        <a:gd name="T84" fmla="*/ 24 w 117"/>
                        <a:gd name="T85" fmla="*/ 20 h 12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w 117"/>
                        <a:gd name="T130" fmla="*/ 0 h 126"/>
                        <a:gd name="T131" fmla="*/ 117 w 117"/>
                        <a:gd name="T132" fmla="*/ 126 h 126"/>
                      </a:gdLst>
                      <a:ahLst/>
                      <a:cxnLst>
                        <a:cxn ang="T86">
                          <a:pos x="T0" y="T1"/>
                        </a:cxn>
                        <a:cxn ang="T87">
                          <a:pos x="T2" y="T3"/>
                        </a:cxn>
                        <a:cxn ang="T88">
                          <a:pos x="T4" y="T5"/>
                        </a:cxn>
                        <a:cxn ang="T89">
                          <a:pos x="T6" y="T7"/>
                        </a:cxn>
                        <a:cxn ang="T90">
                          <a:pos x="T8" y="T9"/>
                        </a:cxn>
                        <a:cxn ang="T91">
                          <a:pos x="T10" y="T11"/>
                        </a:cxn>
                        <a:cxn ang="T92">
                          <a:pos x="T12" y="T13"/>
                        </a:cxn>
                        <a:cxn ang="T93">
                          <a:pos x="T14" y="T15"/>
                        </a:cxn>
                        <a:cxn ang="T94">
                          <a:pos x="T16" y="T17"/>
                        </a:cxn>
                        <a:cxn ang="T95">
                          <a:pos x="T18" y="T19"/>
                        </a:cxn>
                        <a:cxn ang="T96">
                          <a:pos x="T20" y="T21"/>
                        </a:cxn>
                        <a:cxn ang="T97">
                          <a:pos x="T22" y="T23"/>
                        </a:cxn>
                        <a:cxn ang="T98">
                          <a:pos x="T24" y="T25"/>
                        </a:cxn>
                        <a:cxn ang="T99">
                          <a:pos x="T26" y="T27"/>
                        </a:cxn>
                        <a:cxn ang="T100">
                          <a:pos x="T28" y="T29"/>
                        </a:cxn>
                        <a:cxn ang="T101">
                          <a:pos x="T30" y="T31"/>
                        </a:cxn>
                        <a:cxn ang="T102">
                          <a:pos x="T32" y="T33"/>
                        </a:cxn>
                        <a:cxn ang="T103">
                          <a:pos x="T34" y="T35"/>
                        </a:cxn>
                        <a:cxn ang="T104">
                          <a:pos x="T36" y="T37"/>
                        </a:cxn>
                        <a:cxn ang="T105">
                          <a:pos x="T38" y="T39"/>
                        </a:cxn>
                        <a:cxn ang="T106">
                          <a:pos x="T40" y="T41"/>
                        </a:cxn>
                        <a:cxn ang="T107">
                          <a:pos x="T42" y="T43"/>
                        </a:cxn>
                        <a:cxn ang="T108">
                          <a:pos x="T44" y="T45"/>
                        </a:cxn>
                        <a:cxn ang="T109">
                          <a:pos x="T46" y="T47"/>
                        </a:cxn>
                        <a:cxn ang="T110">
                          <a:pos x="T48" y="T49"/>
                        </a:cxn>
                        <a:cxn ang="T111">
                          <a:pos x="T50" y="T51"/>
                        </a:cxn>
                        <a:cxn ang="T112">
                          <a:pos x="T52" y="T53"/>
                        </a:cxn>
                        <a:cxn ang="T113">
                          <a:pos x="T54" y="T55"/>
                        </a:cxn>
                        <a:cxn ang="T114">
                          <a:pos x="T56" y="T57"/>
                        </a:cxn>
                        <a:cxn ang="T115">
                          <a:pos x="T58" y="T59"/>
                        </a:cxn>
                        <a:cxn ang="T116">
                          <a:pos x="T60" y="T61"/>
                        </a:cxn>
                        <a:cxn ang="T117">
                          <a:pos x="T62" y="T63"/>
                        </a:cxn>
                        <a:cxn ang="T118">
                          <a:pos x="T64" y="T65"/>
                        </a:cxn>
                        <a:cxn ang="T119">
                          <a:pos x="T66" y="T67"/>
                        </a:cxn>
                        <a:cxn ang="T120">
                          <a:pos x="T68" y="T69"/>
                        </a:cxn>
                        <a:cxn ang="T121">
                          <a:pos x="T70" y="T71"/>
                        </a:cxn>
                        <a:cxn ang="T122">
                          <a:pos x="T72" y="T73"/>
                        </a:cxn>
                        <a:cxn ang="T123">
                          <a:pos x="T74" y="T75"/>
                        </a:cxn>
                        <a:cxn ang="T124">
                          <a:pos x="T76" y="T77"/>
                        </a:cxn>
                        <a:cxn ang="T125">
                          <a:pos x="T78" y="T79"/>
                        </a:cxn>
                        <a:cxn ang="T126">
                          <a:pos x="T80" y="T81"/>
                        </a:cxn>
                        <a:cxn ang="T127">
                          <a:pos x="T82" y="T83"/>
                        </a:cxn>
                        <a:cxn ang="T128">
                          <a:pos x="T84" y="T85"/>
                        </a:cxn>
                      </a:cxnLst>
                      <a:rect l="T129" t="T130" r="T131" b="T132"/>
                      <a:pathLst>
                        <a:path w="117" h="126">
                          <a:moveTo>
                            <a:pt x="0" y="41"/>
                          </a:moveTo>
                          <a:lnTo>
                            <a:pt x="5" y="45"/>
                          </a:lnTo>
                          <a:lnTo>
                            <a:pt x="9" y="45"/>
                          </a:lnTo>
                          <a:lnTo>
                            <a:pt x="14" y="50"/>
                          </a:lnTo>
                          <a:lnTo>
                            <a:pt x="9" y="50"/>
                          </a:lnTo>
                          <a:lnTo>
                            <a:pt x="14" y="63"/>
                          </a:lnTo>
                          <a:lnTo>
                            <a:pt x="18" y="59"/>
                          </a:lnTo>
                          <a:lnTo>
                            <a:pt x="36" y="59"/>
                          </a:lnTo>
                          <a:lnTo>
                            <a:pt x="41" y="63"/>
                          </a:lnTo>
                          <a:lnTo>
                            <a:pt x="41" y="67"/>
                          </a:lnTo>
                          <a:lnTo>
                            <a:pt x="45" y="72"/>
                          </a:lnTo>
                          <a:lnTo>
                            <a:pt x="41" y="72"/>
                          </a:lnTo>
                          <a:lnTo>
                            <a:pt x="27" y="63"/>
                          </a:lnTo>
                          <a:lnTo>
                            <a:pt x="23" y="63"/>
                          </a:lnTo>
                          <a:lnTo>
                            <a:pt x="14" y="67"/>
                          </a:lnTo>
                          <a:lnTo>
                            <a:pt x="18" y="76"/>
                          </a:lnTo>
                          <a:lnTo>
                            <a:pt x="23" y="85"/>
                          </a:lnTo>
                          <a:lnTo>
                            <a:pt x="23" y="94"/>
                          </a:lnTo>
                          <a:lnTo>
                            <a:pt x="27" y="85"/>
                          </a:lnTo>
                          <a:lnTo>
                            <a:pt x="32" y="99"/>
                          </a:lnTo>
                          <a:lnTo>
                            <a:pt x="36" y="94"/>
                          </a:lnTo>
                          <a:lnTo>
                            <a:pt x="36" y="90"/>
                          </a:lnTo>
                          <a:lnTo>
                            <a:pt x="41" y="94"/>
                          </a:lnTo>
                          <a:lnTo>
                            <a:pt x="41" y="99"/>
                          </a:lnTo>
                          <a:lnTo>
                            <a:pt x="45" y="94"/>
                          </a:lnTo>
                          <a:lnTo>
                            <a:pt x="45" y="90"/>
                          </a:lnTo>
                          <a:lnTo>
                            <a:pt x="41" y="81"/>
                          </a:lnTo>
                          <a:lnTo>
                            <a:pt x="41" y="76"/>
                          </a:lnTo>
                          <a:lnTo>
                            <a:pt x="45" y="81"/>
                          </a:lnTo>
                          <a:lnTo>
                            <a:pt x="50" y="81"/>
                          </a:lnTo>
                          <a:lnTo>
                            <a:pt x="45" y="76"/>
                          </a:lnTo>
                          <a:lnTo>
                            <a:pt x="50" y="72"/>
                          </a:lnTo>
                          <a:lnTo>
                            <a:pt x="54" y="76"/>
                          </a:lnTo>
                          <a:lnTo>
                            <a:pt x="58" y="72"/>
                          </a:lnTo>
                          <a:lnTo>
                            <a:pt x="54" y="63"/>
                          </a:lnTo>
                          <a:lnTo>
                            <a:pt x="45" y="59"/>
                          </a:lnTo>
                          <a:lnTo>
                            <a:pt x="41" y="54"/>
                          </a:lnTo>
                          <a:lnTo>
                            <a:pt x="32" y="50"/>
                          </a:lnTo>
                          <a:lnTo>
                            <a:pt x="36" y="50"/>
                          </a:lnTo>
                          <a:lnTo>
                            <a:pt x="41" y="45"/>
                          </a:lnTo>
                          <a:lnTo>
                            <a:pt x="45" y="45"/>
                          </a:lnTo>
                          <a:lnTo>
                            <a:pt x="36" y="27"/>
                          </a:lnTo>
                          <a:lnTo>
                            <a:pt x="36" y="18"/>
                          </a:lnTo>
                          <a:lnTo>
                            <a:pt x="41" y="27"/>
                          </a:lnTo>
                          <a:lnTo>
                            <a:pt x="45" y="32"/>
                          </a:lnTo>
                          <a:lnTo>
                            <a:pt x="54" y="32"/>
                          </a:lnTo>
                          <a:lnTo>
                            <a:pt x="54" y="23"/>
                          </a:lnTo>
                          <a:lnTo>
                            <a:pt x="58" y="27"/>
                          </a:lnTo>
                          <a:lnTo>
                            <a:pt x="50" y="18"/>
                          </a:lnTo>
                          <a:lnTo>
                            <a:pt x="58" y="9"/>
                          </a:lnTo>
                          <a:lnTo>
                            <a:pt x="72" y="9"/>
                          </a:lnTo>
                          <a:lnTo>
                            <a:pt x="85" y="9"/>
                          </a:lnTo>
                          <a:lnTo>
                            <a:pt x="85" y="5"/>
                          </a:lnTo>
                          <a:lnTo>
                            <a:pt x="72" y="5"/>
                          </a:lnTo>
                          <a:lnTo>
                            <a:pt x="63" y="0"/>
                          </a:lnTo>
                          <a:lnTo>
                            <a:pt x="54" y="5"/>
                          </a:lnTo>
                          <a:lnTo>
                            <a:pt x="45" y="5"/>
                          </a:lnTo>
                          <a:lnTo>
                            <a:pt x="36" y="9"/>
                          </a:lnTo>
                          <a:lnTo>
                            <a:pt x="32" y="9"/>
                          </a:lnTo>
                          <a:lnTo>
                            <a:pt x="27" y="14"/>
                          </a:lnTo>
                          <a:lnTo>
                            <a:pt x="18" y="18"/>
                          </a:lnTo>
                          <a:lnTo>
                            <a:pt x="5" y="32"/>
                          </a:lnTo>
                          <a:lnTo>
                            <a:pt x="5" y="41"/>
                          </a:lnTo>
                          <a:lnTo>
                            <a:pt x="0" y="41"/>
                          </a:lnTo>
                          <a:close/>
                          <a:moveTo>
                            <a:pt x="41" y="50"/>
                          </a:moveTo>
                          <a:lnTo>
                            <a:pt x="54" y="59"/>
                          </a:lnTo>
                          <a:lnTo>
                            <a:pt x="58" y="67"/>
                          </a:lnTo>
                          <a:lnTo>
                            <a:pt x="67" y="72"/>
                          </a:lnTo>
                          <a:lnTo>
                            <a:pt x="58" y="63"/>
                          </a:lnTo>
                          <a:lnTo>
                            <a:pt x="58" y="59"/>
                          </a:lnTo>
                          <a:lnTo>
                            <a:pt x="58" y="54"/>
                          </a:lnTo>
                          <a:lnTo>
                            <a:pt x="50" y="54"/>
                          </a:lnTo>
                          <a:lnTo>
                            <a:pt x="45" y="50"/>
                          </a:lnTo>
                          <a:lnTo>
                            <a:pt x="41" y="50"/>
                          </a:lnTo>
                          <a:close/>
                          <a:moveTo>
                            <a:pt x="58" y="108"/>
                          </a:moveTo>
                          <a:lnTo>
                            <a:pt x="54" y="108"/>
                          </a:lnTo>
                          <a:lnTo>
                            <a:pt x="50" y="112"/>
                          </a:lnTo>
                          <a:lnTo>
                            <a:pt x="50" y="117"/>
                          </a:lnTo>
                          <a:lnTo>
                            <a:pt x="63" y="117"/>
                          </a:lnTo>
                          <a:lnTo>
                            <a:pt x="63" y="126"/>
                          </a:lnTo>
                          <a:lnTo>
                            <a:pt x="90" y="121"/>
                          </a:lnTo>
                          <a:lnTo>
                            <a:pt x="90" y="112"/>
                          </a:lnTo>
                          <a:lnTo>
                            <a:pt x="81" y="117"/>
                          </a:lnTo>
                          <a:lnTo>
                            <a:pt x="81" y="112"/>
                          </a:lnTo>
                          <a:lnTo>
                            <a:pt x="67" y="112"/>
                          </a:lnTo>
                          <a:lnTo>
                            <a:pt x="63" y="112"/>
                          </a:lnTo>
                          <a:lnTo>
                            <a:pt x="58" y="108"/>
                          </a:lnTo>
                          <a:close/>
                          <a:moveTo>
                            <a:pt x="58" y="90"/>
                          </a:moveTo>
                          <a:lnTo>
                            <a:pt x="58" y="90"/>
                          </a:lnTo>
                          <a:lnTo>
                            <a:pt x="58" y="94"/>
                          </a:lnTo>
                          <a:lnTo>
                            <a:pt x="63" y="90"/>
                          </a:lnTo>
                          <a:lnTo>
                            <a:pt x="58" y="90"/>
                          </a:lnTo>
                          <a:close/>
                          <a:moveTo>
                            <a:pt x="72" y="81"/>
                          </a:moveTo>
                          <a:lnTo>
                            <a:pt x="72" y="85"/>
                          </a:lnTo>
                          <a:lnTo>
                            <a:pt x="76" y="85"/>
                          </a:lnTo>
                          <a:lnTo>
                            <a:pt x="76" y="81"/>
                          </a:lnTo>
                          <a:lnTo>
                            <a:pt x="72" y="85"/>
                          </a:lnTo>
                          <a:lnTo>
                            <a:pt x="72" y="81"/>
                          </a:lnTo>
                          <a:close/>
                          <a:moveTo>
                            <a:pt x="81" y="90"/>
                          </a:moveTo>
                          <a:lnTo>
                            <a:pt x="81" y="90"/>
                          </a:lnTo>
                          <a:lnTo>
                            <a:pt x="85" y="85"/>
                          </a:lnTo>
                          <a:lnTo>
                            <a:pt x="81" y="90"/>
                          </a:lnTo>
                          <a:close/>
                          <a:moveTo>
                            <a:pt x="81" y="41"/>
                          </a:moveTo>
                          <a:lnTo>
                            <a:pt x="81" y="41"/>
                          </a:lnTo>
                          <a:lnTo>
                            <a:pt x="85" y="45"/>
                          </a:lnTo>
                          <a:lnTo>
                            <a:pt x="90" y="45"/>
                          </a:lnTo>
                          <a:lnTo>
                            <a:pt x="90" y="50"/>
                          </a:lnTo>
                          <a:lnTo>
                            <a:pt x="90" y="45"/>
                          </a:lnTo>
                          <a:lnTo>
                            <a:pt x="90" y="41"/>
                          </a:lnTo>
                          <a:lnTo>
                            <a:pt x="81" y="41"/>
                          </a:lnTo>
                          <a:close/>
                          <a:moveTo>
                            <a:pt x="81" y="76"/>
                          </a:moveTo>
                          <a:lnTo>
                            <a:pt x="85" y="76"/>
                          </a:lnTo>
                          <a:lnTo>
                            <a:pt x="90" y="76"/>
                          </a:lnTo>
                          <a:lnTo>
                            <a:pt x="81" y="76"/>
                          </a:lnTo>
                          <a:close/>
                          <a:moveTo>
                            <a:pt x="85" y="54"/>
                          </a:moveTo>
                          <a:lnTo>
                            <a:pt x="81" y="59"/>
                          </a:lnTo>
                          <a:lnTo>
                            <a:pt x="85" y="63"/>
                          </a:lnTo>
                          <a:lnTo>
                            <a:pt x="85" y="59"/>
                          </a:lnTo>
                          <a:lnTo>
                            <a:pt x="85" y="54"/>
                          </a:lnTo>
                          <a:close/>
                          <a:moveTo>
                            <a:pt x="112" y="99"/>
                          </a:moveTo>
                          <a:lnTo>
                            <a:pt x="108" y="103"/>
                          </a:lnTo>
                          <a:lnTo>
                            <a:pt x="108" y="112"/>
                          </a:lnTo>
                          <a:lnTo>
                            <a:pt x="112" y="108"/>
                          </a:lnTo>
                          <a:lnTo>
                            <a:pt x="117" y="108"/>
                          </a:lnTo>
                          <a:lnTo>
                            <a:pt x="117" y="99"/>
                          </a:lnTo>
                          <a:lnTo>
                            <a:pt x="112" y="9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7" name="Freeform 19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94" y="1862"/>
                      <a:ext cx="94" cy="59"/>
                    </a:xfrm>
                    <a:custGeom>
                      <a:avLst/>
                      <a:gdLst>
                        <a:gd name="T0" fmla="*/ 0 w 99"/>
                        <a:gd name="T1" fmla="*/ 7 h 63"/>
                        <a:gd name="T2" fmla="*/ 5 w 99"/>
                        <a:gd name="T3" fmla="*/ 7 h 63"/>
                        <a:gd name="T4" fmla="*/ 5 w 99"/>
                        <a:gd name="T5" fmla="*/ 7 h 63"/>
                        <a:gd name="T6" fmla="*/ 5 w 99"/>
                        <a:gd name="T7" fmla="*/ 7 h 63"/>
                        <a:gd name="T8" fmla="*/ 5 w 99"/>
                        <a:gd name="T9" fmla="*/ 7 h 63"/>
                        <a:gd name="T10" fmla="*/ 9 w 99"/>
                        <a:gd name="T11" fmla="*/ 7 h 63"/>
                        <a:gd name="T12" fmla="*/ 9 w 99"/>
                        <a:gd name="T13" fmla="*/ 7 h 63"/>
                        <a:gd name="T14" fmla="*/ 9 w 99"/>
                        <a:gd name="T15" fmla="*/ 7 h 63"/>
                        <a:gd name="T16" fmla="*/ 9 w 99"/>
                        <a:gd name="T17" fmla="*/ 7 h 63"/>
                        <a:gd name="T18" fmla="*/ 9 w 99"/>
                        <a:gd name="T19" fmla="*/ 7 h 63"/>
                        <a:gd name="T20" fmla="*/ 9 w 99"/>
                        <a:gd name="T21" fmla="*/ 7 h 63"/>
                        <a:gd name="T22" fmla="*/ 10 w 99"/>
                        <a:gd name="T23" fmla="*/ 7 h 63"/>
                        <a:gd name="T24" fmla="*/ 13 w 99"/>
                        <a:gd name="T25" fmla="*/ 0 h 63"/>
                        <a:gd name="T26" fmla="*/ 16 w 99"/>
                        <a:gd name="T27" fmla="*/ 4 h 63"/>
                        <a:gd name="T28" fmla="*/ 17 w 99"/>
                        <a:gd name="T29" fmla="*/ 0 h 63"/>
                        <a:gd name="T30" fmla="*/ 18 w 99"/>
                        <a:gd name="T31" fmla="*/ 4 h 63"/>
                        <a:gd name="T32" fmla="*/ 20 w 99"/>
                        <a:gd name="T33" fmla="*/ 4 h 63"/>
                        <a:gd name="T34" fmla="*/ 22 w 99"/>
                        <a:gd name="T35" fmla="*/ 7 h 63"/>
                        <a:gd name="T36" fmla="*/ 22 w 99"/>
                        <a:gd name="T37" fmla="*/ 7 h 63"/>
                        <a:gd name="T38" fmla="*/ 19 w 99"/>
                        <a:gd name="T39" fmla="*/ 7 h 63"/>
                        <a:gd name="T40" fmla="*/ 17 w 99"/>
                        <a:gd name="T41" fmla="*/ 7 h 63"/>
                        <a:gd name="T42" fmla="*/ 17 w 99"/>
                        <a:gd name="T43" fmla="*/ 7 h 63"/>
                        <a:gd name="T44" fmla="*/ 15 w 99"/>
                        <a:gd name="T45" fmla="*/ 7 h 63"/>
                        <a:gd name="T46" fmla="*/ 13 w 99"/>
                        <a:gd name="T47" fmla="*/ 7 h 63"/>
                        <a:gd name="T48" fmla="*/ 9 w 99"/>
                        <a:gd name="T49" fmla="*/ 7 h 63"/>
                        <a:gd name="T50" fmla="*/ 9 w 99"/>
                        <a:gd name="T51" fmla="*/ 7 h 63"/>
                        <a:gd name="T52" fmla="*/ 9 w 99"/>
                        <a:gd name="T53" fmla="*/ 8 h 63"/>
                        <a:gd name="T54" fmla="*/ 9 w 99"/>
                        <a:gd name="T55" fmla="*/ 7 h 63"/>
                        <a:gd name="T56" fmla="*/ 5 w 99"/>
                        <a:gd name="T57" fmla="*/ 7 h 63"/>
                        <a:gd name="T58" fmla="*/ 5 w 99"/>
                        <a:gd name="T59" fmla="*/ 7 h 63"/>
                        <a:gd name="T60" fmla="*/ 0 w 99"/>
                        <a:gd name="T61" fmla="*/ 7 h 63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w 99"/>
                        <a:gd name="T94" fmla="*/ 0 h 63"/>
                        <a:gd name="T95" fmla="*/ 99 w 99"/>
                        <a:gd name="T96" fmla="*/ 63 h 63"/>
                      </a:gdLst>
                      <a:ahLst/>
                      <a:cxnLst>
                        <a:cxn ang="T62">
                          <a:pos x="T0" y="T1"/>
                        </a:cxn>
                        <a:cxn ang="T63">
                          <a:pos x="T2" y="T3"/>
                        </a:cxn>
                        <a:cxn ang="T64">
                          <a:pos x="T4" y="T5"/>
                        </a:cxn>
                        <a:cxn ang="T65">
                          <a:pos x="T6" y="T7"/>
                        </a:cxn>
                        <a:cxn ang="T66">
                          <a:pos x="T8" y="T9"/>
                        </a:cxn>
                        <a:cxn ang="T67">
                          <a:pos x="T10" y="T11"/>
                        </a:cxn>
                        <a:cxn ang="T68">
                          <a:pos x="T12" y="T13"/>
                        </a:cxn>
                        <a:cxn ang="T69">
                          <a:pos x="T14" y="T15"/>
                        </a:cxn>
                        <a:cxn ang="T70">
                          <a:pos x="T16" y="T17"/>
                        </a:cxn>
                        <a:cxn ang="T71">
                          <a:pos x="T18" y="T19"/>
                        </a:cxn>
                        <a:cxn ang="T72">
                          <a:pos x="T20" y="T21"/>
                        </a:cxn>
                        <a:cxn ang="T73">
                          <a:pos x="T22" y="T23"/>
                        </a:cxn>
                        <a:cxn ang="T74">
                          <a:pos x="T24" y="T25"/>
                        </a:cxn>
                        <a:cxn ang="T75">
                          <a:pos x="T26" y="T27"/>
                        </a:cxn>
                        <a:cxn ang="T76">
                          <a:pos x="T28" y="T29"/>
                        </a:cxn>
                        <a:cxn ang="T77">
                          <a:pos x="T30" y="T31"/>
                        </a:cxn>
                        <a:cxn ang="T78">
                          <a:pos x="T32" y="T33"/>
                        </a:cxn>
                        <a:cxn ang="T79">
                          <a:pos x="T34" y="T35"/>
                        </a:cxn>
                        <a:cxn ang="T80">
                          <a:pos x="T36" y="T37"/>
                        </a:cxn>
                        <a:cxn ang="T81">
                          <a:pos x="T38" y="T39"/>
                        </a:cxn>
                        <a:cxn ang="T82">
                          <a:pos x="T40" y="T41"/>
                        </a:cxn>
                        <a:cxn ang="T83">
                          <a:pos x="T42" y="T43"/>
                        </a:cxn>
                        <a:cxn ang="T84">
                          <a:pos x="T44" y="T45"/>
                        </a:cxn>
                        <a:cxn ang="T85">
                          <a:pos x="T46" y="T47"/>
                        </a:cxn>
                        <a:cxn ang="T86">
                          <a:pos x="T48" y="T49"/>
                        </a:cxn>
                        <a:cxn ang="T87">
                          <a:pos x="T50" y="T51"/>
                        </a:cxn>
                        <a:cxn ang="T88">
                          <a:pos x="T52" y="T53"/>
                        </a:cxn>
                        <a:cxn ang="T89">
                          <a:pos x="T54" y="T55"/>
                        </a:cxn>
                        <a:cxn ang="T90">
                          <a:pos x="T56" y="T57"/>
                        </a:cxn>
                        <a:cxn ang="T91">
                          <a:pos x="T58" y="T59"/>
                        </a:cxn>
                        <a:cxn ang="T92">
                          <a:pos x="T60" y="T61"/>
                        </a:cxn>
                      </a:cxnLst>
                      <a:rect l="T93" t="T94" r="T95" b="T96"/>
                      <a:pathLst>
                        <a:path w="99" h="63">
                          <a:moveTo>
                            <a:pt x="0" y="40"/>
                          </a:moveTo>
                          <a:lnTo>
                            <a:pt x="5" y="36"/>
                          </a:lnTo>
                          <a:lnTo>
                            <a:pt x="5" y="31"/>
                          </a:lnTo>
                          <a:lnTo>
                            <a:pt x="5" y="27"/>
                          </a:lnTo>
                          <a:lnTo>
                            <a:pt x="5" y="22"/>
                          </a:lnTo>
                          <a:lnTo>
                            <a:pt x="14" y="22"/>
                          </a:lnTo>
                          <a:lnTo>
                            <a:pt x="18" y="13"/>
                          </a:lnTo>
                          <a:lnTo>
                            <a:pt x="18" y="9"/>
                          </a:lnTo>
                          <a:lnTo>
                            <a:pt x="23" y="13"/>
                          </a:lnTo>
                          <a:lnTo>
                            <a:pt x="41" y="13"/>
                          </a:lnTo>
                          <a:lnTo>
                            <a:pt x="45" y="9"/>
                          </a:lnTo>
                          <a:lnTo>
                            <a:pt x="54" y="9"/>
                          </a:lnTo>
                          <a:lnTo>
                            <a:pt x="63" y="0"/>
                          </a:lnTo>
                          <a:lnTo>
                            <a:pt x="72" y="4"/>
                          </a:lnTo>
                          <a:lnTo>
                            <a:pt x="76" y="0"/>
                          </a:lnTo>
                          <a:lnTo>
                            <a:pt x="81" y="4"/>
                          </a:lnTo>
                          <a:lnTo>
                            <a:pt x="90" y="4"/>
                          </a:lnTo>
                          <a:lnTo>
                            <a:pt x="99" y="18"/>
                          </a:lnTo>
                          <a:lnTo>
                            <a:pt x="99" y="22"/>
                          </a:lnTo>
                          <a:lnTo>
                            <a:pt x="85" y="27"/>
                          </a:lnTo>
                          <a:lnTo>
                            <a:pt x="76" y="45"/>
                          </a:lnTo>
                          <a:lnTo>
                            <a:pt x="76" y="49"/>
                          </a:lnTo>
                          <a:lnTo>
                            <a:pt x="67" y="54"/>
                          </a:lnTo>
                          <a:lnTo>
                            <a:pt x="63" y="54"/>
                          </a:lnTo>
                          <a:lnTo>
                            <a:pt x="49" y="54"/>
                          </a:lnTo>
                          <a:lnTo>
                            <a:pt x="36" y="58"/>
                          </a:lnTo>
                          <a:lnTo>
                            <a:pt x="27" y="63"/>
                          </a:lnTo>
                          <a:lnTo>
                            <a:pt x="9" y="58"/>
                          </a:lnTo>
                          <a:lnTo>
                            <a:pt x="5" y="49"/>
                          </a:lnTo>
                          <a:lnTo>
                            <a:pt x="0" y="4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8" name="Freeform 19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450" y="1394"/>
                      <a:ext cx="147" cy="97"/>
                    </a:xfrm>
                    <a:custGeom>
                      <a:avLst/>
                      <a:gdLst>
                        <a:gd name="T0" fmla="*/ 8 w 156"/>
                        <a:gd name="T1" fmla="*/ 15 h 103"/>
                        <a:gd name="T2" fmla="*/ 14 w 156"/>
                        <a:gd name="T3" fmla="*/ 18 h 103"/>
                        <a:gd name="T4" fmla="*/ 18 w 156"/>
                        <a:gd name="T5" fmla="*/ 15 h 103"/>
                        <a:gd name="T6" fmla="*/ 21 w 156"/>
                        <a:gd name="T7" fmla="*/ 13 h 103"/>
                        <a:gd name="T8" fmla="*/ 23 w 156"/>
                        <a:gd name="T9" fmla="*/ 12 h 103"/>
                        <a:gd name="T10" fmla="*/ 25 w 156"/>
                        <a:gd name="T11" fmla="*/ 9 h 103"/>
                        <a:gd name="T12" fmla="*/ 25 w 156"/>
                        <a:gd name="T13" fmla="*/ 8 h 103"/>
                        <a:gd name="T14" fmla="*/ 25 w 156"/>
                        <a:gd name="T15" fmla="*/ 8 h 103"/>
                        <a:gd name="T16" fmla="*/ 25 w 156"/>
                        <a:gd name="T17" fmla="*/ 8 h 103"/>
                        <a:gd name="T18" fmla="*/ 24 w 156"/>
                        <a:gd name="T19" fmla="*/ 8 h 103"/>
                        <a:gd name="T20" fmla="*/ 24 w 156"/>
                        <a:gd name="T21" fmla="*/ 8 h 103"/>
                        <a:gd name="T22" fmla="*/ 23 w 156"/>
                        <a:gd name="T23" fmla="*/ 8 h 103"/>
                        <a:gd name="T24" fmla="*/ 23 w 156"/>
                        <a:gd name="T25" fmla="*/ 0 h 103"/>
                        <a:gd name="T26" fmla="*/ 22 w 156"/>
                        <a:gd name="T27" fmla="*/ 8 h 103"/>
                        <a:gd name="T28" fmla="*/ 19 w 156"/>
                        <a:gd name="T29" fmla="*/ 0 h 103"/>
                        <a:gd name="T30" fmla="*/ 19 w 156"/>
                        <a:gd name="T31" fmla="*/ 8 h 103"/>
                        <a:gd name="T32" fmla="*/ 18 w 156"/>
                        <a:gd name="T33" fmla="*/ 8 h 103"/>
                        <a:gd name="T34" fmla="*/ 15 w 156"/>
                        <a:gd name="T35" fmla="*/ 8 h 103"/>
                        <a:gd name="T36" fmla="*/ 13 w 156"/>
                        <a:gd name="T37" fmla="*/ 8 h 103"/>
                        <a:gd name="T38" fmla="*/ 12 w 156"/>
                        <a:gd name="T39" fmla="*/ 8 h 103"/>
                        <a:gd name="T40" fmla="*/ 9 w 156"/>
                        <a:gd name="T41" fmla="*/ 8 h 103"/>
                        <a:gd name="T42" fmla="*/ 8 w 156"/>
                        <a:gd name="T43" fmla="*/ 8 h 103"/>
                        <a:gd name="T44" fmla="*/ 8 w 156"/>
                        <a:gd name="T45" fmla="*/ 8 h 103"/>
                        <a:gd name="T46" fmla="*/ 8 w 156"/>
                        <a:gd name="T47" fmla="*/ 8 h 103"/>
                        <a:gd name="T48" fmla="*/ 8 w 156"/>
                        <a:gd name="T49" fmla="*/ 0 h 103"/>
                        <a:gd name="T50" fmla="*/ 8 w 156"/>
                        <a:gd name="T51" fmla="*/ 8 h 103"/>
                        <a:gd name="T52" fmla="*/ 8 w 156"/>
                        <a:gd name="T53" fmla="*/ 8 h 103"/>
                        <a:gd name="T54" fmla="*/ 8 w 156"/>
                        <a:gd name="T55" fmla="*/ 8 h 103"/>
                        <a:gd name="T56" fmla="*/ 8 w 156"/>
                        <a:gd name="T57" fmla="*/ 8 h 103"/>
                        <a:gd name="T58" fmla="*/ 8 w 156"/>
                        <a:gd name="T59" fmla="*/ 8 h 103"/>
                        <a:gd name="T60" fmla="*/ 0 w 156"/>
                        <a:gd name="T61" fmla="*/ 8 h 103"/>
                        <a:gd name="T62" fmla="*/ 8 w 156"/>
                        <a:gd name="T63" fmla="*/ 8 h 103"/>
                        <a:gd name="T64" fmla="*/ 8 w 156"/>
                        <a:gd name="T65" fmla="*/ 8 h 103"/>
                        <a:gd name="T66" fmla="*/ 8 w 156"/>
                        <a:gd name="T67" fmla="*/ 8 h 103"/>
                        <a:gd name="T68" fmla="*/ 8 w 156"/>
                        <a:gd name="T69" fmla="*/ 11 h 103"/>
                        <a:gd name="T70" fmla="*/ 8 w 156"/>
                        <a:gd name="T71" fmla="*/ 9 h 103"/>
                        <a:gd name="T72" fmla="*/ 8 w 156"/>
                        <a:gd name="T73" fmla="*/ 9 h 103"/>
                        <a:gd name="T74" fmla="*/ 8 w 156"/>
                        <a:gd name="T75" fmla="*/ 14 h 103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w 156"/>
                        <a:gd name="T115" fmla="*/ 0 h 103"/>
                        <a:gd name="T116" fmla="*/ 156 w 156"/>
                        <a:gd name="T117" fmla="*/ 103 h 103"/>
                      </a:gdLst>
                      <a:ahLst/>
                      <a:cxnLst>
                        <a:cxn ang="T76">
                          <a:pos x="T0" y="T1"/>
                        </a:cxn>
                        <a:cxn ang="T77">
                          <a:pos x="T2" y="T3"/>
                        </a:cxn>
                        <a:cxn ang="T78">
                          <a:pos x="T4" y="T5"/>
                        </a:cxn>
                        <a:cxn ang="T79">
                          <a:pos x="T6" y="T7"/>
                        </a:cxn>
                        <a:cxn ang="T80">
                          <a:pos x="T8" y="T9"/>
                        </a:cxn>
                        <a:cxn ang="T81">
                          <a:pos x="T10" y="T11"/>
                        </a:cxn>
                        <a:cxn ang="T82">
                          <a:pos x="T12" y="T13"/>
                        </a:cxn>
                        <a:cxn ang="T83">
                          <a:pos x="T14" y="T15"/>
                        </a:cxn>
                        <a:cxn ang="T84">
                          <a:pos x="T16" y="T17"/>
                        </a:cxn>
                        <a:cxn ang="T85">
                          <a:pos x="T18" y="T19"/>
                        </a:cxn>
                        <a:cxn ang="T86">
                          <a:pos x="T20" y="T21"/>
                        </a:cxn>
                        <a:cxn ang="T87">
                          <a:pos x="T22" y="T23"/>
                        </a:cxn>
                        <a:cxn ang="T88">
                          <a:pos x="T24" y="T25"/>
                        </a:cxn>
                        <a:cxn ang="T89">
                          <a:pos x="T26" y="T27"/>
                        </a:cxn>
                        <a:cxn ang="T90">
                          <a:pos x="T28" y="T29"/>
                        </a:cxn>
                        <a:cxn ang="T91">
                          <a:pos x="T30" y="T31"/>
                        </a:cxn>
                        <a:cxn ang="T92">
                          <a:pos x="T32" y="T33"/>
                        </a:cxn>
                        <a:cxn ang="T93">
                          <a:pos x="T34" y="T35"/>
                        </a:cxn>
                        <a:cxn ang="T94">
                          <a:pos x="T36" y="T37"/>
                        </a:cxn>
                        <a:cxn ang="T95">
                          <a:pos x="T38" y="T39"/>
                        </a:cxn>
                        <a:cxn ang="T96">
                          <a:pos x="T40" y="T41"/>
                        </a:cxn>
                        <a:cxn ang="T97">
                          <a:pos x="T42" y="T43"/>
                        </a:cxn>
                        <a:cxn ang="T98">
                          <a:pos x="T44" y="T45"/>
                        </a:cxn>
                        <a:cxn ang="T99">
                          <a:pos x="T46" y="T47"/>
                        </a:cxn>
                        <a:cxn ang="T100">
                          <a:pos x="T48" y="T49"/>
                        </a:cxn>
                        <a:cxn ang="T101">
                          <a:pos x="T50" y="T51"/>
                        </a:cxn>
                        <a:cxn ang="T102">
                          <a:pos x="T52" y="T53"/>
                        </a:cxn>
                        <a:cxn ang="T103">
                          <a:pos x="T54" y="T55"/>
                        </a:cxn>
                        <a:cxn ang="T104">
                          <a:pos x="T56" y="T57"/>
                        </a:cxn>
                        <a:cxn ang="T105">
                          <a:pos x="T58" y="T59"/>
                        </a:cxn>
                        <a:cxn ang="T106">
                          <a:pos x="T60" y="T61"/>
                        </a:cxn>
                        <a:cxn ang="T107">
                          <a:pos x="T62" y="T63"/>
                        </a:cxn>
                        <a:cxn ang="T108">
                          <a:pos x="T64" y="T65"/>
                        </a:cxn>
                        <a:cxn ang="T109">
                          <a:pos x="T66" y="T67"/>
                        </a:cxn>
                        <a:cxn ang="T110">
                          <a:pos x="T68" y="T69"/>
                        </a:cxn>
                        <a:cxn ang="T111">
                          <a:pos x="T70" y="T71"/>
                        </a:cxn>
                        <a:cxn ang="T112">
                          <a:pos x="T72" y="T73"/>
                        </a:cxn>
                        <a:cxn ang="T113">
                          <a:pos x="T74" y="T75"/>
                        </a:cxn>
                      </a:cxnLst>
                      <a:rect l="T114" t="T115" r="T116" b="T117"/>
                      <a:pathLst>
                        <a:path w="156" h="103">
                          <a:moveTo>
                            <a:pt x="27" y="89"/>
                          </a:moveTo>
                          <a:lnTo>
                            <a:pt x="45" y="85"/>
                          </a:lnTo>
                          <a:lnTo>
                            <a:pt x="63" y="98"/>
                          </a:lnTo>
                          <a:lnTo>
                            <a:pt x="81" y="103"/>
                          </a:lnTo>
                          <a:lnTo>
                            <a:pt x="94" y="98"/>
                          </a:lnTo>
                          <a:lnTo>
                            <a:pt x="98" y="89"/>
                          </a:lnTo>
                          <a:lnTo>
                            <a:pt x="112" y="89"/>
                          </a:lnTo>
                          <a:lnTo>
                            <a:pt x="121" y="76"/>
                          </a:lnTo>
                          <a:lnTo>
                            <a:pt x="130" y="71"/>
                          </a:lnTo>
                          <a:lnTo>
                            <a:pt x="134" y="71"/>
                          </a:lnTo>
                          <a:lnTo>
                            <a:pt x="143" y="67"/>
                          </a:lnTo>
                          <a:lnTo>
                            <a:pt x="148" y="62"/>
                          </a:lnTo>
                          <a:lnTo>
                            <a:pt x="152" y="54"/>
                          </a:lnTo>
                          <a:lnTo>
                            <a:pt x="156" y="49"/>
                          </a:lnTo>
                          <a:lnTo>
                            <a:pt x="152" y="45"/>
                          </a:lnTo>
                          <a:lnTo>
                            <a:pt x="152" y="36"/>
                          </a:lnTo>
                          <a:lnTo>
                            <a:pt x="148" y="31"/>
                          </a:lnTo>
                          <a:lnTo>
                            <a:pt x="143" y="36"/>
                          </a:lnTo>
                          <a:lnTo>
                            <a:pt x="143" y="27"/>
                          </a:lnTo>
                          <a:lnTo>
                            <a:pt x="139" y="27"/>
                          </a:lnTo>
                          <a:lnTo>
                            <a:pt x="143" y="18"/>
                          </a:lnTo>
                          <a:lnTo>
                            <a:pt x="139" y="22"/>
                          </a:lnTo>
                          <a:lnTo>
                            <a:pt x="134" y="13"/>
                          </a:lnTo>
                          <a:lnTo>
                            <a:pt x="143" y="4"/>
                          </a:lnTo>
                          <a:lnTo>
                            <a:pt x="139" y="0"/>
                          </a:lnTo>
                          <a:lnTo>
                            <a:pt x="130" y="13"/>
                          </a:lnTo>
                          <a:lnTo>
                            <a:pt x="125" y="9"/>
                          </a:lnTo>
                          <a:lnTo>
                            <a:pt x="116" y="0"/>
                          </a:lnTo>
                          <a:lnTo>
                            <a:pt x="107" y="0"/>
                          </a:lnTo>
                          <a:lnTo>
                            <a:pt x="112" y="9"/>
                          </a:lnTo>
                          <a:lnTo>
                            <a:pt x="107" y="13"/>
                          </a:lnTo>
                          <a:lnTo>
                            <a:pt x="103" y="13"/>
                          </a:lnTo>
                          <a:lnTo>
                            <a:pt x="98" y="18"/>
                          </a:lnTo>
                          <a:lnTo>
                            <a:pt x="89" y="9"/>
                          </a:lnTo>
                          <a:lnTo>
                            <a:pt x="85" y="13"/>
                          </a:lnTo>
                          <a:lnTo>
                            <a:pt x="89" y="27"/>
                          </a:lnTo>
                          <a:lnTo>
                            <a:pt x="76" y="13"/>
                          </a:lnTo>
                          <a:lnTo>
                            <a:pt x="72" y="13"/>
                          </a:lnTo>
                          <a:lnTo>
                            <a:pt x="72" y="27"/>
                          </a:lnTo>
                          <a:lnTo>
                            <a:pt x="63" y="13"/>
                          </a:lnTo>
                          <a:lnTo>
                            <a:pt x="58" y="13"/>
                          </a:lnTo>
                          <a:lnTo>
                            <a:pt x="58" y="31"/>
                          </a:lnTo>
                          <a:lnTo>
                            <a:pt x="54" y="31"/>
                          </a:lnTo>
                          <a:lnTo>
                            <a:pt x="45" y="40"/>
                          </a:lnTo>
                          <a:lnTo>
                            <a:pt x="40" y="27"/>
                          </a:lnTo>
                          <a:lnTo>
                            <a:pt x="45" y="22"/>
                          </a:lnTo>
                          <a:lnTo>
                            <a:pt x="45" y="13"/>
                          </a:lnTo>
                          <a:lnTo>
                            <a:pt x="27" y="0"/>
                          </a:lnTo>
                          <a:lnTo>
                            <a:pt x="18" y="0"/>
                          </a:lnTo>
                          <a:lnTo>
                            <a:pt x="18" y="4"/>
                          </a:lnTo>
                          <a:lnTo>
                            <a:pt x="22" y="9"/>
                          </a:lnTo>
                          <a:lnTo>
                            <a:pt x="27" y="18"/>
                          </a:lnTo>
                          <a:lnTo>
                            <a:pt x="22" y="13"/>
                          </a:lnTo>
                          <a:lnTo>
                            <a:pt x="14" y="9"/>
                          </a:lnTo>
                          <a:lnTo>
                            <a:pt x="9" y="13"/>
                          </a:lnTo>
                          <a:lnTo>
                            <a:pt x="14" y="18"/>
                          </a:lnTo>
                          <a:lnTo>
                            <a:pt x="14" y="27"/>
                          </a:lnTo>
                          <a:lnTo>
                            <a:pt x="9" y="27"/>
                          </a:lnTo>
                          <a:lnTo>
                            <a:pt x="9" y="31"/>
                          </a:lnTo>
                          <a:lnTo>
                            <a:pt x="5" y="31"/>
                          </a:lnTo>
                          <a:lnTo>
                            <a:pt x="0" y="36"/>
                          </a:lnTo>
                          <a:lnTo>
                            <a:pt x="14" y="40"/>
                          </a:lnTo>
                          <a:lnTo>
                            <a:pt x="27" y="36"/>
                          </a:lnTo>
                          <a:lnTo>
                            <a:pt x="36" y="36"/>
                          </a:lnTo>
                          <a:lnTo>
                            <a:pt x="31" y="45"/>
                          </a:lnTo>
                          <a:lnTo>
                            <a:pt x="31" y="49"/>
                          </a:lnTo>
                          <a:lnTo>
                            <a:pt x="27" y="49"/>
                          </a:lnTo>
                          <a:lnTo>
                            <a:pt x="5" y="58"/>
                          </a:lnTo>
                          <a:lnTo>
                            <a:pt x="9" y="67"/>
                          </a:lnTo>
                          <a:lnTo>
                            <a:pt x="14" y="62"/>
                          </a:lnTo>
                          <a:lnTo>
                            <a:pt x="31" y="62"/>
                          </a:lnTo>
                          <a:lnTo>
                            <a:pt x="31" y="67"/>
                          </a:lnTo>
                          <a:lnTo>
                            <a:pt x="36" y="62"/>
                          </a:lnTo>
                          <a:lnTo>
                            <a:pt x="31" y="80"/>
                          </a:lnTo>
                          <a:lnTo>
                            <a:pt x="22" y="80"/>
                          </a:lnTo>
                          <a:lnTo>
                            <a:pt x="27" y="8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79" name="Freeform 19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640" y="1710"/>
                      <a:ext cx="55" cy="92"/>
                    </a:xfrm>
                    <a:custGeom>
                      <a:avLst/>
                      <a:gdLst>
                        <a:gd name="T0" fmla="*/ 9 w 58"/>
                        <a:gd name="T1" fmla="*/ 5 h 98"/>
                        <a:gd name="T2" fmla="*/ 9 w 58"/>
                        <a:gd name="T3" fmla="*/ 0 h 98"/>
                        <a:gd name="T4" fmla="*/ 9 w 58"/>
                        <a:gd name="T5" fmla="*/ 0 h 98"/>
                        <a:gd name="T6" fmla="*/ 9 w 58"/>
                        <a:gd name="T7" fmla="*/ 0 h 98"/>
                        <a:gd name="T8" fmla="*/ 9 w 58"/>
                        <a:gd name="T9" fmla="*/ 8 h 98"/>
                        <a:gd name="T10" fmla="*/ 9 w 58"/>
                        <a:gd name="T11" fmla="*/ 0 h 98"/>
                        <a:gd name="T12" fmla="*/ 9 w 58"/>
                        <a:gd name="T13" fmla="*/ 5 h 98"/>
                        <a:gd name="T14" fmla="*/ 9 w 58"/>
                        <a:gd name="T15" fmla="*/ 8 h 98"/>
                        <a:gd name="T16" fmla="*/ 9 w 58"/>
                        <a:gd name="T17" fmla="*/ 8 h 98"/>
                        <a:gd name="T18" fmla="*/ 9 w 58"/>
                        <a:gd name="T19" fmla="*/ 8 h 98"/>
                        <a:gd name="T20" fmla="*/ 9 w 58"/>
                        <a:gd name="T21" fmla="*/ 8 h 98"/>
                        <a:gd name="T22" fmla="*/ 9 w 58"/>
                        <a:gd name="T23" fmla="*/ 8 h 98"/>
                        <a:gd name="T24" fmla="*/ 9 w 58"/>
                        <a:gd name="T25" fmla="*/ 8 h 98"/>
                        <a:gd name="T26" fmla="*/ 9 w 58"/>
                        <a:gd name="T27" fmla="*/ 8 h 98"/>
                        <a:gd name="T28" fmla="*/ 5 w 58"/>
                        <a:gd name="T29" fmla="*/ 8 h 98"/>
                        <a:gd name="T30" fmla="*/ 0 w 58"/>
                        <a:gd name="T31" fmla="*/ 8 h 98"/>
                        <a:gd name="T32" fmla="*/ 9 w 58"/>
                        <a:gd name="T33" fmla="*/ 8 h 98"/>
                        <a:gd name="T34" fmla="*/ 5 w 58"/>
                        <a:gd name="T35" fmla="*/ 8 h 98"/>
                        <a:gd name="T36" fmla="*/ 0 w 58"/>
                        <a:gd name="T37" fmla="*/ 8 h 98"/>
                        <a:gd name="T38" fmla="*/ 0 w 58"/>
                        <a:gd name="T39" fmla="*/ 8 h 98"/>
                        <a:gd name="T40" fmla="*/ 9 w 58"/>
                        <a:gd name="T41" fmla="*/ 8 h 98"/>
                        <a:gd name="T42" fmla="*/ 9 w 58"/>
                        <a:gd name="T43" fmla="*/ 8 h 98"/>
                        <a:gd name="T44" fmla="*/ 9 w 58"/>
                        <a:gd name="T45" fmla="*/ 8 h 98"/>
                        <a:gd name="T46" fmla="*/ 9 w 58"/>
                        <a:gd name="T47" fmla="*/ 9 h 98"/>
                        <a:gd name="T48" fmla="*/ 9 w 58"/>
                        <a:gd name="T49" fmla="*/ 9 h 98"/>
                        <a:gd name="T50" fmla="*/ 9 w 58"/>
                        <a:gd name="T51" fmla="*/ 11 h 98"/>
                        <a:gd name="T52" fmla="*/ 9 w 58"/>
                        <a:gd name="T53" fmla="*/ 10 h 98"/>
                        <a:gd name="T54" fmla="*/ 9 w 58"/>
                        <a:gd name="T55" fmla="*/ 11 h 98"/>
                        <a:gd name="T56" fmla="*/ 9 w 58"/>
                        <a:gd name="T57" fmla="*/ 12 h 98"/>
                        <a:gd name="T58" fmla="*/ 9 w 58"/>
                        <a:gd name="T59" fmla="*/ 13 h 98"/>
                        <a:gd name="T60" fmla="*/ 0 w 58"/>
                        <a:gd name="T61" fmla="*/ 13 h 98"/>
                        <a:gd name="T62" fmla="*/ 0 w 58"/>
                        <a:gd name="T63" fmla="*/ 14 h 98"/>
                        <a:gd name="T64" fmla="*/ 9 w 58"/>
                        <a:gd name="T65" fmla="*/ 14 h 98"/>
                        <a:gd name="T66" fmla="*/ 0 w 58"/>
                        <a:gd name="T67" fmla="*/ 15 h 98"/>
                        <a:gd name="T68" fmla="*/ 9 w 58"/>
                        <a:gd name="T69" fmla="*/ 16 h 98"/>
                        <a:gd name="T70" fmla="*/ 9 w 58"/>
                        <a:gd name="T71" fmla="*/ 14 h 98"/>
                        <a:gd name="T72" fmla="*/ 9 w 58"/>
                        <a:gd name="T73" fmla="*/ 13 h 98"/>
                        <a:gd name="T74" fmla="*/ 9 w 58"/>
                        <a:gd name="T75" fmla="*/ 13 h 98"/>
                        <a:gd name="T76" fmla="*/ 10 w 58"/>
                        <a:gd name="T77" fmla="*/ 13 h 98"/>
                        <a:gd name="T78" fmla="*/ 11 w 58"/>
                        <a:gd name="T79" fmla="*/ 11 h 98"/>
                        <a:gd name="T80" fmla="*/ 11 w 58"/>
                        <a:gd name="T81" fmla="*/ 8 h 98"/>
                        <a:gd name="T82" fmla="*/ 11 w 58"/>
                        <a:gd name="T83" fmla="*/ 8 h 98"/>
                        <a:gd name="T84" fmla="*/ 11 w 58"/>
                        <a:gd name="T85" fmla="*/ 8 h 98"/>
                        <a:gd name="T86" fmla="*/ 10 w 58"/>
                        <a:gd name="T87" fmla="*/ 8 h 98"/>
                        <a:gd name="T88" fmla="*/ 9 w 58"/>
                        <a:gd name="T89" fmla="*/ 8 h 98"/>
                        <a:gd name="T90" fmla="*/ 9 w 58"/>
                        <a:gd name="T91" fmla="*/ 8 h 98"/>
                        <a:gd name="T92" fmla="*/ 9 w 58"/>
                        <a:gd name="T93" fmla="*/ 8 h 98"/>
                        <a:gd name="T94" fmla="*/ 9 w 58"/>
                        <a:gd name="T95" fmla="*/ 8 h 98"/>
                        <a:gd name="T96" fmla="*/ 9 w 58"/>
                        <a:gd name="T97" fmla="*/ 8 h 98"/>
                        <a:gd name="T98" fmla="*/ 9 w 58"/>
                        <a:gd name="T99" fmla="*/ 8 h 98"/>
                        <a:gd name="T100" fmla="*/ 9 w 58"/>
                        <a:gd name="T101" fmla="*/ 8 h 98"/>
                        <a:gd name="T102" fmla="*/ 9 w 58"/>
                        <a:gd name="T103" fmla="*/ 8 h 98"/>
                        <a:gd name="T104" fmla="*/ 9 w 58"/>
                        <a:gd name="T105" fmla="*/ 5 h 98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w 58"/>
                        <a:gd name="T160" fmla="*/ 0 h 98"/>
                        <a:gd name="T161" fmla="*/ 58 w 58"/>
                        <a:gd name="T162" fmla="*/ 98 h 98"/>
                      </a:gdLst>
                      <a:ahLst/>
                      <a:cxnLst>
                        <a:cxn ang="T106">
                          <a:pos x="T0" y="T1"/>
                        </a:cxn>
                        <a:cxn ang="T107">
                          <a:pos x="T2" y="T3"/>
                        </a:cxn>
                        <a:cxn ang="T108">
                          <a:pos x="T4" y="T5"/>
                        </a:cxn>
                        <a:cxn ang="T109">
                          <a:pos x="T6" y="T7"/>
                        </a:cxn>
                        <a:cxn ang="T110">
                          <a:pos x="T8" y="T9"/>
                        </a:cxn>
                        <a:cxn ang="T111">
                          <a:pos x="T10" y="T11"/>
                        </a:cxn>
                        <a:cxn ang="T112">
                          <a:pos x="T12" y="T13"/>
                        </a:cxn>
                        <a:cxn ang="T113">
                          <a:pos x="T14" y="T15"/>
                        </a:cxn>
                        <a:cxn ang="T114">
                          <a:pos x="T16" y="T17"/>
                        </a:cxn>
                        <a:cxn ang="T115">
                          <a:pos x="T18" y="T19"/>
                        </a:cxn>
                        <a:cxn ang="T116">
                          <a:pos x="T20" y="T21"/>
                        </a:cxn>
                        <a:cxn ang="T117">
                          <a:pos x="T22" y="T23"/>
                        </a:cxn>
                        <a:cxn ang="T118">
                          <a:pos x="T24" y="T25"/>
                        </a:cxn>
                        <a:cxn ang="T119">
                          <a:pos x="T26" y="T27"/>
                        </a:cxn>
                        <a:cxn ang="T120">
                          <a:pos x="T28" y="T29"/>
                        </a:cxn>
                        <a:cxn ang="T121">
                          <a:pos x="T30" y="T31"/>
                        </a:cxn>
                        <a:cxn ang="T122">
                          <a:pos x="T32" y="T33"/>
                        </a:cxn>
                        <a:cxn ang="T123">
                          <a:pos x="T34" y="T35"/>
                        </a:cxn>
                        <a:cxn ang="T124">
                          <a:pos x="T36" y="T37"/>
                        </a:cxn>
                        <a:cxn ang="T125">
                          <a:pos x="T38" y="T39"/>
                        </a:cxn>
                        <a:cxn ang="T126">
                          <a:pos x="T40" y="T41"/>
                        </a:cxn>
                        <a:cxn ang="T127">
                          <a:pos x="T42" y="T43"/>
                        </a:cxn>
                        <a:cxn ang="T128">
                          <a:pos x="T44" y="T45"/>
                        </a:cxn>
                        <a:cxn ang="T129">
                          <a:pos x="T46" y="T47"/>
                        </a:cxn>
                        <a:cxn ang="T130">
                          <a:pos x="T48" y="T49"/>
                        </a:cxn>
                        <a:cxn ang="T131">
                          <a:pos x="T50" y="T51"/>
                        </a:cxn>
                        <a:cxn ang="T132">
                          <a:pos x="T52" y="T53"/>
                        </a:cxn>
                        <a:cxn ang="T133">
                          <a:pos x="T54" y="T55"/>
                        </a:cxn>
                        <a:cxn ang="T134">
                          <a:pos x="T56" y="T57"/>
                        </a:cxn>
                        <a:cxn ang="T135">
                          <a:pos x="T58" y="T59"/>
                        </a:cxn>
                        <a:cxn ang="T136">
                          <a:pos x="T60" y="T61"/>
                        </a:cxn>
                        <a:cxn ang="T137">
                          <a:pos x="T62" y="T63"/>
                        </a:cxn>
                        <a:cxn ang="T138">
                          <a:pos x="T64" y="T65"/>
                        </a:cxn>
                        <a:cxn ang="T139">
                          <a:pos x="T66" y="T67"/>
                        </a:cxn>
                        <a:cxn ang="T140">
                          <a:pos x="T68" y="T69"/>
                        </a:cxn>
                        <a:cxn ang="T141">
                          <a:pos x="T70" y="T71"/>
                        </a:cxn>
                        <a:cxn ang="T142">
                          <a:pos x="T72" y="T73"/>
                        </a:cxn>
                        <a:cxn ang="T143">
                          <a:pos x="T74" y="T75"/>
                        </a:cxn>
                        <a:cxn ang="T144">
                          <a:pos x="T76" y="T77"/>
                        </a:cxn>
                        <a:cxn ang="T145">
                          <a:pos x="T78" y="T79"/>
                        </a:cxn>
                        <a:cxn ang="T146">
                          <a:pos x="T80" y="T81"/>
                        </a:cxn>
                        <a:cxn ang="T147">
                          <a:pos x="T82" y="T83"/>
                        </a:cxn>
                        <a:cxn ang="T148">
                          <a:pos x="T84" y="T85"/>
                        </a:cxn>
                        <a:cxn ang="T149">
                          <a:pos x="T86" y="T87"/>
                        </a:cxn>
                        <a:cxn ang="T150">
                          <a:pos x="T88" y="T89"/>
                        </a:cxn>
                        <a:cxn ang="T151">
                          <a:pos x="T90" y="T91"/>
                        </a:cxn>
                        <a:cxn ang="T152">
                          <a:pos x="T92" y="T93"/>
                        </a:cxn>
                        <a:cxn ang="T153">
                          <a:pos x="T94" y="T95"/>
                        </a:cxn>
                        <a:cxn ang="T154">
                          <a:pos x="T96" y="T97"/>
                        </a:cxn>
                        <a:cxn ang="T155">
                          <a:pos x="T98" y="T99"/>
                        </a:cxn>
                        <a:cxn ang="T156">
                          <a:pos x="T100" y="T101"/>
                        </a:cxn>
                        <a:cxn ang="T157">
                          <a:pos x="T102" y="T103"/>
                        </a:cxn>
                        <a:cxn ang="T158">
                          <a:pos x="T104" y="T105"/>
                        </a:cxn>
                      </a:cxnLst>
                      <a:rect l="T159" t="T160" r="T161" b="T162"/>
                      <a:pathLst>
                        <a:path w="58" h="98">
                          <a:moveTo>
                            <a:pt x="45" y="5"/>
                          </a:moveTo>
                          <a:lnTo>
                            <a:pt x="45" y="0"/>
                          </a:lnTo>
                          <a:lnTo>
                            <a:pt x="40" y="0"/>
                          </a:lnTo>
                          <a:lnTo>
                            <a:pt x="36" y="9"/>
                          </a:lnTo>
                          <a:lnTo>
                            <a:pt x="36" y="0"/>
                          </a:lnTo>
                          <a:lnTo>
                            <a:pt x="27" y="5"/>
                          </a:lnTo>
                          <a:lnTo>
                            <a:pt x="27" y="13"/>
                          </a:lnTo>
                          <a:lnTo>
                            <a:pt x="22" y="18"/>
                          </a:lnTo>
                          <a:lnTo>
                            <a:pt x="27" y="22"/>
                          </a:lnTo>
                          <a:lnTo>
                            <a:pt x="22" y="27"/>
                          </a:lnTo>
                          <a:lnTo>
                            <a:pt x="18" y="27"/>
                          </a:lnTo>
                          <a:lnTo>
                            <a:pt x="5" y="27"/>
                          </a:lnTo>
                          <a:lnTo>
                            <a:pt x="0" y="36"/>
                          </a:lnTo>
                          <a:lnTo>
                            <a:pt x="9" y="36"/>
                          </a:lnTo>
                          <a:lnTo>
                            <a:pt x="5" y="45"/>
                          </a:lnTo>
                          <a:lnTo>
                            <a:pt x="0" y="45"/>
                          </a:lnTo>
                          <a:lnTo>
                            <a:pt x="0" y="54"/>
                          </a:lnTo>
                          <a:lnTo>
                            <a:pt x="9" y="58"/>
                          </a:lnTo>
                          <a:lnTo>
                            <a:pt x="14" y="54"/>
                          </a:lnTo>
                          <a:lnTo>
                            <a:pt x="18" y="54"/>
                          </a:lnTo>
                          <a:lnTo>
                            <a:pt x="14" y="63"/>
                          </a:lnTo>
                          <a:lnTo>
                            <a:pt x="9" y="72"/>
                          </a:lnTo>
                          <a:lnTo>
                            <a:pt x="18" y="67"/>
                          </a:lnTo>
                          <a:lnTo>
                            <a:pt x="18" y="72"/>
                          </a:lnTo>
                          <a:lnTo>
                            <a:pt x="9" y="76"/>
                          </a:lnTo>
                          <a:lnTo>
                            <a:pt x="9" y="81"/>
                          </a:lnTo>
                          <a:lnTo>
                            <a:pt x="0" y="81"/>
                          </a:lnTo>
                          <a:lnTo>
                            <a:pt x="0" y="89"/>
                          </a:lnTo>
                          <a:lnTo>
                            <a:pt x="9" y="89"/>
                          </a:lnTo>
                          <a:lnTo>
                            <a:pt x="0" y="94"/>
                          </a:lnTo>
                          <a:lnTo>
                            <a:pt x="9" y="98"/>
                          </a:lnTo>
                          <a:lnTo>
                            <a:pt x="27" y="89"/>
                          </a:lnTo>
                          <a:lnTo>
                            <a:pt x="40" y="85"/>
                          </a:lnTo>
                          <a:lnTo>
                            <a:pt x="49" y="85"/>
                          </a:lnTo>
                          <a:lnTo>
                            <a:pt x="54" y="81"/>
                          </a:lnTo>
                          <a:lnTo>
                            <a:pt x="58" y="72"/>
                          </a:lnTo>
                          <a:lnTo>
                            <a:pt x="58" y="54"/>
                          </a:lnTo>
                          <a:lnTo>
                            <a:pt x="58" y="49"/>
                          </a:lnTo>
                          <a:lnTo>
                            <a:pt x="54" y="31"/>
                          </a:lnTo>
                          <a:lnTo>
                            <a:pt x="49" y="31"/>
                          </a:lnTo>
                          <a:lnTo>
                            <a:pt x="40" y="27"/>
                          </a:lnTo>
                          <a:lnTo>
                            <a:pt x="40" y="36"/>
                          </a:lnTo>
                          <a:lnTo>
                            <a:pt x="27" y="31"/>
                          </a:lnTo>
                          <a:lnTo>
                            <a:pt x="27" y="27"/>
                          </a:lnTo>
                          <a:lnTo>
                            <a:pt x="31" y="18"/>
                          </a:lnTo>
                          <a:lnTo>
                            <a:pt x="36" y="18"/>
                          </a:lnTo>
                          <a:lnTo>
                            <a:pt x="40" y="13"/>
                          </a:lnTo>
                          <a:lnTo>
                            <a:pt x="45" y="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0" name="Freeform 198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864" y="1896"/>
                      <a:ext cx="164" cy="193"/>
                    </a:xfrm>
                    <a:custGeom>
                      <a:avLst/>
                      <a:gdLst>
                        <a:gd name="T0" fmla="*/ 8 w 174"/>
                        <a:gd name="T1" fmla="*/ 9 h 205"/>
                        <a:gd name="T2" fmla="*/ 8 w 174"/>
                        <a:gd name="T3" fmla="*/ 8 h 205"/>
                        <a:gd name="T4" fmla="*/ 8 w 174"/>
                        <a:gd name="T5" fmla="*/ 9 h 205"/>
                        <a:gd name="T6" fmla="*/ 10 w 174"/>
                        <a:gd name="T7" fmla="*/ 16 h 205"/>
                        <a:gd name="T8" fmla="*/ 17 w 174"/>
                        <a:gd name="T9" fmla="*/ 20 h 205"/>
                        <a:gd name="T10" fmla="*/ 20 w 174"/>
                        <a:gd name="T11" fmla="*/ 21 h 205"/>
                        <a:gd name="T12" fmla="*/ 21 w 174"/>
                        <a:gd name="T13" fmla="*/ 23 h 205"/>
                        <a:gd name="T14" fmla="*/ 24 w 174"/>
                        <a:gd name="T15" fmla="*/ 26 h 205"/>
                        <a:gd name="T16" fmla="*/ 23 w 174"/>
                        <a:gd name="T17" fmla="*/ 28 h 205"/>
                        <a:gd name="T18" fmla="*/ 23 w 174"/>
                        <a:gd name="T19" fmla="*/ 30 h 205"/>
                        <a:gd name="T20" fmla="*/ 25 w 174"/>
                        <a:gd name="T21" fmla="*/ 28 h 205"/>
                        <a:gd name="T22" fmla="*/ 25 w 174"/>
                        <a:gd name="T23" fmla="*/ 26 h 205"/>
                        <a:gd name="T24" fmla="*/ 24 w 174"/>
                        <a:gd name="T25" fmla="*/ 23 h 205"/>
                        <a:gd name="T26" fmla="*/ 26 w 174"/>
                        <a:gd name="T27" fmla="*/ 22 h 205"/>
                        <a:gd name="T28" fmla="*/ 28 w 174"/>
                        <a:gd name="T29" fmla="*/ 23 h 205"/>
                        <a:gd name="T30" fmla="*/ 30 w 174"/>
                        <a:gd name="T31" fmla="*/ 23 h 205"/>
                        <a:gd name="T32" fmla="*/ 25 w 174"/>
                        <a:gd name="T33" fmla="*/ 19 h 205"/>
                        <a:gd name="T34" fmla="*/ 24 w 174"/>
                        <a:gd name="T35" fmla="*/ 18 h 205"/>
                        <a:gd name="T36" fmla="*/ 21 w 174"/>
                        <a:gd name="T37" fmla="*/ 17 h 205"/>
                        <a:gd name="T38" fmla="*/ 19 w 174"/>
                        <a:gd name="T39" fmla="*/ 14 h 205"/>
                        <a:gd name="T40" fmla="*/ 15 w 174"/>
                        <a:gd name="T41" fmla="*/ 8 h 205"/>
                        <a:gd name="T42" fmla="*/ 15 w 174"/>
                        <a:gd name="T43" fmla="*/ 8 h 205"/>
                        <a:gd name="T44" fmla="*/ 14 w 174"/>
                        <a:gd name="T45" fmla="*/ 8 h 205"/>
                        <a:gd name="T46" fmla="*/ 17 w 174"/>
                        <a:gd name="T47" fmla="*/ 8 h 205"/>
                        <a:gd name="T48" fmla="*/ 19 w 174"/>
                        <a:gd name="T49" fmla="*/ 8 h 205"/>
                        <a:gd name="T50" fmla="*/ 19 w 174"/>
                        <a:gd name="T51" fmla="*/ 8 h 205"/>
                        <a:gd name="T52" fmla="*/ 19 w 174"/>
                        <a:gd name="T53" fmla="*/ 8 h 205"/>
                        <a:gd name="T54" fmla="*/ 19 w 174"/>
                        <a:gd name="T55" fmla="*/ 8 h 205"/>
                        <a:gd name="T56" fmla="*/ 15 w 174"/>
                        <a:gd name="T57" fmla="*/ 0 h 205"/>
                        <a:gd name="T58" fmla="*/ 11 w 174"/>
                        <a:gd name="T59" fmla="*/ 4 h 205"/>
                        <a:gd name="T60" fmla="*/ 8 w 174"/>
                        <a:gd name="T61" fmla="*/ 8 h 205"/>
                        <a:gd name="T62" fmla="*/ 8 w 174"/>
                        <a:gd name="T63" fmla="*/ 8 h 205"/>
                        <a:gd name="T64" fmla="*/ 8 w 174"/>
                        <a:gd name="T65" fmla="*/ 8 h 205"/>
                        <a:gd name="T66" fmla="*/ 8 w 174"/>
                        <a:gd name="T67" fmla="*/ 8 h 205"/>
                        <a:gd name="T68" fmla="*/ 8 w 174"/>
                        <a:gd name="T69" fmla="*/ 8 h 205"/>
                        <a:gd name="T70" fmla="*/ 8 w 174"/>
                        <a:gd name="T71" fmla="*/ 8 h 205"/>
                        <a:gd name="T72" fmla="*/ 0 w 174"/>
                        <a:gd name="T73" fmla="*/ 8 h 205"/>
                        <a:gd name="T74" fmla="*/ 8 w 174"/>
                        <a:gd name="T75" fmla="*/ 9 h 205"/>
                        <a:gd name="T76" fmla="*/ 8 w 174"/>
                        <a:gd name="T77" fmla="*/ 20 h 205"/>
                        <a:gd name="T78" fmla="*/ 8 w 174"/>
                        <a:gd name="T79" fmla="*/ 21 h 205"/>
                        <a:gd name="T80" fmla="*/ 8 w 174"/>
                        <a:gd name="T81" fmla="*/ 21 h 205"/>
                        <a:gd name="T82" fmla="*/ 8 w 174"/>
                        <a:gd name="T83" fmla="*/ 23 h 205"/>
                        <a:gd name="T84" fmla="*/ 8 w 174"/>
                        <a:gd name="T85" fmla="*/ 24 h 205"/>
                        <a:gd name="T86" fmla="*/ 8 w 174"/>
                        <a:gd name="T87" fmla="*/ 26 h 205"/>
                        <a:gd name="T88" fmla="*/ 8 w 174"/>
                        <a:gd name="T89" fmla="*/ 25 h 205"/>
                        <a:gd name="T90" fmla="*/ 8 w 174"/>
                        <a:gd name="T91" fmla="*/ 23 h 205"/>
                        <a:gd name="T92" fmla="*/ 8 w 174"/>
                        <a:gd name="T93" fmla="*/ 21 h 205"/>
                        <a:gd name="T94" fmla="*/ 8 w 174"/>
                        <a:gd name="T95" fmla="*/ 20 h 205"/>
                        <a:gd name="T96" fmla="*/ 21 w 174"/>
                        <a:gd name="T97" fmla="*/ 28 h 205"/>
                        <a:gd name="T98" fmla="*/ 18 w 174"/>
                        <a:gd name="T99" fmla="*/ 28 h 205"/>
                        <a:gd name="T100" fmla="*/ 15 w 174"/>
                        <a:gd name="T101" fmla="*/ 29 h 205"/>
                        <a:gd name="T102" fmla="*/ 16 w 174"/>
                        <a:gd name="T103" fmla="*/ 31 h 205"/>
                        <a:gd name="T104" fmla="*/ 19 w 174"/>
                        <a:gd name="T105" fmla="*/ 32 h 205"/>
                        <a:gd name="T106" fmla="*/ 21 w 174"/>
                        <a:gd name="T107" fmla="*/ 33 h 205"/>
                        <a:gd name="T108" fmla="*/ 22 w 174"/>
                        <a:gd name="T109" fmla="*/ 33 h 205"/>
                        <a:gd name="T110" fmla="*/ 22 w 174"/>
                        <a:gd name="T111" fmla="*/ 29 h 205"/>
                        <a:gd name="T112" fmla="*/ 22 w 174"/>
                        <a:gd name="T113" fmla="*/ 28 h 205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w 174"/>
                        <a:gd name="T172" fmla="*/ 0 h 205"/>
                        <a:gd name="T173" fmla="*/ 174 w 174"/>
                        <a:gd name="T174" fmla="*/ 205 h 205"/>
                      </a:gdLst>
                      <a:ahLst/>
                      <a:cxnLst>
                        <a:cxn ang="T114">
                          <a:pos x="T0" y="T1"/>
                        </a:cxn>
                        <a:cxn ang="T115">
                          <a:pos x="T2" y="T3"/>
                        </a:cxn>
                        <a:cxn ang="T116">
                          <a:pos x="T4" y="T5"/>
                        </a:cxn>
                        <a:cxn ang="T117">
                          <a:pos x="T6" y="T7"/>
                        </a:cxn>
                        <a:cxn ang="T118">
                          <a:pos x="T8" y="T9"/>
                        </a:cxn>
                        <a:cxn ang="T119">
                          <a:pos x="T10" y="T11"/>
                        </a:cxn>
                        <a:cxn ang="T120">
                          <a:pos x="T12" y="T13"/>
                        </a:cxn>
                        <a:cxn ang="T121">
                          <a:pos x="T14" y="T15"/>
                        </a:cxn>
                        <a:cxn ang="T122">
                          <a:pos x="T16" y="T17"/>
                        </a:cxn>
                        <a:cxn ang="T123">
                          <a:pos x="T18" y="T19"/>
                        </a:cxn>
                        <a:cxn ang="T124">
                          <a:pos x="T20" y="T21"/>
                        </a:cxn>
                        <a:cxn ang="T125">
                          <a:pos x="T22" y="T23"/>
                        </a:cxn>
                        <a:cxn ang="T126">
                          <a:pos x="T24" y="T25"/>
                        </a:cxn>
                        <a:cxn ang="T127">
                          <a:pos x="T26" y="T27"/>
                        </a:cxn>
                        <a:cxn ang="T128">
                          <a:pos x="T28" y="T29"/>
                        </a:cxn>
                        <a:cxn ang="T129">
                          <a:pos x="T30" y="T31"/>
                        </a:cxn>
                        <a:cxn ang="T130">
                          <a:pos x="T32" y="T33"/>
                        </a:cxn>
                        <a:cxn ang="T131">
                          <a:pos x="T34" y="T35"/>
                        </a:cxn>
                        <a:cxn ang="T132">
                          <a:pos x="T36" y="T37"/>
                        </a:cxn>
                        <a:cxn ang="T133">
                          <a:pos x="T38" y="T39"/>
                        </a:cxn>
                        <a:cxn ang="T134">
                          <a:pos x="T40" y="T41"/>
                        </a:cxn>
                        <a:cxn ang="T135">
                          <a:pos x="T42" y="T43"/>
                        </a:cxn>
                        <a:cxn ang="T136">
                          <a:pos x="T44" y="T45"/>
                        </a:cxn>
                        <a:cxn ang="T137">
                          <a:pos x="T46" y="T47"/>
                        </a:cxn>
                        <a:cxn ang="T138">
                          <a:pos x="T48" y="T49"/>
                        </a:cxn>
                        <a:cxn ang="T139">
                          <a:pos x="T50" y="T51"/>
                        </a:cxn>
                        <a:cxn ang="T140">
                          <a:pos x="T52" y="T53"/>
                        </a:cxn>
                        <a:cxn ang="T141">
                          <a:pos x="T54" y="T55"/>
                        </a:cxn>
                        <a:cxn ang="T142">
                          <a:pos x="T56" y="T57"/>
                        </a:cxn>
                        <a:cxn ang="T143">
                          <a:pos x="T58" y="T59"/>
                        </a:cxn>
                        <a:cxn ang="T144">
                          <a:pos x="T60" y="T61"/>
                        </a:cxn>
                        <a:cxn ang="T145">
                          <a:pos x="T62" y="T63"/>
                        </a:cxn>
                        <a:cxn ang="T146">
                          <a:pos x="T64" y="T65"/>
                        </a:cxn>
                        <a:cxn ang="T147">
                          <a:pos x="T66" y="T67"/>
                        </a:cxn>
                        <a:cxn ang="T148">
                          <a:pos x="T68" y="T69"/>
                        </a:cxn>
                        <a:cxn ang="T149">
                          <a:pos x="T70" y="T71"/>
                        </a:cxn>
                        <a:cxn ang="T150">
                          <a:pos x="T72" y="T73"/>
                        </a:cxn>
                        <a:cxn ang="T151">
                          <a:pos x="T74" y="T75"/>
                        </a:cxn>
                        <a:cxn ang="T152">
                          <a:pos x="T76" y="T77"/>
                        </a:cxn>
                        <a:cxn ang="T153">
                          <a:pos x="T78" y="T79"/>
                        </a:cxn>
                        <a:cxn ang="T154">
                          <a:pos x="T80" y="T81"/>
                        </a:cxn>
                        <a:cxn ang="T155">
                          <a:pos x="T82" y="T83"/>
                        </a:cxn>
                        <a:cxn ang="T156">
                          <a:pos x="T84" y="T85"/>
                        </a:cxn>
                        <a:cxn ang="T157">
                          <a:pos x="T86" y="T87"/>
                        </a:cxn>
                        <a:cxn ang="T158">
                          <a:pos x="T88" y="T89"/>
                        </a:cxn>
                        <a:cxn ang="T159">
                          <a:pos x="T90" y="T91"/>
                        </a:cxn>
                        <a:cxn ang="T160">
                          <a:pos x="T92" y="T93"/>
                        </a:cxn>
                        <a:cxn ang="T161">
                          <a:pos x="T94" y="T95"/>
                        </a:cxn>
                        <a:cxn ang="T162">
                          <a:pos x="T96" y="T97"/>
                        </a:cxn>
                        <a:cxn ang="T163">
                          <a:pos x="T98" y="T99"/>
                        </a:cxn>
                        <a:cxn ang="T164">
                          <a:pos x="T100" y="T101"/>
                        </a:cxn>
                        <a:cxn ang="T165">
                          <a:pos x="T102" y="T103"/>
                        </a:cxn>
                        <a:cxn ang="T166">
                          <a:pos x="T104" y="T105"/>
                        </a:cxn>
                        <a:cxn ang="T167">
                          <a:pos x="T106" y="T107"/>
                        </a:cxn>
                        <a:cxn ang="T168">
                          <a:pos x="T108" y="T109"/>
                        </a:cxn>
                        <a:cxn ang="T169">
                          <a:pos x="T110" y="T111"/>
                        </a:cxn>
                        <a:cxn ang="T170">
                          <a:pos x="T112" y="T113"/>
                        </a:cxn>
                      </a:cxnLst>
                      <a:rect l="T171" t="T172" r="T173" b="T174"/>
                      <a:pathLst>
                        <a:path w="174" h="205">
                          <a:moveTo>
                            <a:pt x="22" y="67"/>
                          </a:moveTo>
                          <a:lnTo>
                            <a:pt x="27" y="62"/>
                          </a:lnTo>
                          <a:lnTo>
                            <a:pt x="31" y="58"/>
                          </a:lnTo>
                          <a:lnTo>
                            <a:pt x="36" y="49"/>
                          </a:lnTo>
                          <a:lnTo>
                            <a:pt x="49" y="58"/>
                          </a:lnTo>
                          <a:lnTo>
                            <a:pt x="53" y="62"/>
                          </a:lnTo>
                          <a:lnTo>
                            <a:pt x="58" y="80"/>
                          </a:lnTo>
                          <a:lnTo>
                            <a:pt x="62" y="94"/>
                          </a:lnTo>
                          <a:lnTo>
                            <a:pt x="85" y="111"/>
                          </a:lnTo>
                          <a:lnTo>
                            <a:pt x="94" y="120"/>
                          </a:lnTo>
                          <a:lnTo>
                            <a:pt x="103" y="116"/>
                          </a:lnTo>
                          <a:lnTo>
                            <a:pt x="112" y="129"/>
                          </a:lnTo>
                          <a:lnTo>
                            <a:pt x="120" y="129"/>
                          </a:lnTo>
                          <a:lnTo>
                            <a:pt x="120" y="138"/>
                          </a:lnTo>
                          <a:lnTo>
                            <a:pt x="129" y="143"/>
                          </a:lnTo>
                          <a:lnTo>
                            <a:pt x="138" y="161"/>
                          </a:lnTo>
                          <a:lnTo>
                            <a:pt x="134" y="165"/>
                          </a:lnTo>
                          <a:lnTo>
                            <a:pt x="134" y="170"/>
                          </a:lnTo>
                          <a:lnTo>
                            <a:pt x="129" y="174"/>
                          </a:lnTo>
                          <a:lnTo>
                            <a:pt x="134" y="183"/>
                          </a:lnTo>
                          <a:lnTo>
                            <a:pt x="138" y="178"/>
                          </a:lnTo>
                          <a:lnTo>
                            <a:pt x="147" y="170"/>
                          </a:lnTo>
                          <a:lnTo>
                            <a:pt x="147" y="165"/>
                          </a:lnTo>
                          <a:lnTo>
                            <a:pt x="152" y="161"/>
                          </a:lnTo>
                          <a:lnTo>
                            <a:pt x="156" y="152"/>
                          </a:lnTo>
                          <a:lnTo>
                            <a:pt x="143" y="143"/>
                          </a:lnTo>
                          <a:lnTo>
                            <a:pt x="152" y="134"/>
                          </a:lnTo>
                          <a:lnTo>
                            <a:pt x="156" y="134"/>
                          </a:lnTo>
                          <a:lnTo>
                            <a:pt x="165" y="134"/>
                          </a:lnTo>
                          <a:lnTo>
                            <a:pt x="165" y="143"/>
                          </a:lnTo>
                          <a:lnTo>
                            <a:pt x="170" y="147"/>
                          </a:lnTo>
                          <a:lnTo>
                            <a:pt x="174" y="138"/>
                          </a:lnTo>
                          <a:lnTo>
                            <a:pt x="165" y="125"/>
                          </a:lnTo>
                          <a:lnTo>
                            <a:pt x="147" y="111"/>
                          </a:lnTo>
                          <a:lnTo>
                            <a:pt x="138" y="111"/>
                          </a:lnTo>
                          <a:lnTo>
                            <a:pt x="138" y="102"/>
                          </a:lnTo>
                          <a:lnTo>
                            <a:pt x="138" y="98"/>
                          </a:lnTo>
                          <a:lnTo>
                            <a:pt x="120" y="98"/>
                          </a:lnTo>
                          <a:lnTo>
                            <a:pt x="112" y="89"/>
                          </a:lnTo>
                          <a:lnTo>
                            <a:pt x="103" y="80"/>
                          </a:lnTo>
                          <a:lnTo>
                            <a:pt x="98" y="71"/>
                          </a:lnTo>
                          <a:lnTo>
                            <a:pt x="85" y="58"/>
                          </a:lnTo>
                          <a:lnTo>
                            <a:pt x="80" y="49"/>
                          </a:lnTo>
                          <a:lnTo>
                            <a:pt x="85" y="44"/>
                          </a:lnTo>
                          <a:lnTo>
                            <a:pt x="80" y="35"/>
                          </a:lnTo>
                          <a:lnTo>
                            <a:pt x="80" y="31"/>
                          </a:lnTo>
                          <a:lnTo>
                            <a:pt x="85" y="27"/>
                          </a:lnTo>
                          <a:lnTo>
                            <a:pt x="94" y="22"/>
                          </a:lnTo>
                          <a:lnTo>
                            <a:pt x="98" y="27"/>
                          </a:lnTo>
                          <a:lnTo>
                            <a:pt x="103" y="27"/>
                          </a:lnTo>
                          <a:lnTo>
                            <a:pt x="103" y="31"/>
                          </a:lnTo>
                          <a:lnTo>
                            <a:pt x="107" y="31"/>
                          </a:lnTo>
                          <a:lnTo>
                            <a:pt x="103" y="22"/>
                          </a:lnTo>
                          <a:lnTo>
                            <a:pt x="103" y="18"/>
                          </a:lnTo>
                          <a:lnTo>
                            <a:pt x="98" y="13"/>
                          </a:lnTo>
                          <a:lnTo>
                            <a:pt x="103" y="13"/>
                          </a:lnTo>
                          <a:lnTo>
                            <a:pt x="89" y="9"/>
                          </a:lnTo>
                          <a:lnTo>
                            <a:pt x="85" y="0"/>
                          </a:lnTo>
                          <a:lnTo>
                            <a:pt x="71" y="0"/>
                          </a:lnTo>
                          <a:lnTo>
                            <a:pt x="67" y="4"/>
                          </a:lnTo>
                          <a:lnTo>
                            <a:pt x="58" y="4"/>
                          </a:lnTo>
                          <a:lnTo>
                            <a:pt x="53" y="13"/>
                          </a:lnTo>
                          <a:lnTo>
                            <a:pt x="45" y="13"/>
                          </a:lnTo>
                          <a:lnTo>
                            <a:pt x="40" y="9"/>
                          </a:lnTo>
                          <a:lnTo>
                            <a:pt x="40" y="18"/>
                          </a:lnTo>
                          <a:lnTo>
                            <a:pt x="36" y="22"/>
                          </a:lnTo>
                          <a:lnTo>
                            <a:pt x="31" y="13"/>
                          </a:lnTo>
                          <a:lnTo>
                            <a:pt x="27" y="13"/>
                          </a:lnTo>
                          <a:lnTo>
                            <a:pt x="27" y="22"/>
                          </a:lnTo>
                          <a:lnTo>
                            <a:pt x="18" y="22"/>
                          </a:lnTo>
                          <a:lnTo>
                            <a:pt x="13" y="22"/>
                          </a:lnTo>
                          <a:lnTo>
                            <a:pt x="9" y="35"/>
                          </a:lnTo>
                          <a:lnTo>
                            <a:pt x="4" y="35"/>
                          </a:lnTo>
                          <a:lnTo>
                            <a:pt x="0" y="49"/>
                          </a:lnTo>
                          <a:lnTo>
                            <a:pt x="9" y="62"/>
                          </a:lnTo>
                          <a:lnTo>
                            <a:pt x="18" y="62"/>
                          </a:lnTo>
                          <a:lnTo>
                            <a:pt x="22" y="67"/>
                          </a:lnTo>
                          <a:close/>
                          <a:moveTo>
                            <a:pt x="40" y="116"/>
                          </a:moveTo>
                          <a:lnTo>
                            <a:pt x="36" y="125"/>
                          </a:lnTo>
                          <a:lnTo>
                            <a:pt x="27" y="125"/>
                          </a:lnTo>
                          <a:lnTo>
                            <a:pt x="27" y="129"/>
                          </a:lnTo>
                          <a:lnTo>
                            <a:pt x="31" y="129"/>
                          </a:lnTo>
                          <a:lnTo>
                            <a:pt x="31" y="143"/>
                          </a:lnTo>
                          <a:lnTo>
                            <a:pt x="36" y="143"/>
                          </a:lnTo>
                          <a:lnTo>
                            <a:pt x="36" y="147"/>
                          </a:lnTo>
                          <a:lnTo>
                            <a:pt x="31" y="147"/>
                          </a:lnTo>
                          <a:lnTo>
                            <a:pt x="31" y="156"/>
                          </a:lnTo>
                          <a:lnTo>
                            <a:pt x="36" y="161"/>
                          </a:lnTo>
                          <a:lnTo>
                            <a:pt x="40" y="161"/>
                          </a:lnTo>
                          <a:lnTo>
                            <a:pt x="45" y="156"/>
                          </a:lnTo>
                          <a:lnTo>
                            <a:pt x="49" y="143"/>
                          </a:lnTo>
                          <a:lnTo>
                            <a:pt x="45" y="134"/>
                          </a:lnTo>
                          <a:lnTo>
                            <a:pt x="49" y="129"/>
                          </a:lnTo>
                          <a:lnTo>
                            <a:pt x="49" y="120"/>
                          </a:lnTo>
                          <a:lnTo>
                            <a:pt x="40" y="116"/>
                          </a:lnTo>
                          <a:close/>
                          <a:moveTo>
                            <a:pt x="125" y="174"/>
                          </a:moveTo>
                          <a:lnTo>
                            <a:pt x="120" y="174"/>
                          </a:lnTo>
                          <a:lnTo>
                            <a:pt x="107" y="174"/>
                          </a:lnTo>
                          <a:lnTo>
                            <a:pt x="98" y="170"/>
                          </a:lnTo>
                          <a:lnTo>
                            <a:pt x="89" y="174"/>
                          </a:lnTo>
                          <a:lnTo>
                            <a:pt x="85" y="178"/>
                          </a:lnTo>
                          <a:lnTo>
                            <a:pt x="85" y="187"/>
                          </a:lnTo>
                          <a:lnTo>
                            <a:pt x="89" y="187"/>
                          </a:lnTo>
                          <a:lnTo>
                            <a:pt x="94" y="187"/>
                          </a:lnTo>
                          <a:lnTo>
                            <a:pt x="103" y="196"/>
                          </a:lnTo>
                          <a:lnTo>
                            <a:pt x="112" y="196"/>
                          </a:lnTo>
                          <a:lnTo>
                            <a:pt x="116" y="201"/>
                          </a:lnTo>
                          <a:lnTo>
                            <a:pt x="125" y="205"/>
                          </a:lnTo>
                          <a:lnTo>
                            <a:pt x="125" y="201"/>
                          </a:lnTo>
                          <a:lnTo>
                            <a:pt x="125" y="187"/>
                          </a:lnTo>
                          <a:lnTo>
                            <a:pt x="129" y="178"/>
                          </a:lnTo>
                          <a:lnTo>
                            <a:pt x="129" y="174"/>
                          </a:lnTo>
                          <a:lnTo>
                            <a:pt x="125" y="17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1" name="Freeform 19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57" y="1647"/>
                      <a:ext cx="102" cy="63"/>
                    </a:xfrm>
                    <a:custGeom>
                      <a:avLst/>
                      <a:gdLst>
                        <a:gd name="T0" fmla="*/ 5 w 108"/>
                        <a:gd name="T1" fmla="*/ 8 h 67"/>
                        <a:gd name="T2" fmla="*/ 9 w 108"/>
                        <a:gd name="T3" fmla="*/ 8 h 67"/>
                        <a:gd name="T4" fmla="*/ 9 w 108"/>
                        <a:gd name="T5" fmla="*/ 8 h 67"/>
                        <a:gd name="T6" fmla="*/ 9 w 108"/>
                        <a:gd name="T7" fmla="*/ 8 h 67"/>
                        <a:gd name="T8" fmla="*/ 9 w 108"/>
                        <a:gd name="T9" fmla="*/ 8 h 67"/>
                        <a:gd name="T10" fmla="*/ 9 w 108"/>
                        <a:gd name="T11" fmla="*/ 8 h 67"/>
                        <a:gd name="T12" fmla="*/ 10 w 108"/>
                        <a:gd name="T13" fmla="*/ 8 h 67"/>
                        <a:gd name="T14" fmla="*/ 11 w 108"/>
                        <a:gd name="T15" fmla="*/ 8 h 67"/>
                        <a:gd name="T16" fmla="*/ 13 w 108"/>
                        <a:gd name="T17" fmla="*/ 8 h 67"/>
                        <a:gd name="T18" fmla="*/ 16 w 108"/>
                        <a:gd name="T19" fmla="*/ 10 h 67"/>
                        <a:gd name="T20" fmla="*/ 18 w 108"/>
                        <a:gd name="T21" fmla="*/ 9 h 67"/>
                        <a:gd name="T22" fmla="*/ 19 w 108"/>
                        <a:gd name="T23" fmla="*/ 8 h 67"/>
                        <a:gd name="T24" fmla="*/ 20 w 108"/>
                        <a:gd name="T25" fmla="*/ 8 h 67"/>
                        <a:gd name="T26" fmla="*/ 20 w 108"/>
                        <a:gd name="T27" fmla="*/ 8 h 67"/>
                        <a:gd name="T28" fmla="*/ 20 w 108"/>
                        <a:gd name="T29" fmla="*/ 8 h 67"/>
                        <a:gd name="T30" fmla="*/ 20 w 108"/>
                        <a:gd name="T31" fmla="*/ 8 h 67"/>
                        <a:gd name="T32" fmla="*/ 21 w 108"/>
                        <a:gd name="T33" fmla="*/ 8 h 67"/>
                        <a:gd name="T34" fmla="*/ 20 w 108"/>
                        <a:gd name="T35" fmla="*/ 8 h 67"/>
                        <a:gd name="T36" fmla="*/ 19 w 108"/>
                        <a:gd name="T37" fmla="*/ 8 h 67"/>
                        <a:gd name="T38" fmla="*/ 18 w 108"/>
                        <a:gd name="T39" fmla="*/ 8 h 67"/>
                        <a:gd name="T40" fmla="*/ 17 w 108"/>
                        <a:gd name="T41" fmla="*/ 8 h 67"/>
                        <a:gd name="T42" fmla="*/ 15 w 108"/>
                        <a:gd name="T43" fmla="*/ 5 h 67"/>
                        <a:gd name="T44" fmla="*/ 13 w 108"/>
                        <a:gd name="T45" fmla="*/ 0 h 67"/>
                        <a:gd name="T46" fmla="*/ 9 w 108"/>
                        <a:gd name="T47" fmla="*/ 5 h 67"/>
                        <a:gd name="T48" fmla="*/ 9 w 108"/>
                        <a:gd name="T49" fmla="*/ 8 h 67"/>
                        <a:gd name="T50" fmla="*/ 9 w 108"/>
                        <a:gd name="T51" fmla="*/ 8 h 67"/>
                        <a:gd name="T52" fmla="*/ 9 w 108"/>
                        <a:gd name="T53" fmla="*/ 8 h 67"/>
                        <a:gd name="T54" fmla="*/ 9 w 108"/>
                        <a:gd name="T55" fmla="*/ 8 h 67"/>
                        <a:gd name="T56" fmla="*/ 9 w 108"/>
                        <a:gd name="T57" fmla="*/ 8 h 67"/>
                        <a:gd name="T58" fmla="*/ 9 w 108"/>
                        <a:gd name="T59" fmla="*/ 8 h 67"/>
                        <a:gd name="T60" fmla="*/ 9 w 108"/>
                        <a:gd name="T61" fmla="*/ 5 h 67"/>
                        <a:gd name="T62" fmla="*/ 9 w 108"/>
                        <a:gd name="T63" fmla="*/ 8 h 67"/>
                        <a:gd name="T64" fmla="*/ 9 w 108"/>
                        <a:gd name="T65" fmla="*/ 8 h 67"/>
                        <a:gd name="T66" fmla="*/ 9 w 108"/>
                        <a:gd name="T67" fmla="*/ 8 h 67"/>
                        <a:gd name="T68" fmla="*/ 0 w 108"/>
                        <a:gd name="T69" fmla="*/ 8 h 67"/>
                        <a:gd name="T70" fmla="*/ 5 w 108"/>
                        <a:gd name="T71" fmla="*/ 8 h 67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108"/>
                        <a:gd name="T109" fmla="*/ 0 h 67"/>
                        <a:gd name="T110" fmla="*/ 108 w 108"/>
                        <a:gd name="T111" fmla="*/ 67 h 67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108" h="67">
                          <a:moveTo>
                            <a:pt x="5" y="49"/>
                          </a:moveTo>
                          <a:lnTo>
                            <a:pt x="9" y="49"/>
                          </a:lnTo>
                          <a:lnTo>
                            <a:pt x="18" y="45"/>
                          </a:lnTo>
                          <a:lnTo>
                            <a:pt x="23" y="49"/>
                          </a:lnTo>
                          <a:lnTo>
                            <a:pt x="32" y="45"/>
                          </a:lnTo>
                          <a:lnTo>
                            <a:pt x="49" y="49"/>
                          </a:lnTo>
                          <a:lnTo>
                            <a:pt x="58" y="45"/>
                          </a:lnTo>
                          <a:lnTo>
                            <a:pt x="63" y="49"/>
                          </a:lnTo>
                          <a:lnTo>
                            <a:pt x="67" y="54"/>
                          </a:lnTo>
                          <a:lnTo>
                            <a:pt x="81" y="67"/>
                          </a:lnTo>
                          <a:lnTo>
                            <a:pt x="94" y="63"/>
                          </a:lnTo>
                          <a:lnTo>
                            <a:pt x="99" y="58"/>
                          </a:lnTo>
                          <a:lnTo>
                            <a:pt x="103" y="49"/>
                          </a:lnTo>
                          <a:lnTo>
                            <a:pt x="103" y="40"/>
                          </a:lnTo>
                          <a:lnTo>
                            <a:pt x="103" y="22"/>
                          </a:lnTo>
                          <a:lnTo>
                            <a:pt x="108" y="18"/>
                          </a:lnTo>
                          <a:lnTo>
                            <a:pt x="103" y="13"/>
                          </a:lnTo>
                          <a:lnTo>
                            <a:pt x="99" y="13"/>
                          </a:lnTo>
                          <a:lnTo>
                            <a:pt x="90" y="9"/>
                          </a:lnTo>
                          <a:lnTo>
                            <a:pt x="85" y="9"/>
                          </a:lnTo>
                          <a:lnTo>
                            <a:pt x="76" y="5"/>
                          </a:lnTo>
                          <a:lnTo>
                            <a:pt x="67" y="0"/>
                          </a:lnTo>
                          <a:lnTo>
                            <a:pt x="54" y="5"/>
                          </a:lnTo>
                          <a:lnTo>
                            <a:pt x="54" y="18"/>
                          </a:lnTo>
                          <a:lnTo>
                            <a:pt x="49" y="22"/>
                          </a:lnTo>
                          <a:lnTo>
                            <a:pt x="41" y="27"/>
                          </a:lnTo>
                          <a:lnTo>
                            <a:pt x="32" y="22"/>
                          </a:lnTo>
                          <a:lnTo>
                            <a:pt x="32" y="18"/>
                          </a:lnTo>
                          <a:lnTo>
                            <a:pt x="27" y="9"/>
                          </a:lnTo>
                          <a:lnTo>
                            <a:pt x="23" y="5"/>
                          </a:lnTo>
                          <a:lnTo>
                            <a:pt x="14" y="9"/>
                          </a:lnTo>
                          <a:lnTo>
                            <a:pt x="9" y="13"/>
                          </a:lnTo>
                          <a:lnTo>
                            <a:pt x="9" y="22"/>
                          </a:lnTo>
                          <a:lnTo>
                            <a:pt x="0" y="31"/>
                          </a:lnTo>
                          <a:lnTo>
                            <a:pt x="5" y="4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2" name="Freeform 200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57" y="1689"/>
                      <a:ext cx="80" cy="59"/>
                    </a:xfrm>
                    <a:custGeom>
                      <a:avLst/>
                      <a:gdLst>
                        <a:gd name="T0" fmla="*/ 5 w 85"/>
                        <a:gd name="T1" fmla="*/ 4 h 62"/>
                        <a:gd name="T2" fmla="*/ 0 w 85"/>
                        <a:gd name="T3" fmla="*/ 4 h 62"/>
                        <a:gd name="T4" fmla="*/ 5 w 85"/>
                        <a:gd name="T5" fmla="*/ 10 h 62"/>
                        <a:gd name="T6" fmla="*/ 5 w 85"/>
                        <a:gd name="T7" fmla="*/ 10 h 62"/>
                        <a:gd name="T8" fmla="*/ 8 w 85"/>
                        <a:gd name="T9" fmla="*/ 10 h 62"/>
                        <a:gd name="T10" fmla="*/ 8 w 85"/>
                        <a:gd name="T11" fmla="*/ 10 h 62"/>
                        <a:gd name="T12" fmla="*/ 8 w 85"/>
                        <a:gd name="T13" fmla="*/ 10 h 62"/>
                        <a:gd name="T14" fmla="*/ 8 w 85"/>
                        <a:gd name="T15" fmla="*/ 10 h 62"/>
                        <a:gd name="T16" fmla="*/ 8 w 85"/>
                        <a:gd name="T17" fmla="*/ 10 h 62"/>
                        <a:gd name="T18" fmla="*/ 8 w 85"/>
                        <a:gd name="T19" fmla="*/ 10 h 62"/>
                        <a:gd name="T20" fmla="*/ 8 w 85"/>
                        <a:gd name="T21" fmla="*/ 13 h 62"/>
                        <a:gd name="T22" fmla="*/ 8 w 85"/>
                        <a:gd name="T23" fmla="*/ 14 h 62"/>
                        <a:gd name="T24" fmla="*/ 8 w 85"/>
                        <a:gd name="T25" fmla="*/ 11 h 62"/>
                        <a:gd name="T26" fmla="*/ 8 w 85"/>
                        <a:gd name="T27" fmla="*/ 13 h 62"/>
                        <a:gd name="T28" fmla="*/ 10 w 85"/>
                        <a:gd name="T29" fmla="*/ 11 h 62"/>
                        <a:gd name="T30" fmla="*/ 11 w 85"/>
                        <a:gd name="T31" fmla="*/ 13 h 62"/>
                        <a:gd name="T32" fmla="*/ 11 w 85"/>
                        <a:gd name="T33" fmla="*/ 10 h 62"/>
                        <a:gd name="T34" fmla="*/ 12 w 85"/>
                        <a:gd name="T35" fmla="*/ 10 h 62"/>
                        <a:gd name="T36" fmla="*/ 13 w 85"/>
                        <a:gd name="T37" fmla="*/ 10 h 62"/>
                        <a:gd name="T38" fmla="*/ 14 w 85"/>
                        <a:gd name="T39" fmla="*/ 10 h 62"/>
                        <a:gd name="T40" fmla="*/ 14 w 85"/>
                        <a:gd name="T41" fmla="*/ 10 h 62"/>
                        <a:gd name="T42" fmla="*/ 15 w 85"/>
                        <a:gd name="T43" fmla="*/ 10 h 62"/>
                        <a:gd name="T44" fmla="*/ 14 w 85"/>
                        <a:gd name="T45" fmla="*/ 10 h 62"/>
                        <a:gd name="T46" fmla="*/ 14 w 85"/>
                        <a:gd name="T47" fmla="*/ 10 h 62"/>
                        <a:gd name="T48" fmla="*/ 14 w 85"/>
                        <a:gd name="T49" fmla="*/ 10 h 62"/>
                        <a:gd name="T50" fmla="*/ 11 w 85"/>
                        <a:gd name="T51" fmla="*/ 9 h 62"/>
                        <a:gd name="T52" fmla="*/ 10 w 85"/>
                        <a:gd name="T53" fmla="*/ 4 h 62"/>
                        <a:gd name="T54" fmla="*/ 8 w 85"/>
                        <a:gd name="T55" fmla="*/ 0 h 62"/>
                        <a:gd name="T56" fmla="*/ 8 w 85"/>
                        <a:gd name="T57" fmla="*/ 4 h 62"/>
                        <a:gd name="T58" fmla="*/ 8 w 85"/>
                        <a:gd name="T59" fmla="*/ 0 h 62"/>
                        <a:gd name="T60" fmla="*/ 8 w 85"/>
                        <a:gd name="T61" fmla="*/ 4 h 62"/>
                        <a:gd name="T62" fmla="*/ 8 w 85"/>
                        <a:gd name="T63" fmla="*/ 0 h 62"/>
                        <a:gd name="T64" fmla="*/ 8 w 85"/>
                        <a:gd name="T65" fmla="*/ 4 h 62"/>
                        <a:gd name="T66" fmla="*/ 5 w 85"/>
                        <a:gd name="T67" fmla="*/ 4 h 62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85"/>
                        <a:gd name="T103" fmla="*/ 0 h 62"/>
                        <a:gd name="T104" fmla="*/ 85 w 85"/>
                        <a:gd name="T105" fmla="*/ 62 h 62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85" h="62">
                          <a:moveTo>
                            <a:pt x="5" y="4"/>
                          </a:moveTo>
                          <a:lnTo>
                            <a:pt x="0" y="4"/>
                          </a:lnTo>
                          <a:lnTo>
                            <a:pt x="5" y="18"/>
                          </a:lnTo>
                          <a:lnTo>
                            <a:pt x="5" y="22"/>
                          </a:lnTo>
                          <a:lnTo>
                            <a:pt x="9" y="22"/>
                          </a:lnTo>
                          <a:lnTo>
                            <a:pt x="9" y="27"/>
                          </a:lnTo>
                          <a:lnTo>
                            <a:pt x="23" y="31"/>
                          </a:lnTo>
                          <a:lnTo>
                            <a:pt x="32" y="31"/>
                          </a:lnTo>
                          <a:lnTo>
                            <a:pt x="32" y="35"/>
                          </a:lnTo>
                          <a:lnTo>
                            <a:pt x="32" y="49"/>
                          </a:lnTo>
                          <a:lnTo>
                            <a:pt x="41" y="58"/>
                          </a:lnTo>
                          <a:lnTo>
                            <a:pt x="41" y="62"/>
                          </a:lnTo>
                          <a:lnTo>
                            <a:pt x="49" y="53"/>
                          </a:lnTo>
                          <a:lnTo>
                            <a:pt x="58" y="58"/>
                          </a:lnTo>
                          <a:lnTo>
                            <a:pt x="63" y="53"/>
                          </a:lnTo>
                          <a:lnTo>
                            <a:pt x="67" y="58"/>
                          </a:lnTo>
                          <a:lnTo>
                            <a:pt x="67" y="49"/>
                          </a:lnTo>
                          <a:lnTo>
                            <a:pt x="72" y="44"/>
                          </a:lnTo>
                          <a:lnTo>
                            <a:pt x="76" y="35"/>
                          </a:lnTo>
                          <a:lnTo>
                            <a:pt x="81" y="31"/>
                          </a:lnTo>
                          <a:lnTo>
                            <a:pt x="85" y="31"/>
                          </a:lnTo>
                          <a:lnTo>
                            <a:pt x="81" y="27"/>
                          </a:lnTo>
                          <a:lnTo>
                            <a:pt x="81" y="22"/>
                          </a:lnTo>
                          <a:lnTo>
                            <a:pt x="67" y="9"/>
                          </a:lnTo>
                          <a:lnTo>
                            <a:pt x="63" y="4"/>
                          </a:lnTo>
                          <a:lnTo>
                            <a:pt x="58" y="0"/>
                          </a:lnTo>
                          <a:lnTo>
                            <a:pt x="49" y="4"/>
                          </a:lnTo>
                          <a:lnTo>
                            <a:pt x="32" y="0"/>
                          </a:lnTo>
                          <a:lnTo>
                            <a:pt x="23" y="4"/>
                          </a:lnTo>
                          <a:lnTo>
                            <a:pt x="18" y="0"/>
                          </a:lnTo>
                          <a:lnTo>
                            <a:pt x="9" y="4"/>
                          </a:lnTo>
                          <a:lnTo>
                            <a:pt x="5" y="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3" name="Freeform 20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859" y="1833"/>
                      <a:ext cx="9" cy="12"/>
                    </a:xfrm>
                    <a:custGeom>
                      <a:avLst/>
                      <a:gdLst>
                        <a:gd name="T0" fmla="*/ 0 w 9"/>
                        <a:gd name="T1" fmla="*/ 6 h 13"/>
                        <a:gd name="T2" fmla="*/ 0 w 9"/>
                        <a:gd name="T3" fmla="*/ 6 h 13"/>
                        <a:gd name="T4" fmla="*/ 0 w 9"/>
                        <a:gd name="T5" fmla="*/ 0 h 13"/>
                        <a:gd name="T6" fmla="*/ 5 w 9"/>
                        <a:gd name="T7" fmla="*/ 0 h 13"/>
                        <a:gd name="T8" fmla="*/ 5 w 9"/>
                        <a:gd name="T9" fmla="*/ 4 h 13"/>
                        <a:gd name="T10" fmla="*/ 9 w 9"/>
                        <a:gd name="T11" fmla="*/ 6 h 13"/>
                        <a:gd name="T12" fmla="*/ 9 w 9"/>
                        <a:gd name="T13" fmla="*/ 6 h 13"/>
                        <a:gd name="T14" fmla="*/ 5 w 9"/>
                        <a:gd name="T15" fmla="*/ 6 h 13"/>
                        <a:gd name="T16" fmla="*/ 0 w 9"/>
                        <a:gd name="T17" fmla="*/ 6 h 13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9"/>
                        <a:gd name="T28" fmla="*/ 0 h 13"/>
                        <a:gd name="T29" fmla="*/ 9 w 9"/>
                        <a:gd name="T30" fmla="*/ 13 h 13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9" h="13">
                          <a:moveTo>
                            <a:pt x="0" y="13"/>
                          </a:moveTo>
                          <a:lnTo>
                            <a:pt x="0" y="9"/>
                          </a:lnTo>
                          <a:lnTo>
                            <a:pt x="0" y="0"/>
                          </a:lnTo>
                          <a:lnTo>
                            <a:pt x="5" y="0"/>
                          </a:lnTo>
                          <a:lnTo>
                            <a:pt x="5" y="4"/>
                          </a:lnTo>
                          <a:lnTo>
                            <a:pt x="9" y="9"/>
                          </a:lnTo>
                          <a:lnTo>
                            <a:pt x="9" y="13"/>
                          </a:lnTo>
                          <a:lnTo>
                            <a:pt x="5" y="13"/>
                          </a:lnTo>
                          <a:lnTo>
                            <a:pt x="0" y="1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4" name="Freeform 202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138" y="1871"/>
                      <a:ext cx="43" cy="55"/>
                    </a:xfrm>
                    <a:custGeom>
                      <a:avLst/>
                      <a:gdLst>
                        <a:gd name="T0" fmla="*/ 0 w 45"/>
                        <a:gd name="T1" fmla="*/ 0 h 58"/>
                        <a:gd name="T2" fmla="*/ 11 w 45"/>
                        <a:gd name="T3" fmla="*/ 9 h 58"/>
                        <a:gd name="T4" fmla="*/ 11 w 45"/>
                        <a:gd name="T5" fmla="*/ 9 h 58"/>
                        <a:gd name="T6" fmla="*/ 11 w 45"/>
                        <a:gd name="T7" fmla="*/ 9 h 58"/>
                        <a:gd name="T8" fmla="*/ 11 w 45"/>
                        <a:gd name="T9" fmla="*/ 11 h 58"/>
                        <a:gd name="T10" fmla="*/ 11 w 45"/>
                        <a:gd name="T11" fmla="*/ 11 h 58"/>
                        <a:gd name="T12" fmla="*/ 11 w 45"/>
                        <a:gd name="T13" fmla="*/ 10 h 58"/>
                        <a:gd name="T14" fmla="*/ 11 w 45"/>
                        <a:gd name="T15" fmla="*/ 9 h 58"/>
                        <a:gd name="T16" fmla="*/ 11 w 45"/>
                        <a:gd name="T17" fmla="*/ 9 h 58"/>
                        <a:gd name="T18" fmla="*/ 11 w 45"/>
                        <a:gd name="T19" fmla="*/ 9 h 58"/>
                        <a:gd name="T20" fmla="*/ 11 w 45"/>
                        <a:gd name="T21" fmla="*/ 9 h 58"/>
                        <a:gd name="T22" fmla="*/ 11 w 45"/>
                        <a:gd name="T23" fmla="*/ 9 h 58"/>
                        <a:gd name="T24" fmla="*/ 11 w 45"/>
                        <a:gd name="T25" fmla="*/ 9 h 58"/>
                        <a:gd name="T26" fmla="*/ 11 w 45"/>
                        <a:gd name="T27" fmla="*/ 9 h 58"/>
                        <a:gd name="T28" fmla="*/ 11 w 45"/>
                        <a:gd name="T29" fmla="*/ 9 h 58"/>
                        <a:gd name="T30" fmla="*/ 11 w 45"/>
                        <a:gd name="T31" fmla="*/ 9 h 58"/>
                        <a:gd name="T32" fmla="*/ 11 w 45"/>
                        <a:gd name="T33" fmla="*/ 4 h 58"/>
                        <a:gd name="T34" fmla="*/ 11 w 45"/>
                        <a:gd name="T35" fmla="*/ 4 h 58"/>
                        <a:gd name="T36" fmla="*/ 11 w 45"/>
                        <a:gd name="T37" fmla="*/ 0 h 58"/>
                        <a:gd name="T38" fmla="*/ 11 w 45"/>
                        <a:gd name="T39" fmla="*/ 4 h 58"/>
                        <a:gd name="T40" fmla="*/ 11 w 45"/>
                        <a:gd name="T41" fmla="*/ 0 h 58"/>
                        <a:gd name="T42" fmla="*/ 0 w 45"/>
                        <a:gd name="T43" fmla="*/ 0 h 58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w 45"/>
                        <a:gd name="T67" fmla="*/ 0 h 58"/>
                        <a:gd name="T68" fmla="*/ 45 w 45"/>
                        <a:gd name="T69" fmla="*/ 58 h 58"/>
                      </a:gdLst>
                      <a:ahLst/>
                      <a:cxnLst>
                        <a:cxn ang="T44">
                          <a:pos x="T0" y="T1"/>
                        </a:cxn>
                        <a:cxn ang="T45">
                          <a:pos x="T2" y="T3"/>
                        </a:cxn>
                        <a:cxn ang="T46">
                          <a:pos x="T4" y="T5"/>
                        </a:cxn>
                        <a:cxn ang="T47">
                          <a:pos x="T6" y="T7"/>
                        </a:cxn>
                        <a:cxn ang="T48">
                          <a:pos x="T8" y="T9"/>
                        </a:cxn>
                        <a:cxn ang="T49">
                          <a:pos x="T10" y="T11"/>
                        </a:cxn>
                        <a:cxn ang="T50">
                          <a:pos x="T12" y="T13"/>
                        </a:cxn>
                        <a:cxn ang="T51">
                          <a:pos x="T14" y="T15"/>
                        </a:cxn>
                        <a:cxn ang="T52">
                          <a:pos x="T16" y="T17"/>
                        </a:cxn>
                        <a:cxn ang="T53">
                          <a:pos x="T18" y="T19"/>
                        </a:cxn>
                        <a:cxn ang="T54">
                          <a:pos x="T20" y="T21"/>
                        </a:cxn>
                        <a:cxn ang="T55">
                          <a:pos x="T22" y="T23"/>
                        </a:cxn>
                        <a:cxn ang="T56">
                          <a:pos x="T24" y="T25"/>
                        </a:cxn>
                        <a:cxn ang="T57">
                          <a:pos x="T26" y="T27"/>
                        </a:cxn>
                        <a:cxn ang="T58">
                          <a:pos x="T28" y="T29"/>
                        </a:cxn>
                        <a:cxn ang="T59">
                          <a:pos x="T30" y="T31"/>
                        </a:cxn>
                        <a:cxn ang="T60">
                          <a:pos x="T32" y="T33"/>
                        </a:cxn>
                        <a:cxn ang="T61">
                          <a:pos x="T34" y="T35"/>
                        </a:cxn>
                        <a:cxn ang="T62">
                          <a:pos x="T36" y="T37"/>
                        </a:cxn>
                        <a:cxn ang="T63">
                          <a:pos x="T38" y="T39"/>
                        </a:cxn>
                        <a:cxn ang="T64">
                          <a:pos x="T40" y="T41"/>
                        </a:cxn>
                        <a:cxn ang="T65">
                          <a:pos x="T42" y="T43"/>
                        </a:cxn>
                      </a:cxnLst>
                      <a:rect l="T66" t="T67" r="T68" b="T69"/>
                      <a:pathLst>
                        <a:path w="45" h="58">
                          <a:moveTo>
                            <a:pt x="0" y="0"/>
                          </a:moveTo>
                          <a:lnTo>
                            <a:pt x="14" y="18"/>
                          </a:lnTo>
                          <a:lnTo>
                            <a:pt x="18" y="27"/>
                          </a:lnTo>
                          <a:lnTo>
                            <a:pt x="23" y="40"/>
                          </a:lnTo>
                          <a:lnTo>
                            <a:pt x="18" y="58"/>
                          </a:lnTo>
                          <a:lnTo>
                            <a:pt x="27" y="58"/>
                          </a:lnTo>
                          <a:lnTo>
                            <a:pt x="31" y="54"/>
                          </a:lnTo>
                          <a:lnTo>
                            <a:pt x="31" y="49"/>
                          </a:lnTo>
                          <a:lnTo>
                            <a:pt x="31" y="40"/>
                          </a:lnTo>
                          <a:lnTo>
                            <a:pt x="36" y="45"/>
                          </a:lnTo>
                          <a:lnTo>
                            <a:pt x="36" y="40"/>
                          </a:lnTo>
                          <a:lnTo>
                            <a:pt x="40" y="40"/>
                          </a:lnTo>
                          <a:lnTo>
                            <a:pt x="45" y="40"/>
                          </a:lnTo>
                          <a:lnTo>
                            <a:pt x="45" y="31"/>
                          </a:lnTo>
                          <a:lnTo>
                            <a:pt x="40" y="22"/>
                          </a:lnTo>
                          <a:lnTo>
                            <a:pt x="40" y="13"/>
                          </a:lnTo>
                          <a:lnTo>
                            <a:pt x="27" y="4"/>
                          </a:lnTo>
                          <a:lnTo>
                            <a:pt x="23" y="4"/>
                          </a:lnTo>
                          <a:lnTo>
                            <a:pt x="18" y="0"/>
                          </a:lnTo>
                          <a:lnTo>
                            <a:pt x="14" y="4"/>
                          </a:lnTo>
                          <a:lnTo>
                            <a:pt x="14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5" name="Freeform 20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821" y="1756"/>
                      <a:ext cx="55" cy="59"/>
                    </a:xfrm>
                    <a:custGeom>
                      <a:avLst/>
                      <a:gdLst>
                        <a:gd name="T0" fmla="*/ 9 w 58"/>
                        <a:gd name="T1" fmla="*/ 8 h 63"/>
                        <a:gd name="T2" fmla="*/ 9 w 58"/>
                        <a:gd name="T3" fmla="*/ 8 h 63"/>
                        <a:gd name="T4" fmla="*/ 9 w 58"/>
                        <a:gd name="T5" fmla="*/ 7 h 63"/>
                        <a:gd name="T6" fmla="*/ 9 w 58"/>
                        <a:gd name="T7" fmla="*/ 7 h 63"/>
                        <a:gd name="T8" fmla="*/ 9 w 58"/>
                        <a:gd name="T9" fmla="*/ 7 h 63"/>
                        <a:gd name="T10" fmla="*/ 9 w 58"/>
                        <a:gd name="T11" fmla="*/ 7 h 63"/>
                        <a:gd name="T12" fmla="*/ 9 w 58"/>
                        <a:gd name="T13" fmla="*/ 7 h 63"/>
                        <a:gd name="T14" fmla="*/ 9 w 58"/>
                        <a:gd name="T15" fmla="*/ 7 h 63"/>
                        <a:gd name="T16" fmla="*/ 0 w 58"/>
                        <a:gd name="T17" fmla="*/ 7 h 63"/>
                        <a:gd name="T18" fmla="*/ 0 w 58"/>
                        <a:gd name="T19" fmla="*/ 7 h 63"/>
                        <a:gd name="T20" fmla="*/ 5 w 58"/>
                        <a:gd name="T21" fmla="*/ 7 h 63"/>
                        <a:gd name="T22" fmla="*/ 5 w 58"/>
                        <a:gd name="T23" fmla="*/ 7 h 63"/>
                        <a:gd name="T24" fmla="*/ 5 w 58"/>
                        <a:gd name="T25" fmla="*/ 7 h 63"/>
                        <a:gd name="T26" fmla="*/ 0 w 58"/>
                        <a:gd name="T27" fmla="*/ 7 h 63"/>
                        <a:gd name="T28" fmla="*/ 5 w 58"/>
                        <a:gd name="T29" fmla="*/ 7 h 63"/>
                        <a:gd name="T30" fmla="*/ 9 w 58"/>
                        <a:gd name="T31" fmla="*/ 7 h 63"/>
                        <a:gd name="T32" fmla="*/ 9 w 58"/>
                        <a:gd name="T33" fmla="*/ 7 h 63"/>
                        <a:gd name="T34" fmla="*/ 9 w 58"/>
                        <a:gd name="T35" fmla="*/ 7 h 63"/>
                        <a:gd name="T36" fmla="*/ 5 w 58"/>
                        <a:gd name="T37" fmla="*/ 7 h 63"/>
                        <a:gd name="T38" fmla="*/ 9 w 58"/>
                        <a:gd name="T39" fmla="*/ 7 h 63"/>
                        <a:gd name="T40" fmla="*/ 9 w 58"/>
                        <a:gd name="T41" fmla="*/ 7 h 63"/>
                        <a:gd name="T42" fmla="*/ 9 w 58"/>
                        <a:gd name="T43" fmla="*/ 7 h 63"/>
                        <a:gd name="T44" fmla="*/ 9 w 58"/>
                        <a:gd name="T45" fmla="*/ 7 h 63"/>
                        <a:gd name="T46" fmla="*/ 9 w 58"/>
                        <a:gd name="T47" fmla="*/ 7 h 63"/>
                        <a:gd name="T48" fmla="*/ 9 w 58"/>
                        <a:gd name="T49" fmla="*/ 5 h 63"/>
                        <a:gd name="T50" fmla="*/ 9 w 58"/>
                        <a:gd name="T51" fmla="*/ 0 h 63"/>
                        <a:gd name="T52" fmla="*/ 10 w 58"/>
                        <a:gd name="T53" fmla="*/ 0 h 63"/>
                        <a:gd name="T54" fmla="*/ 10 w 58"/>
                        <a:gd name="T55" fmla="*/ 0 h 63"/>
                        <a:gd name="T56" fmla="*/ 10 w 58"/>
                        <a:gd name="T57" fmla="*/ 7 h 63"/>
                        <a:gd name="T58" fmla="*/ 11 w 58"/>
                        <a:gd name="T59" fmla="*/ 7 h 63"/>
                        <a:gd name="T60" fmla="*/ 10 w 58"/>
                        <a:gd name="T61" fmla="*/ 7 h 63"/>
                        <a:gd name="T62" fmla="*/ 10 w 58"/>
                        <a:gd name="T63" fmla="*/ 7 h 63"/>
                        <a:gd name="T64" fmla="*/ 10 w 58"/>
                        <a:gd name="T65" fmla="*/ 7 h 63"/>
                        <a:gd name="T66" fmla="*/ 9 w 58"/>
                        <a:gd name="T67" fmla="*/ 7 h 63"/>
                        <a:gd name="T68" fmla="*/ 9 w 58"/>
                        <a:gd name="T69" fmla="*/ 7 h 63"/>
                        <a:gd name="T70" fmla="*/ 9 w 58"/>
                        <a:gd name="T71" fmla="*/ 7 h 63"/>
                        <a:gd name="T72" fmla="*/ 9 w 58"/>
                        <a:gd name="T73" fmla="*/ 7 h 63"/>
                        <a:gd name="T74" fmla="*/ 9 w 58"/>
                        <a:gd name="T75" fmla="*/ 7 h 63"/>
                        <a:gd name="T76" fmla="*/ 9 w 58"/>
                        <a:gd name="T77" fmla="*/ 8 h 63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w 58"/>
                        <a:gd name="T118" fmla="*/ 0 h 63"/>
                        <a:gd name="T119" fmla="*/ 58 w 58"/>
                        <a:gd name="T120" fmla="*/ 63 h 63"/>
                      </a:gdLst>
                      <a:ahLst/>
                      <a:cxnLst>
                        <a:cxn ang="T78">
                          <a:pos x="T0" y="T1"/>
                        </a:cxn>
                        <a:cxn ang="T79">
                          <a:pos x="T2" y="T3"/>
                        </a:cxn>
                        <a:cxn ang="T80">
                          <a:pos x="T4" y="T5"/>
                        </a:cxn>
                        <a:cxn ang="T81">
                          <a:pos x="T6" y="T7"/>
                        </a:cxn>
                        <a:cxn ang="T82">
                          <a:pos x="T8" y="T9"/>
                        </a:cxn>
                        <a:cxn ang="T83">
                          <a:pos x="T10" y="T11"/>
                        </a:cxn>
                        <a:cxn ang="T84">
                          <a:pos x="T12" y="T13"/>
                        </a:cxn>
                        <a:cxn ang="T85">
                          <a:pos x="T14" y="T15"/>
                        </a:cxn>
                        <a:cxn ang="T86">
                          <a:pos x="T16" y="T17"/>
                        </a:cxn>
                        <a:cxn ang="T87">
                          <a:pos x="T18" y="T19"/>
                        </a:cxn>
                        <a:cxn ang="T88">
                          <a:pos x="T20" y="T21"/>
                        </a:cxn>
                        <a:cxn ang="T89">
                          <a:pos x="T22" y="T23"/>
                        </a:cxn>
                        <a:cxn ang="T90">
                          <a:pos x="T24" y="T25"/>
                        </a:cxn>
                        <a:cxn ang="T91">
                          <a:pos x="T26" y="T27"/>
                        </a:cxn>
                        <a:cxn ang="T92">
                          <a:pos x="T28" y="T29"/>
                        </a:cxn>
                        <a:cxn ang="T93">
                          <a:pos x="T30" y="T31"/>
                        </a:cxn>
                        <a:cxn ang="T94">
                          <a:pos x="T32" y="T33"/>
                        </a:cxn>
                        <a:cxn ang="T95">
                          <a:pos x="T34" y="T35"/>
                        </a:cxn>
                        <a:cxn ang="T96">
                          <a:pos x="T36" y="T37"/>
                        </a:cxn>
                        <a:cxn ang="T97">
                          <a:pos x="T38" y="T39"/>
                        </a:cxn>
                        <a:cxn ang="T98">
                          <a:pos x="T40" y="T41"/>
                        </a:cxn>
                        <a:cxn ang="T99">
                          <a:pos x="T42" y="T43"/>
                        </a:cxn>
                        <a:cxn ang="T100">
                          <a:pos x="T44" y="T45"/>
                        </a:cxn>
                        <a:cxn ang="T101">
                          <a:pos x="T46" y="T47"/>
                        </a:cxn>
                        <a:cxn ang="T102">
                          <a:pos x="T48" y="T49"/>
                        </a:cxn>
                        <a:cxn ang="T103">
                          <a:pos x="T50" y="T51"/>
                        </a:cxn>
                        <a:cxn ang="T104">
                          <a:pos x="T52" y="T53"/>
                        </a:cxn>
                        <a:cxn ang="T105">
                          <a:pos x="T54" y="T55"/>
                        </a:cxn>
                        <a:cxn ang="T106">
                          <a:pos x="T56" y="T57"/>
                        </a:cxn>
                        <a:cxn ang="T107">
                          <a:pos x="T58" y="T59"/>
                        </a:cxn>
                        <a:cxn ang="T108">
                          <a:pos x="T60" y="T61"/>
                        </a:cxn>
                        <a:cxn ang="T109">
                          <a:pos x="T62" y="T63"/>
                        </a:cxn>
                        <a:cxn ang="T110">
                          <a:pos x="T64" y="T65"/>
                        </a:cxn>
                        <a:cxn ang="T111">
                          <a:pos x="T66" y="T67"/>
                        </a:cxn>
                        <a:cxn ang="T112">
                          <a:pos x="T68" y="T69"/>
                        </a:cxn>
                        <a:cxn ang="T113">
                          <a:pos x="T70" y="T71"/>
                        </a:cxn>
                        <a:cxn ang="T114">
                          <a:pos x="T72" y="T73"/>
                        </a:cxn>
                        <a:cxn ang="T115">
                          <a:pos x="T74" y="T75"/>
                        </a:cxn>
                        <a:cxn ang="T116">
                          <a:pos x="T76" y="T77"/>
                        </a:cxn>
                      </a:cxnLst>
                      <a:rect l="T117" t="T118" r="T119" b="T120"/>
                      <a:pathLst>
                        <a:path w="58" h="63">
                          <a:moveTo>
                            <a:pt x="45" y="63"/>
                          </a:moveTo>
                          <a:lnTo>
                            <a:pt x="40" y="63"/>
                          </a:lnTo>
                          <a:lnTo>
                            <a:pt x="40" y="58"/>
                          </a:lnTo>
                          <a:lnTo>
                            <a:pt x="36" y="54"/>
                          </a:lnTo>
                          <a:lnTo>
                            <a:pt x="27" y="54"/>
                          </a:lnTo>
                          <a:lnTo>
                            <a:pt x="18" y="45"/>
                          </a:lnTo>
                          <a:lnTo>
                            <a:pt x="14" y="54"/>
                          </a:lnTo>
                          <a:lnTo>
                            <a:pt x="9" y="54"/>
                          </a:lnTo>
                          <a:lnTo>
                            <a:pt x="0" y="54"/>
                          </a:lnTo>
                          <a:lnTo>
                            <a:pt x="0" y="49"/>
                          </a:lnTo>
                          <a:lnTo>
                            <a:pt x="5" y="49"/>
                          </a:lnTo>
                          <a:lnTo>
                            <a:pt x="0" y="45"/>
                          </a:lnTo>
                          <a:lnTo>
                            <a:pt x="5" y="40"/>
                          </a:lnTo>
                          <a:lnTo>
                            <a:pt x="14" y="45"/>
                          </a:lnTo>
                          <a:lnTo>
                            <a:pt x="14" y="40"/>
                          </a:lnTo>
                          <a:lnTo>
                            <a:pt x="9" y="40"/>
                          </a:lnTo>
                          <a:lnTo>
                            <a:pt x="5" y="40"/>
                          </a:lnTo>
                          <a:lnTo>
                            <a:pt x="14" y="36"/>
                          </a:lnTo>
                          <a:lnTo>
                            <a:pt x="18" y="27"/>
                          </a:lnTo>
                          <a:lnTo>
                            <a:pt x="27" y="9"/>
                          </a:lnTo>
                          <a:lnTo>
                            <a:pt x="31" y="9"/>
                          </a:lnTo>
                          <a:lnTo>
                            <a:pt x="36" y="5"/>
                          </a:lnTo>
                          <a:lnTo>
                            <a:pt x="40" y="0"/>
                          </a:lnTo>
                          <a:lnTo>
                            <a:pt x="54" y="0"/>
                          </a:lnTo>
                          <a:lnTo>
                            <a:pt x="54" y="9"/>
                          </a:lnTo>
                          <a:lnTo>
                            <a:pt x="58" y="9"/>
                          </a:lnTo>
                          <a:lnTo>
                            <a:pt x="54" y="18"/>
                          </a:lnTo>
                          <a:lnTo>
                            <a:pt x="54" y="36"/>
                          </a:lnTo>
                          <a:lnTo>
                            <a:pt x="49" y="36"/>
                          </a:lnTo>
                          <a:lnTo>
                            <a:pt x="40" y="40"/>
                          </a:lnTo>
                          <a:lnTo>
                            <a:pt x="40" y="45"/>
                          </a:lnTo>
                          <a:lnTo>
                            <a:pt x="45" y="49"/>
                          </a:lnTo>
                          <a:lnTo>
                            <a:pt x="40" y="58"/>
                          </a:lnTo>
                          <a:lnTo>
                            <a:pt x="45" y="63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6" name="Freeform 204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847" y="1208"/>
                      <a:ext cx="350" cy="439"/>
                    </a:xfrm>
                    <a:custGeom>
                      <a:avLst/>
                      <a:gdLst>
                        <a:gd name="T0" fmla="*/ 18 w 371"/>
                        <a:gd name="T1" fmla="*/ 74 h 465"/>
                        <a:gd name="T2" fmla="*/ 18 w 371"/>
                        <a:gd name="T3" fmla="*/ 62 h 465"/>
                        <a:gd name="T4" fmla="*/ 19 w 371"/>
                        <a:gd name="T5" fmla="*/ 50 h 465"/>
                        <a:gd name="T6" fmla="*/ 22 w 371"/>
                        <a:gd name="T7" fmla="*/ 46 h 465"/>
                        <a:gd name="T8" fmla="*/ 25 w 371"/>
                        <a:gd name="T9" fmla="*/ 38 h 465"/>
                        <a:gd name="T10" fmla="*/ 28 w 371"/>
                        <a:gd name="T11" fmla="*/ 28 h 465"/>
                        <a:gd name="T12" fmla="*/ 33 w 371"/>
                        <a:gd name="T13" fmla="*/ 24 h 465"/>
                        <a:gd name="T14" fmla="*/ 37 w 371"/>
                        <a:gd name="T15" fmla="*/ 19 h 465"/>
                        <a:gd name="T16" fmla="*/ 40 w 371"/>
                        <a:gd name="T17" fmla="*/ 17 h 465"/>
                        <a:gd name="T18" fmla="*/ 47 w 371"/>
                        <a:gd name="T19" fmla="*/ 20 h 465"/>
                        <a:gd name="T20" fmla="*/ 54 w 371"/>
                        <a:gd name="T21" fmla="*/ 9 h 465"/>
                        <a:gd name="T22" fmla="*/ 59 w 371"/>
                        <a:gd name="T23" fmla="*/ 12 h 465"/>
                        <a:gd name="T24" fmla="*/ 59 w 371"/>
                        <a:gd name="T25" fmla="*/ 17 h 465"/>
                        <a:gd name="T26" fmla="*/ 63 w 371"/>
                        <a:gd name="T27" fmla="*/ 14 h 465"/>
                        <a:gd name="T28" fmla="*/ 62 w 371"/>
                        <a:gd name="T29" fmla="*/ 8 h 465"/>
                        <a:gd name="T30" fmla="*/ 60 w 371"/>
                        <a:gd name="T31" fmla="*/ 8 h 465"/>
                        <a:gd name="T32" fmla="*/ 58 w 371"/>
                        <a:gd name="T33" fmla="*/ 8 h 465"/>
                        <a:gd name="T34" fmla="*/ 58 w 371"/>
                        <a:gd name="T35" fmla="*/ 5 h 465"/>
                        <a:gd name="T36" fmla="*/ 54 w 371"/>
                        <a:gd name="T37" fmla="*/ 8 h 465"/>
                        <a:gd name="T38" fmla="*/ 49 w 371"/>
                        <a:gd name="T39" fmla="*/ 8 h 465"/>
                        <a:gd name="T40" fmla="*/ 47 w 371"/>
                        <a:gd name="T41" fmla="*/ 8 h 465"/>
                        <a:gd name="T42" fmla="*/ 45 w 371"/>
                        <a:gd name="T43" fmla="*/ 8 h 465"/>
                        <a:gd name="T44" fmla="*/ 40 w 371"/>
                        <a:gd name="T45" fmla="*/ 8 h 465"/>
                        <a:gd name="T46" fmla="*/ 38 w 371"/>
                        <a:gd name="T47" fmla="*/ 14 h 465"/>
                        <a:gd name="T48" fmla="*/ 32 w 371"/>
                        <a:gd name="T49" fmla="*/ 12 h 465"/>
                        <a:gd name="T50" fmla="*/ 32 w 371"/>
                        <a:gd name="T51" fmla="*/ 15 h 465"/>
                        <a:gd name="T52" fmla="*/ 28 w 371"/>
                        <a:gd name="T53" fmla="*/ 23 h 465"/>
                        <a:gd name="T54" fmla="*/ 25 w 371"/>
                        <a:gd name="T55" fmla="*/ 25 h 465"/>
                        <a:gd name="T56" fmla="*/ 25 w 371"/>
                        <a:gd name="T57" fmla="*/ 28 h 465"/>
                        <a:gd name="T58" fmla="*/ 24 w 371"/>
                        <a:gd name="T59" fmla="*/ 30 h 465"/>
                        <a:gd name="T60" fmla="*/ 22 w 371"/>
                        <a:gd name="T61" fmla="*/ 34 h 465"/>
                        <a:gd name="T62" fmla="*/ 18 w 371"/>
                        <a:gd name="T63" fmla="*/ 42 h 465"/>
                        <a:gd name="T64" fmla="*/ 17 w 371"/>
                        <a:gd name="T65" fmla="*/ 45 h 465"/>
                        <a:gd name="T66" fmla="*/ 14 w 371"/>
                        <a:gd name="T67" fmla="*/ 50 h 465"/>
                        <a:gd name="T68" fmla="*/ 12 w 371"/>
                        <a:gd name="T69" fmla="*/ 53 h 465"/>
                        <a:gd name="T70" fmla="*/ 8 w 371"/>
                        <a:gd name="T71" fmla="*/ 56 h 465"/>
                        <a:gd name="T72" fmla="*/ 4 w 371"/>
                        <a:gd name="T73" fmla="*/ 64 h 465"/>
                        <a:gd name="T74" fmla="*/ 8 w 371"/>
                        <a:gd name="T75" fmla="*/ 67 h 465"/>
                        <a:gd name="T76" fmla="*/ 0 w 371"/>
                        <a:gd name="T77" fmla="*/ 76 h 465"/>
                        <a:gd name="T78" fmla="*/ 8 w 371"/>
                        <a:gd name="T79" fmla="*/ 80 h 465"/>
                        <a:gd name="T80" fmla="*/ 8 w 371"/>
                        <a:gd name="T81" fmla="*/ 82 h 465"/>
                        <a:gd name="T82" fmla="*/ 13 w 371"/>
                        <a:gd name="T83" fmla="*/ 76 h 465"/>
                        <a:gd name="T84" fmla="*/ 17 w 371"/>
                        <a:gd name="T85" fmla="*/ 76 h 465"/>
                        <a:gd name="T86" fmla="*/ 22 w 371"/>
                        <a:gd name="T87" fmla="*/ 23 h 465"/>
                        <a:gd name="T88" fmla="*/ 24 w 371"/>
                        <a:gd name="T89" fmla="*/ 22 h 465"/>
                        <a:gd name="T90" fmla="*/ 21 w 371"/>
                        <a:gd name="T91" fmla="*/ 25 h 465"/>
                        <a:gd name="T92" fmla="*/ 28 w 371"/>
                        <a:gd name="T93" fmla="*/ 18 h 465"/>
                        <a:gd name="T94" fmla="*/ 27 w 371"/>
                        <a:gd name="T95" fmla="*/ 17 h 465"/>
                        <a:gd name="T96" fmla="*/ 24 w 371"/>
                        <a:gd name="T97" fmla="*/ 17 h 465"/>
                        <a:gd name="T98" fmla="*/ 24 w 371"/>
                        <a:gd name="T99" fmla="*/ 20 h 465"/>
                        <a:gd name="T100" fmla="*/ 34 w 371"/>
                        <a:gd name="T101" fmla="*/ 12 h 465"/>
                        <a:gd name="T102" fmla="*/ 36 w 371"/>
                        <a:gd name="T103" fmla="*/ 9 h 465"/>
                        <a:gd name="T104" fmla="*/ 34 w 371"/>
                        <a:gd name="T105" fmla="*/ 8 h 465"/>
                        <a:gd name="T106" fmla="*/ 34 w 371"/>
                        <a:gd name="T107" fmla="*/ 12 h 465"/>
                        <a:gd name="T108" fmla="*/ 44 w 371"/>
                        <a:gd name="T109" fmla="*/ 8 h 465"/>
                        <a:gd name="T110" fmla="*/ 46 w 371"/>
                        <a:gd name="T111" fmla="*/ 8 h 465"/>
                        <a:gd name="T112" fmla="*/ 42 w 371"/>
                        <a:gd name="T113" fmla="*/ 8 h 465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w 371"/>
                        <a:gd name="T172" fmla="*/ 0 h 465"/>
                        <a:gd name="T173" fmla="*/ 371 w 371"/>
                        <a:gd name="T174" fmla="*/ 465 h 465"/>
                      </a:gdLst>
                      <a:ahLst/>
                      <a:cxnLst>
                        <a:cxn ang="T114">
                          <a:pos x="T0" y="T1"/>
                        </a:cxn>
                        <a:cxn ang="T115">
                          <a:pos x="T2" y="T3"/>
                        </a:cxn>
                        <a:cxn ang="T116">
                          <a:pos x="T4" y="T5"/>
                        </a:cxn>
                        <a:cxn ang="T117">
                          <a:pos x="T6" y="T7"/>
                        </a:cxn>
                        <a:cxn ang="T118">
                          <a:pos x="T8" y="T9"/>
                        </a:cxn>
                        <a:cxn ang="T119">
                          <a:pos x="T10" y="T11"/>
                        </a:cxn>
                        <a:cxn ang="T120">
                          <a:pos x="T12" y="T13"/>
                        </a:cxn>
                        <a:cxn ang="T121">
                          <a:pos x="T14" y="T15"/>
                        </a:cxn>
                        <a:cxn ang="T122">
                          <a:pos x="T16" y="T17"/>
                        </a:cxn>
                        <a:cxn ang="T123">
                          <a:pos x="T18" y="T19"/>
                        </a:cxn>
                        <a:cxn ang="T124">
                          <a:pos x="T20" y="T21"/>
                        </a:cxn>
                        <a:cxn ang="T125">
                          <a:pos x="T22" y="T23"/>
                        </a:cxn>
                        <a:cxn ang="T126">
                          <a:pos x="T24" y="T25"/>
                        </a:cxn>
                        <a:cxn ang="T127">
                          <a:pos x="T26" y="T27"/>
                        </a:cxn>
                        <a:cxn ang="T128">
                          <a:pos x="T28" y="T29"/>
                        </a:cxn>
                        <a:cxn ang="T129">
                          <a:pos x="T30" y="T31"/>
                        </a:cxn>
                        <a:cxn ang="T130">
                          <a:pos x="T32" y="T33"/>
                        </a:cxn>
                        <a:cxn ang="T131">
                          <a:pos x="T34" y="T35"/>
                        </a:cxn>
                        <a:cxn ang="T132">
                          <a:pos x="T36" y="T37"/>
                        </a:cxn>
                        <a:cxn ang="T133">
                          <a:pos x="T38" y="T39"/>
                        </a:cxn>
                        <a:cxn ang="T134">
                          <a:pos x="T40" y="T41"/>
                        </a:cxn>
                        <a:cxn ang="T135">
                          <a:pos x="T42" y="T43"/>
                        </a:cxn>
                        <a:cxn ang="T136">
                          <a:pos x="T44" y="T45"/>
                        </a:cxn>
                        <a:cxn ang="T137">
                          <a:pos x="T46" y="T47"/>
                        </a:cxn>
                        <a:cxn ang="T138">
                          <a:pos x="T48" y="T49"/>
                        </a:cxn>
                        <a:cxn ang="T139">
                          <a:pos x="T50" y="T51"/>
                        </a:cxn>
                        <a:cxn ang="T140">
                          <a:pos x="T52" y="T53"/>
                        </a:cxn>
                        <a:cxn ang="T141">
                          <a:pos x="T54" y="T55"/>
                        </a:cxn>
                        <a:cxn ang="T142">
                          <a:pos x="T56" y="T57"/>
                        </a:cxn>
                        <a:cxn ang="T143">
                          <a:pos x="T58" y="T59"/>
                        </a:cxn>
                        <a:cxn ang="T144">
                          <a:pos x="T60" y="T61"/>
                        </a:cxn>
                        <a:cxn ang="T145">
                          <a:pos x="T62" y="T63"/>
                        </a:cxn>
                        <a:cxn ang="T146">
                          <a:pos x="T64" y="T65"/>
                        </a:cxn>
                        <a:cxn ang="T147">
                          <a:pos x="T66" y="T67"/>
                        </a:cxn>
                        <a:cxn ang="T148">
                          <a:pos x="T68" y="T69"/>
                        </a:cxn>
                        <a:cxn ang="T149">
                          <a:pos x="T70" y="T71"/>
                        </a:cxn>
                        <a:cxn ang="T150">
                          <a:pos x="T72" y="T73"/>
                        </a:cxn>
                        <a:cxn ang="T151">
                          <a:pos x="T74" y="T75"/>
                        </a:cxn>
                        <a:cxn ang="T152">
                          <a:pos x="T76" y="T77"/>
                        </a:cxn>
                        <a:cxn ang="T153">
                          <a:pos x="T78" y="T79"/>
                        </a:cxn>
                        <a:cxn ang="T154">
                          <a:pos x="T80" y="T81"/>
                        </a:cxn>
                        <a:cxn ang="T155">
                          <a:pos x="T82" y="T83"/>
                        </a:cxn>
                        <a:cxn ang="T156">
                          <a:pos x="T84" y="T85"/>
                        </a:cxn>
                        <a:cxn ang="T157">
                          <a:pos x="T86" y="T87"/>
                        </a:cxn>
                        <a:cxn ang="T158">
                          <a:pos x="T88" y="T89"/>
                        </a:cxn>
                        <a:cxn ang="T159">
                          <a:pos x="T90" y="T91"/>
                        </a:cxn>
                        <a:cxn ang="T160">
                          <a:pos x="T92" y="T93"/>
                        </a:cxn>
                        <a:cxn ang="T161">
                          <a:pos x="T94" y="T95"/>
                        </a:cxn>
                        <a:cxn ang="T162">
                          <a:pos x="T96" y="T97"/>
                        </a:cxn>
                        <a:cxn ang="T163">
                          <a:pos x="T98" y="T99"/>
                        </a:cxn>
                        <a:cxn ang="T164">
                          <a:pos x="T100" y="T101"/>
                        </a:cxn>
                        <a:cxn ang="T165">
                          <a:pos x="T102" y="T103"/>
                        </a:cxn>
                        <a:cxn ang="T166">
                          <a:pos x="T104" y="T105"/>
                        </a:cxn>
                        <a:cxn ang="T167">
                          <a:pos x="T106" y="T107"/>
                        </a:cxn>
                        <a:cxn ang="T168">
                          <a:pos x="T108" y="T109"/>
                        </a:cxn>
                        <a:cxn ang="T169">
                          <a:pos x="T110" y="T111"/>
                        </a:cxn>
                        <a:cxn ang="T170">
                          <a:pos x="T112" y="T113"/>
                        </a:cxn>
                      </a:cxnLst>
                      <a:rect l="T171" t="T172" r="T173" b="T174"/>
                      <a:pathLst>
                        <a:path w="371" h="465">
                          <a:moveTo>
                            <a:pt x="89" y="434"/>
                          </a:moveTo>
                          <a:lnTo>
                            <a:pt x="98" y="438"/>
                          </a:lnTo>
                          <a:lnTo>
                            <a:pt x="98" y="425"/>
                          </a:lnTo>
                          <a:lnTo>
                            <a:pt x="98" y="416"/>
                          </a:lnTo>
                          <a:lnTo>
                            <a:pt x="107" y="407"/>
                          </a:lnTo>
                          <a:lnTo>
                            <a:pt x="103" y="380"/>
                          </a:lnTo>
                          <a:lnTo>
                            <a:pt x="112" y="367"/>
                          </a:lnTo>
                          <a:lnTo>
                            <a:pt x="98" y="349"/>
                          </a:lnTo>
                          <a:lnTo>
                            <a:pt x="98" y="304"/>
                          </a:lnTo>
                          <a:lnTo>
                            <a:pt x="103" y="300"/>
                          </a:lnTo>
                          <a:lnTo>
                            <a:pt x="98" y="295"/>
                          </a:lnTo>
                          <a:lnTo>
                            <a:pt x="103" y="277"/>
                          </a:lnTo>
                          <a:lnTo>
                            <a:pt x="112" y="273"/>
                          </a:lnTo>
                          <a:lnTo>
                            <a:pt x="121" y="277"/>
                          </a:lnTo>
                          <a:lnTo>
                            <a:pt x="130" y="273"/>
                          </a:lnTo>
                          <a:lnTo>
                            <a:pt x="125" y="259"/>
                          </a:lnTo>
                          <a:lnTo>
                            <a:pt x="134" y="233"/>
                          </a:lnTo>
                          <a:lnTo>
                            <a:pt x="134" y="215"/>
                          </a:lnTo>
                          <a:lnTo>
                            <a:pt x="138" y="210"/>
                          </a:lnTo>
                          <a:lnTo>
                            <a:pt x="143" y="215"/>
                          </a:lnTo>
                          <a:lnTo>
                            <a:pt x="147" y="206"/>
                          </a:lnTo>
                          <a:lnTo>
                            <a:pt x="143" y="197"/>
                          </a:lnTo>
                          <a:lnTo>
                            <a:pt x="165" y="175"/>
                          </a:lnTo>
                          <a:lnTo>
                            <a:pt x="161" y="157"/>
                          </a:lnTo>
                          <a:lnTo>
                            <a:pt x="165" y="143"/>
                          </a:lnTo>
                          <a:lnTo>
                            <a:pt x="174" y="130"/>
                          </a:lnTo>
                          <a:lnTo>
                            <a:pt x="183" y="134"/>
                          </a:lnTo>
                          <a:lnTo>
                            <a:pt x="188" y="130"/>
                          </a:lnTo>
                          <a:lnTo>
                            <a:pt x="183" y="116"/>
                          </a:lnTo>
                          <a:lnTo>
                            <a:pt x="188" y="112"/>
                          </a:lnTo>
                          <a:lnTo>
                            <a:pt x="210" y="116"/>
                          </a:lnTo>
                          <a:lnTo>
                            <a:pt x="210" y="103"/>
                          </a:lnTo>
                          <a:lnTo>
                            <a:pt x="214" y="94"/>
                          </a:lnTo>
                          <a:lnTo>
                            <a:pt x="223" y="94"/>
                          </a:lnTo>
                          <a:lnTo>
                            <a:pt x="219" y="90"/>
                          </a:lnTo>
                          <a:lnTo>
                            <a:pt x="228" y="90"/>
                          </a:lnTo>
                          <a:lnTo>
                            <a:pt x="228" y="85"/>
                          </a:lnTo>
                          <a:lnTo>
                            <a:pt x="237" y="85"/>
                          </a:lnTo>
                          <a:lnTo>
                            <a:pt x="250" y="108"/>
                          </a:lnTo>
                          <a:lnTo>
                            <a:pt x="272" y="108"/>
                          </a:lnTo>
                          <a:lnTo>
                            <a:pt x="281" y="112"/>
                          </a:lnTo>
                          <a:lnTo>
                            <a:pt x="295" y="99"/>
                          </a:lnTo>
                          <a:lnTo>
                            <a:pt x="295" y="76"/>
                          </a:lnTo>
                          <a:lnTo>
                            <a:pt x="308" y="58"/>
                          </a:lnTo>
                          <a:lnTo>
                            <a:pt x="326" y="54"/>
                          </a:lnTo>
                          <a:lnTo>
                            <a:pt x="331" y="63"/>
                          </a:lnTo>
                          <a:lnTo>
                            <a:pt x="339" y="63"/>
                          </a:lnTo>
                          <a:lnTo>
                            <a:pt x="339" y="67"/>
                          </a:lnTo>
                          <a:lnTo>
                            <a:pt x="335" y="85"/>
                          </a:lnTo>
                          <a:lnTo>
                            <a:pt x="331" y="90"/>
                          </a:lnTo>
                          <a:lnTo>
                            <a:pt x="331" y="94"/>
                          </a:lnTo>
                          <a:lnTo>
                            <a:pt x="344" y="90"/>
                          </a:lnTo>
                          <a:lnTo>
                            <a:pt x="353" y="76"/>
                          </a:lnTo>
                          <a:lnTo>
                            <a:pt x="353" y="67"/>
                          </a:lnTo>
                          <a:lnTo>
                            <a:pt x="362" y="76"/>
                          </a:lnTo>
                          <a:lnTo>
                            <a:pt x="366" y="63"/>
                          </a:lnTo>
                          <a:lnTo>
                            <a:pt x="339" y="49"/>
                          </a:lnTo>
                          <a:lnTo>
                            <a:pt x="335" y="45"/>
                          </a:lnTo>
                          <a:lnTo>
                            <a:pt x="357" y="49"/>
                          </a:lnTo>
                          <a:lnTo>
                            <a:pt x="366" y="36"/>
                          </a:lnTo>
                          <a:lnTo>
                            <a:pt x="371" y="36"/>
                          </a:lnTo>
                          <a:lnTo>
                            <a:pt x="371" y="27"/>
                          </a:lnTo>
                          <a:lnTo>
                            <a:pt x="348" y="18"/>
                          </a:lnTo>
                          <a:lnTo>
                            <a:pt x="344" y="18"/>
                          </a:lnTo>
                          <a:lnTo>
                            <a:pt x="348" y="9"/>
                          </a:lnTo>
                          <a:lnTo>
                            <a:pt x="344" y="5"/>
                          </a:lnTo>
                          <a:lnTo>
                            <a:pt x="335" y="14"/>
                          </a:lnTo>
                          <a:lnTo>
                            <a:pt x="331" y="32"/>
                          </a:lnTo>
                          <a:lnTo>
                            <a:pt x="326" y="27"/>
                          </a:lnTo>
                          <a:lnTo>
                            <a:pt x="331" y="18"/>
                          </a:lnTo>
                          <a:lnTo>
                            <a:pt x="335" y="5"/>
                          </a:lnTo>
                          <a:lnTo>
                            <a:pt x="326" y="0"/>
                          </a:lnTo>
                          <a:lnTo>
                            <a:pt x="317" y="5"/>
                          </a:lnTo>
                          <a:lnTo>
                            <a:pt x="308" y="32"/>
                          </a:lnTo>
                          <a:lnTo>
                            <a:pt x="304" y="9"/>
                          </a:lnTo>
                          <a:lnTo>
                            <a:pt x="295" y="27"/>
                          </a:lnTo>
                          <a:lnTo>
                            <a:pt x="286" y="49"/>
                          </a:lnTo>
                          <a:lnTo>
                            <a:pt x="281" y="49"/>
                          </a:lnTo>
                          <a:lnTo>
                            <a:pt x="286" y="32"/>
                          </a:lnTo>
                          <a:lnTo>
                            <a:pt x="295" y="9"/>
                          </a:lnTo>
                          <a:lnTo>
                            <a:pt x="277" y="5"/>
                          </a:lnTo>
                          <a:lnTo>
                            <a:pt x="272" y="18"/>
                          </a:lnTo>
                          <a:lnTo>
                            <a:pt x="277" y="23"/>
                          </a:lnTo>
                          <a:lnTo>
                            <a:pt x="268" y="27"/>
                          </a:lnTo>
                          <a:lnTo>
                            <a:pt x="259" y="41"/>
                          </a:lnTo>
                          <a:lnTo>
                            <a:pt x="259" y="54"/>
                          </a:lnTo>
                          <a:lnTo>
                            <a:pt x="250" y="54"/>
                          </a:lnTo>
                          <a:lnTo>
                            <a:pt x="250" y="41"/>
                          </a:lnTo>
                          <a:lnTo>
                            <a:pt x="237" y="41"/>
                          </a:lnTo>
                          <a:lnTo>
                            <a:pt x="228" y="45"/>
                          </a:lnTo>
                          <a:lnTo>
                            <a:pt x="237" y="54"/>
                          </a:lnTo>
                          <a:lnTo>
                            <a:pt x="228" y="58"/>
                          </a:lnTo>
                          <a:lnTo>
                            <a:pt x="223" y="54"/>
                          </a:lnTo>
                          <a:lnTo>
                            <a:pt x="214" y="76"/>
                          </a:lnTo>
                          <a:lnTo>
                            <a:pt x="214" y="58"/>
                          </a:lnTo>
                          <a:lnTo>
                            <a:pt x="197" y="67"/>
                          </a:lnTo>
                          <a:lnTo>
                            <a:pt x="192" y="76"/>
                          </a:lnTo>
                          <a:lnTo>
                            <a:pt x="179" y="67"/>
                          </a:lnTo>
                          <a:lnTo>
                            <a:pt x="170" y="76"/>
                          </a:lnTo>
                          <a:lnTo>
                            <a:pt x="165" y="85"/>
                          </a:lnTo>
                          <a:lnTo>
                            <a:pt x="170" y="90"/>
                          </a:lnTo>
                          <a:lnTo>
                            <a:pt x="179" y="81"/>
                          </a:lnTo>
                          <a:lnTo>
                            <a:pt x="179" y="99"/>
                          </a:lnTo>
                          <a:lnTo>
                            <a:pt x="165" y="108"/>
                          </a:lnTo>
                          <a:lnTo>
                            <a:pt x="161" y="116"/>
                          </a:lnTo>
                          <a:lnTo>
                            <a:pt x="161" y="125"/>
                          </a:lnTo>
                          <a:lnTo>
                            <a:pt x="152" y="121"/>
                          </a:lnTo>
                          <a:lnTo>
                            <a:pt x="138" y="134"/>
                          </a:lnTo>
                          <a:lnTo>
                            <a:pt x="138" y="148"/>
                          </a:lnTo>
                          <a:lnTo>
                            <a:pt x="147" y="143"/>
                          </a:lnTo>
                          <a:lnTo>
                            <a:pt x="147" y="152"/>
                          </a:lnTo>
                          <a:lnTo>
                            <a:pt x="138" y="152"/>
                          </a:lnTo>
                          <a:lnTo>
                            <a:pt x="130" y="161"/>
                          </a:lnTo>
                          <a:lnTo>
                            <a:pt x="147" y="157"/>
                          </a:lnTo>
                          <a:lnTo>
                            <a:pt x="152" y="161"/>
                          </a:lnTo>
                          <a:lnTo>
                            <a:pt x="152" y="166"/>
                          </a:lnTo>
                          <a:lnTo>
                            <a:pt x="143" y="161"/>
                          </a:lnTo>
                          <a:lnTo>
                            <a:pt x="134" y="166"/>
                          </a:lnTo>
                          <a:lnTo>
                            <a:pt x="134" y="170"/>
                          </a:lnTo>
                          <a:lnTo>
                            <a:pt x="125" y="170"/>
                          </a:lnTo>
                          <a:lnTo>
                            <a:pt x="116" y="184"/>
                          </a:lnTo>
                          <a:lnTo>
                            <a:pt x="121" y="192"/>
                          </a:lnTo>
                          <a:lnTo>
                            <a:pt x="112" y="197"/>
                          </a:lnTo>
                          <a:lnTo>
                            <a:pt x="116" y="206"/>
                          </a:lnTo>
                          <a:lnTo>
                            <a:pt x="107" y="215"/>
                          </a:lnTo>
                          <a:lnTo>
                            <a:pt x="98" y="233"/>
                          </a:lnTo>
                          <a:lnTo>
                            <a:pt x="103" y="246"/>
                          </a:lnTo>
                          <a:lnTo>
                            <a:pt x="98" y="242"/>
                          </a:lnTo>
                          <a:lnTo>
                            <a:pt x="89" y="255"/>
                          </a:lnTo>
                          <a:lnTo>
                            <a:pt x="94" y="255"/>
                          </a:lnTo>
                          <a:lnTo>
                            <a:pt x="94" y="264"/>
                          </a:lnTo>
                          <a:lnTo>
                            <a:pt x="80" y="264"/>
                          </a:lnTo>
                          <a:lnTo>
                            <a:pt x="76" y="277"/>
                          </a:lnTo>
                          <a:lnTo>
                            <a:pt x="71" y="286"/>
                          </a:lnTo>
                          <a:lnTo>
                            <a:pt x="80" y="295"/>
                          </a:lnTo>
                          <a:lnTo>
                            <a:pt x="76" y="300"/>
                          </a:lnTo>
                          <a:lnTo>
                            <a:pt x="67" y="295"/>
                          </a:lnTo>
                          <a:lnTo>
                            <a:pt x="58" y="282"/>
                          </a:lnTo>
                          <a:lnTo>
                            <a:pt x="49" y="295"/>
                          </a:lnTo>
                          <a:lnTo>
                            <a:pt x="49" y="313"/>
                          </a:lnTo>
                          <a:lnTo>
                            <a:pt x="40" y="309"/>
                          </a:lnTo>
                          <a:lnTo>
                            <a:pt x="18" y="327"/>
                          </a:lnTo>
                          <a:lnTo>
                            <a:pt x="4" y="335"/>
                          </a:lnTo>
                          <a:lnTo>
                            <a:pt x="0" y="349"/>
                          </a:lnTo>
                          <a:lnTo>
                            <a:pt x="4" y="358"/>
                          </a:lnTo>
                          <a:lnTo>
                            <a:pt x="13" y="358"/>
                          </a:lnTo>
                          <a:lnTo>
                            <a:pt x="4" y="362"/>
                          </a:lnTo>
                          <a:lnTo>
                            <a:pt x="9" y="371"/>
                          </a:lnTo>
                          <a:lnTo>
                            <a:pt x="13" y="376"/>
                          </a:lnTo>
                          <a:lnTo>
                            <a:pt x="4" y="376"/>
                          </a:lnTo>
                          <a:lnTo>
                            <a:pt x="0" y="398"/>
                          </a:lnTo>
                          <a:lnTo>
                            <a:pt x="4" y="402"/>
                          </a:lnTo>
                          <a:lnTo>
                            <a:pt x="0" y="425"/>
                          </a:lnTo>
                          <a:lnTo>
                            <a:pt x="9" y="434"/>
                          </a:lnTo>
                          <a:lnTo>
                            <a:pt x="13" y="447"/>
                          </a:lnTo>
                          <a:lnTo>
                            <a:pt x="18" y="452"/>
                          </a:lnTo>
                          <a:lnTo>
                            <a:pt x="27" y="452"/>
                          </a:lnTo>
                          <a:lnTo>
                            <a:pt x="27" y="461"/>
                          </a:lnTo>
                          <a:lnTo>
                            <a:pt x="36" y="465"/>
                          </a:lnTo>
                          <a:lnTo>
                            <a:pt x="45" y="461"/>
                          </a:lnTo>
                          <a:lnTo>
                            <a:pt x="49" y="456"/>
                          </a:lnTo>
                          <a:lnTo>
                            <a:pt x="54" y="456"/>
                          </a:lnTo>
                          <a:lnTo>
                            <a:pt x="63" y="438"/>
                          </a:lnTo>
                          <a:lnTo>
                            <a:pt x="67" y="429"/>
                          </a:lnTo>
                          <a:lnTo>
                            <a:pt x="71" y="425"/>
                          </a:lnTo>
                          <a:lnTo>
                            <a:pt x="76" y="420"/>
                          </a:lnTo>
                          <a:lnTo>
                            <a:pt x="80" y="420"/>
                          </a:lnTo>
                          <a:lnTo>
                            <a:pt x="80" y="429"/>
                          </a:lnTo>
                          <a:lnTo>
                            <a:pt x="89" y="429"/>
                          </a:lnTo>
                          <a:lnTo>
                            <a:pt x="89" y="434"/>
                          </a:lnTo>
                          <a:close/>
                          <a:moveTo>
                            <a:pt x="112" y="139"/>
                          </a:moveTo>
                          <a:lnTo>
                            <a:pt x="121" y="130"/>
                          </a:lnTo>
                          <a:lnTo>
                            <a:pt x="125" y="125"/>
                          </a:lnTo>
                          <a:lnTo>
                            <a:pt x="130" y="125"/>
                          </a:lnTo>
                          <a:lnTo>
                            <a:pt x="138" y="121"/>
                          </a:lnTo>
                          <a:lnTo>
                            <a:pt x="138" y="112"/>
                          </a:lnTo>
                          <a:lnTo>
                            <a:pt x="134" y="116"/>
                          </a:lnTo>
                          <a:lnTo>
                            <a:pt x="130" y="121"/>
                          </a:lnTo>
                          <a:lnTo>
                            <a:pt x="125" y="121"/>
                          </a:lnTo>
                          <a:lnTo>
                            <a:pt x="112" y="130"/>
                          </a:lnTo>
                          <a:lnTo>
                            <a:pt x="112" y="139"/>
                          </a:lnTo>
                          <a:close/>
                          <a:moveTo>
                            <a:pt x="152" y="116"/>
                          </a:moveTo>
                          <a:lnTo>
                            <a:pt x="161" y="108"/>
                          </a:lnTo>
                          <a:lnTo>
                            <a:pt x="165" y="99"/>
                          </a:lnTo>
                          <a:lnTo>
                            <a:pt x="161" y="94"/>
                          </a:lnTo>
                          <a:lnTo>
                            <a:pt x="156" y="94"/>
                          </a:lnTo>
                          <a:lnTo>
                            <a:pt x="152" y="103"/>
                          </a:lnTo>
                          <a:lnTo>
                            <a:pt x="152" y="94"/>
                          </a:lnTo>
                          <a:lnTo>
                            <a:pt x="156" y="90"/>
                          </a:lnTo>
                          <a:lnTo>
                            <a:pt x="156" y="76"/>
                          </a:lnTo>
                          <a:lnTo>
                            <a:pt x="147" y="90"/>
                          </a:lnTo>
                          <a:lnTo>
                            <a:pt x="143" y="103"/>
                          </a:lnTo>
                          <a:lnTo>
                            <a:pt x="138" y="90"/>
                          </a:lnTo>
                          <a:lnTo>
                            <a:pt x="138" y="99"/>
                          </a:lnTo>
                          <a:lnTo>
                            <a:pt x="134" y="99"/>
                          </a:lnTo>
                          <a:lnTo>
                            <a:pt x="130" y="108"/>
                          </a:lnTo>
                          <a:lnTo>
                            <a:pt x="138" y="108"/>
                          </a:lnTo>
                          <a:lnTo>
                            <a:pt x="147" y="103"/>
                          </a:lnTo>
                          <a:lnTo>
                            <a:pt x="143" y="116"/>
                          </a:lnTo>
                          <a:lnTo>
                            <a:pt x="152" y="116"/>
                          </a:lnTo>
                          <a:close/>
                          <a:moveTo>
                            <a:pt x="192" y="67"/>
                          </a:moveTo>
                          <a:lnTo>
                            <a:pt x="197" y="63"/>
                          </a:lnTo>
                          <a:lnTo>
                            <a:pt x="201" y="58"/>
                          </a:lnTo>
                          <a:lnTo>
                            <a:pt x="205" y="58"/>
                          </a:lnTo>
                          <a:lnTo>
                            <a:pt x="210" y="49"/>
                          </a:lnTo>
                          <a:lnTo>
                            <a:pt x="205" y="54"/>
                          </a:lnTo>
                          <a:lnTo>
                            <a:pt x="201" y="49"/>
                          </a:lnTo>
                          <a:lnTo>
                            <a:pt x="192" y="54"/>
                          </a:lnTo>
                          <a:lnTo>
                            <a:pt x="192" y="63"/>
                          </a:lnTo>
                          <a:lnTo>
                            <a:pt x="188" y="58"/>
                          </a:lnTo>
                          <a:lnTo>
                            <a:pt x="183" y="67"/>
                          </a:lnTo>
                          <a:lnTo>
                            <a:pt x="192" y="67"/>
                          </a:lnTo>
                          <a:close/>
                          <a:moveTo>
                            <a:pt x="241" y="27"/>
                          </a:moveTo>
                          <a:lnTo>
                            <a:pt x="246" y="32"/>
                          </a:lnTo>
                          <a:lnTo>
                            <a:pt x="259" y="27"/>
                          </a:lnTo>
                          <a:lnTo>
                            <a:pt x="255" y="36"/>
                          </a:lnTo>
                          <a:lnTo>
                            <a:pt x="259" y="41"/>
                          </a:lnTo>
                          <a:lnTo>
                            <a:pt x="264" y="27"/>
                          </a:lnTo>
                          <a:lnTo>
                            <a:pt x="259" y="27"/>
                          </a:lnTo>
                          <a:lnTo>
                            <a:pt x="264" y="14"/>
                          </a:lnTo>
                          <a:lnTo>
                            <a:pt x="259" y="14"/>
                          </a:lnTo>
                          <a:lnTo>
                            <a:pt x="259" y="18"/>
                          </a:lnTo>
                          <a:lnTo>
                            <a:pt x="250" y="18"/>
                          </a:lnTo>
                          <a:lnTo>
                            <a:pt x="241" y="27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7" name="Freeform 205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65" y="1722"/>
                      <a:ext cx="139" cy="131"/>
                    </a:xfrm>
                    <a:custGeom>
                      <a:avLst/>
                      <a:gdLst>
                        <a:gd name="T0" fmla="*/ 9 w 147"/>
                        <a:gd name="T1" fmla="*/ 18 h 139"/>
                        <a:gd name="T2" fmla="*/ 9 w 147"/>
                        <a:gd name="T3" fmla="*/ 16 h 139"/>
                        <a:gd name="T4" fmla="*/ 9 w 147"/>
                        <a:gd name="T5" fmla="*/ 15 h 139"/>
                        <a:gd name="T6" fmla="*/ 9 w 147"/>
                        <a:gd name="T7" fmla="*/ 13 h 139"/>
                        <a:gd name="T8" fmla="*/ 9 w 147"/>
                        <a:gd name="T9" fmla="*/ 9 h 139"/>
                        <a:gd name="T10" fmla="*/ 0 w 147"/>
                        <a:gd name="T11" fmla="*/ 8 h 139"/>
                        <a:gd name="T12" fmla="*/ 0 w 147"/>
                        <a:gd name="T13" fmla="*/ 8 h 139"/>
                        <a:gd name="T14" fmla="*/ 0 w 147"/>
                        <a:gd name="T15" fmla="*/ 8 h 139"/>
                        <a:gd name="T16" fmla="*/ 5 w 147"/>
                        <a:gd name="T17" fmla="*/ 8 h 139"/>
                        <a:gd name="T18" fmla="*/ 9 w 147"/>
                        <a:gd name="T19" fmla="*/ 8 h 139"/>
                        <a:gd name="T20" fmla="*/ 9 w 147"/>
                        <a:gd name="T21" fmla="*/ 8 h 139"/>
                        <a:gd name="T22" fmla="*/ 9 w 147"/>
                        <a:gd name="T23" fmla="*/ 8 h 139"/>
                        <a:gd name="T24" fmla="*/ 9 w 147"/>
                        <a:gd name="T25" fmla="*/ 8 h 139"/>
                        <a:gd name="T26" fmla="*/ 9 w 147"/>
                        <a:gd name="T27" fmla="*/ 8 h 139"/>
                        <a:gd name="T28" fmla="*/ 9 w 147"/>
                        <a:gd name="T29" fmla="*/ 5 h 139"/>
                        <a:gd name="T30" fmla="*/ 9 w 147"/>
                        <a:gd name="T31" fmla="*/ 0 h 139"/>
                        <a:gd name="T32" fmla="*/ 10 w 147"/>
                        <a:gd name="T33" fmla="*/ 0 h 139"/>
                        <a:gd name="T34" fmla="*/ 14 w 147"/>
                        <a:gd name="T35" fmla="*/ 0 h 139"/>
                        <a:gd name="T36" fmla="*/ 14 w 147"/>
                        <a:gd name="T37" fmla="*/ 5 h 139"/>
                        <a:gd name="T38" fmla="*/ 12 w 147"/>
                        <a:gd name="T39" fmla="*/ 5 h 139"/>
                        <a:gd name="T40" fmla="*/ 13 w 147"/>
                        <a:gd name="T41" fmla="*/ 8 h 139"/>
                        <a:gd name="T42" fmla="*/ 15 w 147"/>
                        <a:gd name="T43" fmla="*/ 5 h 139"/>
                        <a:gd name="T44" fmla="*/ 15 w 147"/>
                        <a:gd name="T45" fmla="*/ 8 h 139"/>
                        <a:gd name="T46" fmla="*/ 16 w 147"/>
                        <a:gd name="T47" fmla="*/ 8 h 139"/>
                        <a:gd name="T48" fmla="*/ 18 w 147"/>
                        <a:gd name="T49" fmla="*/ 8 h 139"/>
                        <a:gd name="T50" fmla="*/ 21 w 147"/>
                        <a:gd name="T51" fmla="*/ 8 h 139"/>
                        <a:gd name="T52" fmla="*/ 24 w 147"/>
                        <a:gd name="T53" fmla="*/ 8 h 139"/>
                        <a:gd name="T54" fmla="*/ 26 w 147"/>
                        <a:gd name="T55" fmla="*/ 8 h 139"/>
                        <a:gd name="T56" fmla="*/ 26 w 147"/>
                        <a:gd name="T57" fmla="*/ 8 h 139"/>
                        <a:gd name="T58" fmla="*/ 26 w 147"/>
                        <a:gd name="T59" fmla="*/ 8 h 139"/>
                        <a:gd name="T60" fmla="*/ 27 w 147"/>
                        <a:gd name="T61" fmla="*/ 8 h 139"/>
                        <a:gd name="T62" fmla="*/ 27 w 147"/>
                        <a:gd name="T63" fmla="*/ 9 h 139"/>
                        <a:gd name="T64" fmla="*/ 25 w 147"/>
                        <a:gd name="T65" fmla="*/ 10 h 139"/>
                        <a:gd name="T66" fmla="*/ 26 w 147"/>
                        <a:gd name="T67" fmla="*/ 13 h 139"/>
                        <a:gd name="T68" fmla="*/ 26 w 147"/>
                        <a:gd name="T69" fmla="*/ 15 h 139"/>
                        <a:gd name="T70" fmla="*/ 26 w 147"/>
                        <a:gd name="T71" fmla="*/ 15 h 139"/>
                        <a:gd name="T72" fmla="*/ 26 w 147"/>
                        <a:gd name="T73" fmla="*/ 18 h 139"/>
                        <a:gd name="T74" fmla="*/ 26 w 147"/>
                        <a:gd name="T75" fmla="*/ 19 h 139"/>
                        <a:gd name="T76" fmla="*/ 27 w 147"/>
                        <a:gd name="T77" fmla="*/ 20 h 139"/>
                        <a:gd name="T78" fmla="*/ 26 w 147"/>
                        <a:gd name="T79" fmla="*/ 21 h 139"/>
                        <a:gd name="T80" fmla="*/ 25 w 147"/>
                        <a:gd name="T81" fmla="*/ 21 h 139"/>
                        <a:gd name="T82" fmla="*/ 24 w 147"/>
                        <a:gd name="T83" fmla="*/ 23 h 139"/>
                        <a:gd name="T84" fmla="*/ 24 w 147"/>
                        <a:gd name="T85" fmla="*/ 24 h 139"/>
                        <a:gd name="T86" fmla="*/ 24 w 147"/>
                        <a:gd name="T87" fmla="*/ 24 h 139"/>
                        <a:gd name="T88" fmla="*/ 22 w 147"/>
                        <a:gd name="T89" fmla="*/ 23 h 139"/>
                        <a:gd name="T90" fmla="*/ 19 w 147"/>
                        <a:gd name="T91" fmla="*/ 23 h 139"/>
                        <a:gd name="T92" fmla="*/ 19 w 147"/>
                        <a:gd name="T93" fmla="*/ 23 h 139"/>
                        <a:gd name="T94" fmla="*/ 18 w 147"/>
                        <a:gd name="T95" fmla="*/ 24 h 139"/>
                        <a:gd name="T96" fmla="*/ 16 w 147"/>
                        <a:gd name="T97" fmla="*/ 23 h 139"/>
                        <a:gd name="T98" fmla="*/ 14 w 147"/>
                        <a:gd name="T99" fmla="*/ 23 h 139"/>
                        <a:gd name="T100" fmla="*/ 13 w 147"/>
                        <a:gd name="T101" fmla="*/ 23 h 139"/>
                        <a:gd name="T102" fmla="*/ 13 w 147"/>
                        <a:gd name="T103" fmla="*/ 21 h 139"/>
                        <a:gd name="T104" fmla="*/ 10 w 147"/>
                        <a:gd name="T105" fmla="*/ 21 h 139"/>
                        <a:gd name="T106" fmla="*/ 9 w 147"/>
                        <a:gd name="T107" fmla="*/ 20 h 139"/>
                        <a:gd name="T108" fmla="*/ 9 w 147"/>
                        <a:gd name="T109" fmla="*/ 19 h 139"/>
                        <a:gd name="T110" fmla="*/ 9 w 147"/>
                        <a:gd name="T111" fmla="*/ 21 h 139"/>
                        <a:gd name="T112" fmla="*/ 9 w 147"/>
                        <a:gd name="T113" fmla="*/ 20 h 139"/>
                        <a:gd name="T114" fmla="*/ 9 w 147"/>
                        <a:gd name="T115" fmla="*/ 19 h 139"/>
                        <a:gd name="T116" fmla="*/ 9 w 147"/>
                        <a:gd name="T117" fmla="*/ 19 h 139"/>
                        <a:gd name="T118" fmla="*/ 9 w 147"/>
                        <a:gd name="T119" fmla="*/ 18 h 139"/>
                        <a:gd name="T120" fmla="*/ 9 w 147"/>
                        <a:gd name="T121" fmla="*/ 19 h 139"/>
                        <a:gd name="T122" fmla="*/ 9 w 147"/>
                        <a:gd name="T123" fmla="*/ 18 h 139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60000 65536"/>
                        <a:gd name="T184" fmla="*/ 0 60000 65536"/>
                        <a:gd name="T185" fmla="*/ 0 60000 65536"/>
                        <a:gd name="T186" fmla="*/ 0 w 147"/>
                        <a:gd name="T187" fmla="*/ 0 h 139"/>
                        <a:gd name="T188" fmla="*/ 147 w 147"/>
                        <a:gd name="T189" fmla="*/ 139 h 139"/>
                      </a:gdLst>
                      <a:ahLst/>
                      <a:cxnLst>
                        <a:cxn ang="T124">
                          <a:pos x="T0" y="T1"/>
                        </a:cxn>
                        <a:cxn ang="T125">
                          <a:pos x="T2" y="T3"/>
                        </a:cxn>
                        <a:cxn ang="T126">
                          <a:pos x="T4" y="T5"/>
                        </a:cxn>
                        <a:cxn ang="T127">
                          <a:pos x="T6" y="T7"/>
                        </a:cxn>
                        <a:cxn ang="T128">
                          <a:pos x="T8" y="T9"/>
                        </a:cxn>
                        <a:cxn ang="T129">
                          <a:pos x="T10" y="T11"/>
                        </a:cxn>
                        <a:cxn ang="T130">
                          <a:pos x="T12" y="T13"/>
                        </a:cxn>
                        <a:cxn ang="T131">
                          <a:pos x="T14" y="T15"/>
                        </a:cxn>
                        <a:cxn ang="T132">
                          <a:pos x="T16" y="T17"/>
                        </a:cxn>
                        <a:cxn ang="T133">
                          <a:pos x="T18" y="T19"/>
                        </a:cxn>
                        <a:cxn ang="T134">
                          <a:pos x="T20" y="T21"/>
                        </a:cxn>
                        <a:cxn ang="T135">
                          <a:pos x="T22" y="T23"/>
                        </a:cxn>
                        <a:cxn ang="T136">
                          <a:pos x="T24" y="T25"/>
                        </a:cxn>
                        <a:cxn ang="T137">
                          <a:pos x="T26" y="T27"/>
                        </a:cxn>
                        <a:cxn ang="T138">
                          <a:pos x="T28" y="T29"/>
                        </a:cxn>
                        <a:cxn ang="T139">
                          <a:pos x="T30" y="T31"/>
                        </a:cxn>
                        <a:cxn ang="T140">
                          <a:pos x="T32" y="T33"/>
                        </a:cxn>
                        <a:cxn ang="T141">
                          <a:pos x="T34" y="T35"/>
                        </a:cxn>
                        <a:cxn ang="T142">
                          <a:pos x="T36" y="T37"/>
                        </a:cxn>
                        <a:cxn ang="T143">
                          <a:pos x="T38" y="T39"/>
                        </a:cxn>
                        <a:cxn ang="T144">
                          <a:pos x="T40" y="T41"/>
                        </a:cxn>
                        <a:cxn ang="T145">
                          <a:pos x="T42" y="T43"/>
                        </a:cxn>
                        <a:cxn ang="T146">
                          <a:pos x="T44" y="T45"/>
                        </a:cxn>
                        <a:cxn ang="T147">
                          <a:pos x="T46" y="T47"/>
                        </a:cxn>
                        <a:cxn ang="T148">
                          <a:pos x="T48" y="T49"/>
                        </a:cxn>
                        <a:cxn ang="T149">
                          <a:pos x="T50" y="T51"/>
                        </a:cxn>
                        <a:cxn ang="T150">
                          <a:pos x="T52" y="T53"/>
                        </a:cxn>
                        <a:cxn ang="T151">
                          <a:pos x="T54" y="T55"/>
                        </a:cxn>
                        <a:cxn ang="T152">
                          <a:pos x="T56" y="T57"/>
                        </a:cxn>
                        <a:cxn ang="T153">
                          <a:pos x="T58" y="T59"/>
                        </a:cxn>
                        <a:cxn ang="T154">
                          <a:pos x="T60" y="T61"/>
                        </a:cxn>
                        <a:cxn ang="T155">
                          <a:pos x="T62" y="T63"/>
                        </a:cxn>
                        <a:cxn ang="T156">
                          <a:pos x="T64" y="T65"/>
                        </a:cxn>
                        <a:cxn ang="T157">
                          <a:pos x="T66" y="T67"/>
                        </a:cxn>
                        <a:cxn ang="T158">
                          <a:pos x="T68" y="T69"/>
                        </a:cxn>
                        <a:cxn ang="T159">
                          <a:pos x="T70" y="T71"/>
                        </a:cxn>
                        <a:cxn ang="T160">
                          <a:pos x="T72" y="T73"/>
                        </a:cxn>
                        <a:cxn ang="T161">
                          <a:pos x="T74" y="T75"/>
                        </a:cxn>
                        <a:cxn ang="T162">
                          <a:pos x="T76" y="T77"/>
                        </a:cxn>
                        <a:cxn ang="T163">
                          <a:pos x="T78" y="T79"/>
                        </a:cxn>
                        <a:cxn ang="T164">
                          <a:pos x="T80" y="T81"/>
                        </a:cxn>
                        <a:cxn ang="T165">
                          <a:pos x="T82" y="T83"/>
                        </a:cxn>
                        <a:cxn ang="T166">
                          <a:pos x="T84" y="T85"/>
                        </a:cxn>
                        <a:cxn ang="T167">
                          <a:pos x="T86" y="T87"/>
                        </a:cxn>
                        <a:cxn ang="T168">
                          <a:pos x="T88" y="T89"/>
                        </a:cxn>
                        <a:cxn ang="T169">
                          <a:pos x="T90" y="T91"/>
                        </a:cxn>
                        <a:cxn ang="T170">
                          <a:pos x="T92" y="T93"/>
                        </a:cxn>
                        <a:cxn ang="T171">
                          <a:pos x="T94" y="T95"/>
                        </a:cxn>
                        <a:cxn ang="T172">
                          <a:pos x="T96" y="T97"/>
                        </a:cxn>
                        <a:cxn ang="T173">
                          <a:pos x="T98" y="T99"/>
                        </a:cxn>
                        <a:cxn ang="T174">
                          <a:pos x="T100" y="T101"/>
                        </a:cxn>
                        <a:cxn ang="T175">
                          <a:pos x="T102" y="T103"/>
                        </a:cxn>
                        <a:cxn ang="T176">
                          <a:pos x="T104" y="T105"/>
                        </a:cxn>
                        <a:cxn ang="T177">
                          <a:pos x="T106" y="T107"/>
                        </a:cxn>
                        <a:cxn ang="T178">
                          <a:pos x="T108" y="T109"/>
                        </a:cxn>
                        <a:cxn ang="T179">
                          <a:pos x="T110" y="T111"/>
                        </a:cxn>
                        <a:cxn ang="T180">
                          <a:pos x="T112" y="T113"/>
                        </a:cxn>
                        <a:cxn ang="T181">
                          <a:pos x="T114" y="T115"/>
                        </a:cxn>
                        <a:cxn ang="T182">
                          <a:pos x="T116" y="T117"/>
                        </a:cxn>
                        <a:cxn ang="T183">
                          <a:pos x="T118" y="T119"/>
                        </a:cxn>
                        <a:cxn ang="T184">
                          <a:pos x="T120" y="T121"/>
                        </a:cxn>
                        <a:cxn ang="T185">
                          <a:pos x="T122" y="T123"/>
                        </a:cxn>
                      </a:cxnLst>
                      <a:rect l="T186" t="T187" r="T188" b="T189"/>
                      <a:pathLst>
                        <a:path w="147" h="139">
                          <a:moveTo>
                            <a:pt x="13" y="99"/>
                          </a:moveTo>
                          <a:lnTo>
                            <a:pt x="13" y="90"/>
                          </a:lnTo>
                          <a:lnTo>
                            <a:pt x="9" y="85"/>
                          </a:lnTo>
                          <a:lnTo>
                            <a:pt x="9" y="72"/>
                          </a:lnTo>
                          <a:lnTo>
                            <a:pt x="9" y="59"/>
                          </a:lnTo>
                          <a:lnTo>
                            <a:pt x="0" y="50"/>
                          </a:lnTo>
                          <a:lnTo>
                            <a:pt x="0" y="36"/>
                          </a:lnTo>
                          <a:lnTo>
                            <a:pt x="0" y="27"/>
                          </a:lnTo>
                          <a:lnTo>
                            <a:pt x="5" y="27"/>
                          </a:lnTo>
                          <a:lnTo>
                            <a:pt x="9" y="36"/>
                          </a:lnTo>
                          <a:lnTo>
                            <a:pt x="9" y="27"/>
                          </a:lnTo>
                          <a:lnTo>
                            <a:pt x="13" y="23"/>
                          </a:lnTo>
                          <a:lnTo>
                            <a:pt x="22" y="14"/>
                          </a:lnTo>
                          <a:lnTo>
                            <a:pt x="36" y="14"/>
                          </a:lnTo>
                          <a:lnTo>
                            <a:pt x="40" y="5"/>
                          </a:lnTo>
                          <a:lnTo>
                            <a:pt x="49" y="0"/>
                          </a:lnTo>
                          <a:lnTo>
                            <a:pt x="58" y="0"/>
                          </a:lnTo>
                          <a:lnTo>
                            <a:pt x="72" y="0"/>
                          </a:lnTo>
                          <a:lnTo>
                            <a:pt x="72" y="5"/>
                          </a:lnTo>
                          <a:lnTo>
                            <a:pt x="63" y="5"/>
                          </a:lnTo>
                          <a:lnTo>
                            <a:pt x="67" y="9"/>
                          </a:lnTo>
                          <a:lnTo>
                            <a:pt x="76" y="5"/>
                          </a:lnTo>
                          <a:lnTo>
                            <a:pt x="76" y="14"/>
                          </a:lnTo>
                          <a:lnTo>
                            <a:pt x="80" y="9"/>
                          </a:lnTo>
                          <a:lnTo>
                            <a:pt x="89" y="9"/>
                          </a:lnTo>
                          <a:lnTo>
                            <a:pt x="107" y="14"/>
                          </a:lnTo>
                          <a:lnTo>
                            <a:pt x="130" y="14"/>
                          </a:lnTo>
                          <a:lnTo>
                            <a:pt x="139" y="23"/>
                          </a:lnTo>
                          <a:lnTo>
                            <a:pt x="139" y="27"/>
                          </a:lnTo>
                          <a:lnTo>
                            <a:pt x="143" y="41"/>
                          </a:lnTo>
                          <a:lnTo>
                            <a:pt x="147" y="50"/>
                          </a:lnTo>
                          <a:lnTo>
                            <a:pt x="147" y="59"/>
                          </a:lnTo>
                          <a:lnTo>
                            <a:pt x="134" y="63"/>
                          </a:lnTo>
                          <a:lnTo>
                            <a:pt x="139" y="72"/>
                          </a:lnTo>
                          <a:lnTo>
                            <a:pt x="139" y="81"/>
                          </a:lnTo>
                          <a:lnTo>
                            <a:pt x="139" y="85"/>
                          </a:lnTo>
                          <a:lnTo>
                            <a:pt x="143" y="99"/>
                          </a:lnTo>
                          <a:lnTo>
                            <a:pt x="143" y="108"/>
                          </a:lnTo>
                          <a:lnTo>
                            <a:pt x="147" y="112"/>
                          </a:lnTo>
                          <a:lnTo>
                            <a:pt x="143" y="117"/>
                          </a:lnTo>
                          <a:lnTo>
                            <a:pt x="134" y="121"/>
                          </a:lnTo>
                          <a:lnTo>
                            <a:pt x="125" y="135"/>
                          </a:lnTo>
                          <a:lnTo>
                            <a:pt x="130" y="139"/>
                          </a:lnTo>
                          <a:lnTo>
                            <a:pt x="125" y="139"/>
                          </a:lnTo>
                          <a:lnTo>
                            <a:pt x="112" y="130"/>
                          </a:lnTo>
                          <a:lnTo>
                            <a:pt x="98" y="135"/>
                          </a:lnTo>
                          <a:lnTo>
                            <a:pt x="94" y="130"/>
                          </a:lnTo>
                          <a:lnTo>
                            <a:pt x="89" y="139"/>
                          </a:lnTo>
                          <a:lnTo>
                            <a:pt x="80" y="130"/>
                          </a:lnTo>
                          <a:lnTo>
                            <a:pt x="72" y="135"/>
                          </a:lnTo>
                          <a:lnTo>
                            <a:pt x="67" y="130"/>
                          </a:lnTo>
                          <a:lnTo>
                            <a:pt x="67" y="121"/>
                          </a:lnTo>
                          <a:lnTo>
                            <a:pt x="58" y="121"/>
                          </a:lnTo>
                          <a:lnTo>
                            <a:pt x="54" y="112"/>
                          </a:lnTo>
                          <a:lnTo>
                            <a:pt x="45" y="108"/>
                          </a:lnTo>
                          <a:lnTo>
                            <a:pt x="40" y="117"/>
                          </a:lnTo>
                          <a:lnTo>
                            <a:pt x="31" y="112"/>
                          </a:lnTo>
                          <a:lnTo>
                            <a:pt x="36" y="108"/>
                          </a:lnTo>
                          <a:lnTo>
                            <a:pt x="27" y="108"/>
                          </a:lnTo>
                          <a:lnTo>
                            <a:pt x="22" y="99"/>
                          </a:lnTo>
                          <a:lnTo>
                            <a:pt x="18" y="103"/>
                          </a:lnTo>
                          <a:lnTo>
                            <a:pt x="13" y="99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8" name="Freeform 206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547" y="1989"/>
                      <a:ext cx="152" cy="169"/>
                    </a:xfrm>
                    <a:custGeom>
                      <a:avLst/>
                      <a:gdLst>
                        <a:gd name="T0" fmla="*/ 0 w 161"/>
                        <a:gd name="T1" fmla="*/ 32 h 179"/>
                        <a:gd name="T2" fmla="*/ 0 w 161"/>
                        <a:gd name="T3" fmla="*/ 32 h 179"/>
                        <a:gd name="T4" fmla="*/ 8 w 161"/>
                        <a:gd name="T5" fmla="*/ 32 h 179"/>
                        <a:gd name="T6" fmla="*/ 8 w 161"/>
                        <a:gd name="T7" fmla="*/ 32 h 179"/>
                        <a:gd name="T8" fmla="*/ 0 w 161"/>
                        <a:gd name="T9" fmla="*/ 32 h 179"/>
                        <a:gd name="T10" fmla="*/ 22 w 161"/>
                        <a:gd name="T11" fmla="*/ 4 h 179"/>
                        <a:gd name="T12" fmla="*/ 22 w 161"/>
                        <a:gd name="T13" fmla="*/ 8 h 179"/>
                        <a:gd name="T14" fmla="*/ 22 w 161"/>
                        <a:gd name="T15" fmla="*/ 8 h 179"/>
                        <a:gd name="T16" fmla="*/ 22 w 161"/>
                        <a:gd name="T17" fmla="*/ 8 h 179"/>
                        <a:gd name="T18" fmla="*/ 22 w 161"/>
                        <a:gd name="T19" fmla="*/ 8 h 179"/>
                        <a:gd name="T20" fmla="*/ 22 w 161"/>
                        <a:gd name="T21" fmla="*/ 8 h 179"/>
                        <a:gd name="T22" fmla="*/ 22 w 161"/>
                        <a:gd name="T23" fmla="*/ 8 h 179"/>
                        <a:gd name="T24" fmla="*/ 21 w 161"/>
                        <a:gd name="T25" fmla="*/ 9 h 179"/>
                        <a:gd name="T26" fmla="*/ 21 w 161"/>
                        <a:gd name="T27" fmla="*/ 12 h 179"/>
                        <a:gd name="T28" fmla="*/ 22 w 161"/>
                        <a:gd name="T29" fmla="*/ 13 h 179"/>
                        <a:gd name="T30" fmla="*/ 22 w 161"/>
                        <a:gd name="T31" fmla="*/ 13 h 179"/>
                        <a:gd name="T32" fmla="*/ 22 w 161"/>
                        <a:gd name="T33" fmla="*/ 14 h 179"/>
                        <a:gd name="T34" fmla="*/ 22 w 161"/>
                        <a:gd name="T35" fmla="*/ 15 h 179"/>
                        <a:gd name="T36" fmla="*/ 22 w 161"/>
                        <a:gd name="T37" fmla="*/ 17 h 179"/>
                        <a:gd name="T38" fmla="*/ 22 w 161"/>
                        <a:gd name="T39" fmla="*/ 19 h 179"/>
                        <a:gd name="T40" fmla="*/ 22 w 161"/>
                        <a:gd name="T41" fmla="*/ 19 h 179"/>
                        <a:gd name="T42" fmla="*/ 23 w 161"/>
                        <a:gd name="T43" fmla="*/ 18 h 179"/>
                        <a:gd name="T44" fmla="*/ 24 w 161"/>
                        <a:gd name="T45" fmla="*/ 19 h 179"/>
                        <a:gd name="T46" fmla="*/ 25 w 161"/>
                        <a:gd name="T47" fmla="*/ 19 h 179"/>
                        <a:gd name="T48" fmla="*/ 25 w 161"/>
                        <a:gd name="T49" fmla="*/ 18 h 179"/>
                        <a:gd name="T50" fmla="*/ 25 w 161"/>
                        <a:gd name="T51" fmla="*/ 16 h 179"/>
                        <a:gd name="T52" fmla="*/ 26 w 161"/>
                        <a:gd name="T53" fmla="*/ 16 h 179"/>
                        <a:gd name="T54" fmla="*/ 25 w 161"/>
                        <a:gd name="T55" fmla="*/ 14 h 179"/>
                        <a:gd name="T56" fmla="*/ 26 w 161"/>
                        <a:gd name="T57" fmla="*/ 12 h 179"/>
                        <a:gd name="T58" fmla="*/ 25 w 161"/>
                        <a:gd name="T59" fmla="*/ 8 h 179"/>
                        <a:gd name="T60" fmla="*/ 26 w 161"/>
                        <a:gd name="T61" fmla="*/ 8 h 179"/>
                        <a:gd name="T62" fmla="*/ 26 w 161"/>
                        <a:gd name="T63" fmla="*/ 8 h 179"/>
                        <a:gd name="T64" fmla="*/ 26 w 161"/>
                        <a:gd name="T65" fmla="*/ 8 h 179"/>
                        <a:gd name="T66" fmla="*/ 26 w 161"/>
                        <a:gd name="T67" fmla="*/ 8 h 179"/>
                        <a:gd name="T68" fmla="*/ 28 w 161"/>
                        <a:gd name="T69" fmla="*/ 8 h 179"/>
                        <a:gd name="T70" fmla="*/ 26 w 161"/>
                        <a:gd name="T71" fmla="*/ 8 h 179"/>
                        <a:gd name="T72" fmla="*/ 24 w 161"/>
                        <a:gd name="T73" fmla="*/ 8 h 179"/>
                        <a:gd name="T74" fmla="*/ 23 w 161"/>
                        <a:gd name="T75" fmla="*/ 0 h 179"/>
                        <a:gd name="T76" fmla="*/ 22 w 161"/>
                        <a:gd name="T77" fmla="*/ 4 h 179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w 161"/>
                        <a:gd name="T118" fmla="*/ 0 h 179"/>
                        <a:gd name="T119" fmla="*/ 161 w 161"/>
                        <a:gd name="T120" fmla="*/ 179 h 179"/>
                      </a:gdLst>
                      <a:ahLst/>
                      <a:cxnLst>
                        <a:cxn ang="T78">
                          <a:pos x="T0" y="T1"/>
                        </a:cxn>
                        <a:cxn ang="T79">
                          <a:pos x="T2" y="T3"/>
                        </a:cxn>
                        <a:cxn ang="T80">
                          <a:pos x="T4" y="T5"/>
                        </a:cxn>
                        <a:cxn ang="T81">
                          <a:pos x="T6" y="T7"/>
                        </a:cxn>
                        <a:cxn ang="T82">
                          <a:pos x="T8" y="T9"/>
                        </a:cxn>
                        <a:cxn ang="T83">
                          <a:pos x="T10" y="T11"/>
                        </a:cxn>
                        <a:cxn ang="T84">
                          <a:pos x="T12" y="T13"/>
                        </a:cxn>
                        <a:cxn ang="T85">
                          <a:pos x="T14" y="T15"/>
                        </a:cxn>
                        <a:cxn ang="T86">
                          <a:pos x="T16" y="T17"/>
                        </a:cxn>
                        <a:cxn ang="T87">
                          <a:pos x="T18" y="T19"/>
                        </a:cxn>
                        <a:cxn ang="T88">
                          <a:pos x="T20" y="T21"/>
                        </a:cxn>
                        <a:cxn ang="T89">
                          <a:pos x="T22" y="T23"/>
                        </a:cxn>
                        <a:cxn ang="T90">
                          <a:pos x="T24" y="T25"/>
                        </a:cxn>
                        <a:cxn ang="T91">
                          <a:pos x="T26" y="T27"/>
                        </a:cxn>
                        <a:cxn ang="T92">
                          <a:pos x="T28" y="T29"/>
                        </a:cxn>
                        <a:cxn ang="T93">
                          <a:pos x="T30" y="T31"/>
                        </a:cxn>
                        <a:cxn ang="T94">
                          <a:pos x="T32" y="T33"/>
                        </a:cxn>
                        <a:cxn ang="T95">
                          <a:pos x="T34" y="T35"/>
                        </a:cxn>
                        <a:cxn ang="T96">
                          <a:pos x="T36" y="T37"/>
                        </a:cxn>
                        <a:cxn ang="T97">
                          <a:pos x="T38" y="T39"/>
                        </a:cxn>
                        <a:cxn ang="T98">
                          <a:pos x="T40" y="T41"/>
                        </a:cxn>
                        <a:cxn ang="T99">
                          <a:pos x="T42" y="T43"/>
                        </a:cxn>
                        <a:cxn ang="T100">
                          <a:pos x="T44" y="T45"/>
                        </a:cxn>
                        <a:cxn ang="T101">
                          <a:pos x="T46" y="T47"/>
                        </a:cxn>
                        <a:cxn ang="T102">
                          <a:pos x="T48" y="T49"/>
                        </a:cxn>
                        <a:cxn ang="T103">
                          <a:pos x="T50" y="T51"/>
                        </a:cxn>
                        <a:cxn ang="T104">
                          <a:pos x="T52" y="T53"/>
                        </a:cxn>
                        <a:cxn ang="T105">
                          <a:pos x="T54" y="T55"/>
                        </a:cxn>
                        <a:cxn ang="T106">
                          <a:pos x="T56" y="T57"/>
                        </a:cxn>
                        <a:cxn ang="T107">
                          <a:pos x="T58" y="T59"/>
                        </a:cxn>
                        <a:cxn ang="T108">
                          <a:pos x="T60" y="T61"/>
                        </a:cxn>
                        <a:cxn ang="T109">
                          <a:pos x="T62" y="T63"/>
                        </a:cxn>
                        <a:cxn ang="T110">
                          <a:pos x="T64" y="T65"/>
                        </a:cxn>
                        <a:cxn ang="T111">
                          <a:pos x="T66" y="T67"/>
                        </a:cxn>
                        <a:cxn ang="T112">
                          <a:pos x="T68" y="T69"/>
                        </a:cxn>
                        <a:cxn ang="T113">
                          <a:pos x="T70" y="T71"/>
                        </a:cxn>
                        <a:cxn ang="T114">
                          <a:pos x="T72" y="T73"/>
                        </a:cxn>
                        <a:cxn ang="T115">
                          <a:pos x="T74" y="T75"/>
                        </a:cxn>
                        <a:cxn ang="T116">
                          <a:pos x="T76" y="T77"/>
                        </a:cxn>
                      </a:cxnLst>
                      <a:rect l="T117" t="T118" r="T119" b="T120"/>
                      <a:pathLst>
                        <a:path w="161" h="179">
                          <a:moveTo>
                            <a:pt x="0" y="174"/>
                          </a:moveTo>
                          <a:lnTo>
                            <a:pt x="0" y="179"/>
                          </a:lnTo>
                          <a:lnTo>
                            <a:pt x="9" y="179"/>
                          </a:lnTo>
                          <a:lnTo>
                            <a:pt x="9" y="174"/>
                          </a:lnTo>
                          <a:lnTo>
                            <a:pt x="0" y="174"/>
                          </a:lnTo>
                          <a:close/>
                          <a:moveTo>
                            <a:pt x="120" y="4"/>
                          </a:moveTo>
                          <a:lnTo>
                            <a:pt x="120" y="13"/>
                          </a:lnTo>
                          <a:lnTo>
                            <a:pt x="120" y="27"/>
                          </a:lnTo>
                          <a:lnTo>
                            <a:pt x="120" y="31"/>
                          </a:lnTo>
                          <a:lnTo>
                            <a:pt x="120" y="40"/>
                          </a:lnTo>
                          <a:lnTo>
                            <a:pt x="116" y="54"/>
                          </a:lnTo>
                          <a:lnTo>
                            <a:pt x="112" y="58"/>
                          </a:lnTo>
                          <a:lnTo>
                            <a:pt x="112" y="67"/>
                          </a:lnTo>
                          <a:lnTo>
                            <a:pt x="116" y="72"/>
                          </a:lnTo>
                          <a:lnTo>
                            <a:pt x="116" y="76"/>
                          </a:lnTo>
                          <a:lnTo>
                            <a:pt x="120" y="80"/>
                          </a:lnTo>
                          <a:lnTo>
                            <a:pt x="120" y="89"/>
                          </a:lnTo>
                          <a:lnTo>
                            <a:pt x="120" y="98"/>
                          </a:lnTo>
                          <a:lnTo>
                            <a:pt x="125" y="94"/>
                          </a:lnTo>
                          <a:lnTo>
                            <a:pt x="134" y="98"/>
                          </a:lnTo>
                          <a:lnTo>
                            <a:pt x="138" y="98"/>
                          </a:lnTo>
                          <a:lnTo>
                            <a:pt x="143" y="94"/>
                          </a:lnTo>
                          <a:lnTo>
                            <a:pt x="143" y="85"/>
                          </a:lnTo>
                          <a:lnTo>
                            <a:pt x="147" y="85"/>
                          </a:lnTo>
                          <a:lnTo>
                            <a:pt x="143" y="76"/>
                          </a:lnTo>
                          <a:lnTo>
                            <a:pt x="147" y="67"/>
                          </a:lnTo>
                          <a:lnTo>
                            <a:pt x="138" y="54"/>
                          </a:lnTo>
                          <a:lnTo>
                            <a:pt x="147" y="49"/>
                          </a:lnTo>
                          <a:lnTo>
                            <a:pt x="147" y="40"/>
                          </a:lnTo>
                          <a:lnTo>
                            <a:pt x="147" y="36"/>
                          </a:lnTo>
                          <a:lnTo>
                            <a:pt x="152" y="22"/>
                          </a:lnTo>
                          <a:lnTo>
                            <a:pt x="161" y="13"/>
                          </a:lnTo>
                          <a:lnTo>
                            <a:pt x="152" y="9"/>
                          </a:lnTo>
                          <a:lnTo>
                            <a:pt x="134" y="9"/>
                          </a:lnTo>
                          <a:lnTo>
                            <a:pt x="129" y="0"/>
                          </a:lnTo>
                          <a:lnTo>
                            <a:pt x="120" y="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89" name="Freeform 20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54" y="1871"/>
                      <a:ext cx="122" cy="92"/>
                    </a:xfrm>
                    <a:custGeom>
                      <a:avLst/>
                      <a:gdLst>
                        <a:gd name="T0" fmla="*/ 0 w 129"/>
                        <a:gd name="T1" fmla="*/ 8 h 98"/>
                        <a:gd name="T2" fmla="*/ 4 w 129"/>
                        <a:gd name="T3" fmla="*/ 8 h 98"/>
                        <a:gd name="T4" fmla="*/ 4 w 129"/>
                        <a:gd name="T5" fmla="*/ 8 h 98"/>
                        <a:gd name="T6" fmla="*/ 9 w 129"/>
                        <a:gd name="T7" fmla="*/ 11 h 98"/>
                        <a:gd name="T8" fmla="*/ 9 w 129"/>
                        <a:gd name="T9" fmla="*/ 12 h 98"/>
                        <a:gd name="T10" fmla="*/ 9 w 129"/>
                        <a:gd name="T11" fmla="*/ 12 h 98"/>
                        <a:gd name="T12" fmla="*/ 9 w 129"/>
                        <a:gd name="T13" fmla="*/ 12 h 98"/>
                        <a:gd name="T14" fmla="*/ 9 w 129"/>
                        <a:gd name="T15" fmla="*/ 12 h 98"/>
                        <a:gd name="T16" fmla="*/ 9 w 129"/>
                        <a:gd name="T17" fmla="*/ 12 h 98"/>
                        <a:gd name="T18" fmla="*/ 9 w 129"/>
                        <a:gd name="T19" fmla="*/ 14 h 98"/>
                        <a:gd name="T20" fmla="*/ 9 w 129"/>
                        <a:gd name="T21" fmla="*/ 15 h 98"/>
                        <a:gd name="T22" fmla="*/ 11 w 129"/>
                        <a:gd name="T23" fmla="*/ 16 h 98"/>
                        <a:gd name="T24" fmla="*/ 15 w 129"/>
                        <a:gd name="T25" fmla="*/ 16 h 98"/>
                        <a:gd name="T26" fmla="*/ 17 w 129"/>
                        <a:gd name="T27" fmla="*/ 14 h 98"/>
                        <a:gd name="T28" fmla="*/ 19 w 129"/>
                        <a:gd name="T29" fmla="*/ 13 h 98"/>
                        <a:gd name="T30" fmla="*/ 22 w 129"/>
                        <a:gd name="T31" fmla="*/ 15 h 98"/>
                        <a:gd name="T32" fmla="*/ 22 w 129"/>
                        <a:gd name="T33" fmla="*/ 13 h 98"/>
                        <a:gd name="T34" fmla="*/ 23 w 129"/>
                        <a:gd name="T35" fmla="*/ 12 h 98"/>
                        <a:gd name="T36" fmla="*/ 23 w 129"/>
                        <a:gd name="T37" fmla="*/ 10 h 98"/>
                        <a:gd name="T38" fmla="*/ 23 w 129"/>
                        <a:gd name="T39" fmla="*/ 11 h 98"/>
                        <a:gd name="T40" fmla="*/ 24 w 129"/>
                        <a:gd name="T41" fmla="*/ 11 h 98"/>
                        <a:gd name="T42" fmla="*/ 24 w 129"/>
                        <a:gd name="T43" fmla="*/ 8 h 98"/>
                        <a:gd name="T44" fmla="*/ 24 w 129"/>
                        <a:gd name="T45" fmla="*/ 8 h 98"/>
                        <a:gd name="T46" fmla="*/ 22 w 129"/>
                        <a:gd name="T47" fmla="*/ 10 h 98"/>
                        <a:gd name="T48" fmla="*/ 22 w 129"/>
                        <a:gd name="T49" fmla="*/ 8 h 98"/>
                        <a:gd name="T50" fmla="*/ 21 w 129"/>
                        <a:gd name="T51" fmla="*/ 8 h 98"/>
                        <a:gd name="T52" fmla="*/ 22 w 129"/>
                        <a:gd name="T53" fmla="*/ 8 h 98"/>
                        <a:gd name="T54" fmla="*/ 21 w 129"/>
                        <a:gd name="T55" fmla="*/ 8 h 98"/>
                        <a:gd name="T56" fmla="*/ 20 w 129"/>
                        <a:gd name="T57" fmla="*/ 8 h 98"/>
                        <a:gd name="T58" fmla="*/ 18 w 129"/>
                        <a:gd name="T59" fmla="*/ 0 h 98"/>
                        <a:gd name="T60" fmla="*/ 13 w 129"/>
                        <a:gd name="T61" fmla="*/ 8 h 98"/>
                        <a:gd name="T62" fmla="*/ 9 w 129"/>
                        <a:gd name="T63" fmla="*/ 4 h 98"/>
                        <a:gd name="T64" fmla="*/ 9 w 129"/>
                        <a:gd name="T65" fmla="*/ 8 h 98"/>
                        <a:gd name="T66" fmla="*/ 9 w 129"/>
                        <a:gd name="T67" fmla="*/ 8 h 98"/>
                        <a:gd name="T68" fmla="*/ 9 w 129"/>
                        <a:gd name="T69" fmla="*/ 8 h 98"/>
                        <a:gd name="T70" fmla="*/ 9 w 129"/>
                        <a:gd name="T71" fmla="*/ 8 h 98"/>
                        <a:gd name="T72" fmla="*/ 9 w 129"/>
                        <a:gd name="T73" fmla="*/ 8 h 98"/>
                        <a:gd name="T74" fmla="*/ 4 w 129"/>
                        <a:gd name="T75" fmla="*/ 8 h 98"/>
                        <a:gd name="T76" fmla="*/ 0 w 129"/>
                        <a:gd name="T77" fmla="*/ 8 h 98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w 129"/>
                        <a:gd name="T118" fmla="*/ 0 h 98"/>
                        <a:gd name="T119" fmla="*/ 129 w 129"/>
                        <a:gd name="T120" fmla="*/ 98 h 98"/>
                      </a:gdLst>
                      <a:ahLst/>
                      <a:cxnLst>
                        <a:cxn ang="T78">
                          <a:pos x="T0" y="T1"/>
                        </a:cxn>
                        <a:cxn ang="T79">
                          <a:pos x="T2" y="T3"/>
                        </a:cxn>
                        <a:cxn ang="T80">
                          <a:pos x="T4" y="T5"/>
                        </a:cxn>
                        <a:cxn ang="T81">
                          <a:pos x="T6" y="T7"/>
                        </a:cxn>
                        <a:cxn ang="T82">
                          <a:pos x="T8" y="T9"/>
                        </a:cxn>
                        <a:cxn ang="T83">
                          <a:pos x="T10" y="T11"/>
                        </a:cxn>
                        <a:cxn ang="T84">
                          <a:pos x="T12" y="T13"/>
                        </a:cxn>
                        <a:cxn ang="T85">
                          <a:pos x="T14" y="T15"/>
                        </a:cxn>
                        <a:cxn ang="T86">
                          <a:pos x="T16" y="T17"/>
                        </a:cxn>
                        <a:cxn ang="T87">
                          <a:pos x="T18" y="T19"/>
                        </a:cxn>
                        <a:cxn ang="T88">
                          <a:pos x="T20" y="T21"/>
                        </a:cxn>
                        <a:cxn ang="T89">
                          <a:pos x="T22" y="T23"/>
                        </a:cxn>
                        <a:cxn ang="T90">
                          <a:pos x="T24" y="T25"/>
                        </a:cxn>
                        <a:cxn ang="T91">
                          <a:pos x="T26" y="T27"/>
                        </a:cxn>
                        <a:cxn ang="T92">
                          <a:pos x="T28" y="T29"/>
                        </a:cxn>
                        <a:cxn ang="T93">
                          <a:pos x="T30" y="T31"/>
                        </a:cxn>
                        <a:cxn ang="T94">
                          <a:pos x="T32" y="T33"/>
                        </a:cxn>
                        <a:cxn ang="T95">
                          <a:pos x="T34" y="T35"/>
                        </a:cxn>
                        <a:cxn ang="T96">
                          <a:pos x="T36" y="T37"/>
                        </a:cxn>
                        <a:cxn ang="T97">
                          <a:pos x="T38" y="T39"/>
                        </a:cxn>
                        <a:cxn ang="T98">
                          <a:pos x="T40" y="T41"/>
                        </a:cxn>
                        <a:cxn ang="T99">
                          <a:pos x="T42" y="T43"/>
                        </a:cxn>
                        <a:cxn ang="T100">
                          <a:pos x="T44" y="T45"/>
                        </a:cxn>
                        <a:cxn ang="T101">
                          <a:pos x="T46" y="T47"/>
                        </a:cxn>
                        <a:cxn ang="T102">
                          <a:pos x="T48" y="T49"/>
                        </a:cxn>
                        <a:cxn ang="T103">
                          <a:pos x="T50" y="T51"/>
                        </a:cxn>
                        <a:cxn ang="T104">
                          <a:pos x="T52" y="T53"/>
                        </a:cxn>
                        <a:cxn ang="T105">
                          <a:pos x="T54" y="T55"/>
                        </a:cxn>
                        <a:cxn ang="T106">
                          <a:pos x="T56" y="T57"/>
                        </a:cxn>
                        <a:cxn ang="T107">
                          <a:pos x="T58" y="T59"/>
                        </a:cxn>
                        <a:cxn ang="T108">
                          <a:pos x="T60" y="T61"/>
                        </a:cxn>
                        <a:cxn ang="T109">
                          <a:pos x="T62" y="T63"/>
                        </a:cxn>
                        <a:cxn ang="T110">
                          <a:pos x="T64" y="T65"/>
                        </a:cxn>
                        <a:cxn ang="T111">
                          <a:pos x="T66" y="T67"/>
                        </a:cxn>
                        <a:cxn ang="T112">
                          <a:pos x="T68" y="T69"/>
                        </a:cxn>
                        <a:cxn ang="T113">
                          <a:pos x="T70" y="T71"/>
                        </a:cxn>
                        <a:cxn ang="T114">
                          <a:pos x="T72" y="T73"/>
                        </a:cxn>
                        <a:cxn ang="T115">
                          <a:pos x="T74" y="T75"/>
                        </a:cxn>
                        <a:cxn ang="T116">
                          <a:pos x="T76" y="T77"/>
                        </a:cxn>
                      </a:cxnLst>
                      <a:rect l="T117" t="T118" r="T119" b="T120"/>
                      <a:pathLst>
                        <a:path w="129" h="98">
                          <a:moveTo>
                            <a:pt x="0" y="45"/>
                          </a:moveTo>
                          <a:lnTo>
                            <a:pt x="4" y="54"/>
                          </a:lnTo>
                          <a:lnTo>
                            <a:pt x="4" y="62"/>
                          </a:lnTo>
                          <a:lnTo>
                            <a:pt x="13" y="71"/>
                          </a:lnTo>
                          <a:lnTo>
                            <a:pt x="22" y="76"/>
                          </a:lnTo>
                          <a:lnTo>
                            <a:pt x="27" y="76"/>
                          </a:lnTo>
                          <a:lnTo>
                            <a:pt x="27" y="80"/>
                          </a:lnTo>
                          <a:lnTo>
                            <a:pt x="31" y="80"/>
                          </a:lnTo>
                          <a:lnTo>
                            <a:pt x="36" y="80"/>
                          </a:lnTo>
                          <a:lnTo>
                            <a:pt x="36" y="89"/>
                          </a:lnTo>
                          <a:lnTo>
                            <a:pt x="49" y="94"/>
                          </a:lnTo>
                          <a:lnTo>
                            <a:pt x="62" y="98"/>
                          </a:lnTo>
                          <a:lnTo>
                            <a:pt x="76" y="98"/>
                          </a:lnTo>
                          <a:lnTo>
                            <a:pt x="85" y="89"/>
                          </a:lnTo>
                          <a:lnTo>
                            <a:pt x="98" y="85"/>
                          </a:lnTo>
                          <a:lnTo>
                            <a:pt x="116" y="94"/>
                          </a:lnTo>
                          <a:lnTo>
                            <a:pt x="116" y="85"/>
                          </a:lnTo>
                          <a:lnTo>
                            <a:pt x="120" y="80"/>
                          </a:lnTo>
                          <a:lnTo>
                            <a:pt x="120" y="67"/>
                          </a:lnTo>
                          <a:lnTo>
                            <a:pt x="120" y="71"/>
                          </a:lnTo>
                          <a:lnTo>
                            <a:pt x="129" y="71"/>
                          </a:lnTo>
                          <a:lnTo>
                            <a:pt x="129" y="62"/>
                          </a:lnTo>
                          <a:lnTo>
                            <a:pt x="125" y="62"/>
                          </a:lnTo>
                          <a:lnTo>
                            <a:pt x="116" y="67"/>
                          </a:lnTo>
                          <a:lnTo>
                            <a:pt x="112" y="62"/>
                          </a:lnTo>
                          <a:lnTo>
                            <a:pt x="107" y="58"/>
                          </a:lnTo>
                          <a:lnTo>
                            <a:pt x="112" y="40"/>
                          </a:lnTo>
                          <a:lnTo>
                            <a:pt x="107" y="27"/>
                          </a:lnTo>
                          <a:lnTo>
                            <a:pt x="103" y="18"/>
                          </a:lnTo>
                          <a:lnTo>
                            <a:pt x="89" y="0"/>
                          </a:lnTo>
                          <a:lnTo>
                            <a:pt x="67" y="9"/>
                          </a:lnTo>
                          <a:lnTo>
                            <a:pt x="40" y="4"/>
                          </a:lnTo>
                          <a:lnTo>
                            <a:pt x="36" y="9"/>
                          </a:lnTo>
                          <a:lnTo>
                            <a:pt x="36" y="13"/>
                          </a:lnTo>
                          <a:lnTo>
                            <a:pt x="22" y="18"/>
                          </a:lnTo>
                          <a:lnTo>
                            <a:pt x="13" y="36"/>
                          </a:lnTo>
                          <a:lnTo>
                            <a:pt x="13" y="40"/>
                          </a:lnTo>
                          <a:lnTo>
                            <a:pt x="4" y="45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0" name="Freeform 208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03" y="1845"/>
                      <a:ext cx="80" cy="29"/>
                    </a:xfrm>
                    <a:custGeom>
                      <a:avLst/>
                      <a:gdLst>
                        <a:gd name="T0" fmla="*/ 0 w 85"/>
                        <a:gd name="T1" fmla="*/ 7 h 31"/>
                        <a:gd name="T2" fmla="*/ 5 w 85"/>
                        <a:gd name="T3" fmla="*/ 7 h 31"/>
                        <a:gd name="T4" fmla="*/ 8 w 85"/>
                        <a:gd name="T5" fmla="*/ 7 h 31"/>
                        <a:gd name="T6" fmla="*/ 8 w 85"/>
                        <a:gd name="T7" fmla="*/ 7 h 31"/>
                        <a:gd name="T8" fmla="*/ 8 w 85"/>
                        <a:gd name="T9" fmla="*/ 5 h 31"/>
                        <a:gd name="T10" fmla="*/ 8 w 85"/>
                        <a:gd name="T11" fmla="*/ 0 h 31"/>
                        <a:gd name="T12" fmla="*/ 8 w 85"/>
                        <a:gd name="T13" fmla="*/ 5 h 31"/>
                        <a:gd name="T14" fmla="*/ 8 w 85"/>
                        <a:gd name="T15" fmla="*/ 0 h 31"/>
                        <a:gd name="T16" fmla="*/ 8 w 85"/>
                        <a:gd name="T17" fmla="*/ 7 h 31"/>
                        <a:gd name="T18" fmla="*/ 8 w 85"/>
                        <a:gd name="T19" fmla="*/ 0 h 31"/>
                        <a:gd name="T20" fmla="*/ 8 w 85"/>
                        <a:gd name="T21" fmla="*/ 5 h 31"/>
                        <a:gd name="T22" fmla="*/ 12 w 85"/>
                        <a:gd name="T23" fmla="*/ 0 h 31"/>
                        <a:gd name="T24" fmla="*/ 15 w 85"/>
                        <a:gd name="T25" fmla="*/ 7 h 31"/>
                        <a:gd name="T26" fmla="*/ 14 w 85"/>
                        <a:gd name="T27" fmla="*/ 7 h 31"/>
                        <a:gd name="T28" fmla="*/ 12 w 85"/>
                        <a:gd name="T29" fmla="*/ 7 h 31"/>
                        <a:gd name="T30" fmla="*/ 11 w 85"/>
                        <a:gd name="T31" fmla="*/ 7 h 31"/>
                        <a:gd name="T32" fmla="*/ 10 w 85"/>
                        <a:gd name="T33" fmla="*/ 7 h 31"/>
                        <a:gd name="T34" fmla="*/ 8 w 85"/>
                        <a:gd name="T35" fmla="*/ 7 h 31"/>
                        <a:gd name="T36" fmla="*/ 8 w 85"/>
                        <a:gd name="T37" fmla="*/ 7 h 31"/>
                        <a:gd name="T38" fmla="*/ 8 w 85"/>
                        <a:gd name="T39" fmla="*/ 7 h 31"/>
                        <a:gd name="T40" fmla="*/ 8 w 85"/>
                        <a:gd name="T41" fmla="*/ 7 h 31"/>
                        <a:gd name="T42" fmla="*/ 8 w 85"/>
                        <a:gd name="T43" fmla="*/ 7 h 31"/>
                        <a:gd name="T44" fmla="*/ 8 w 85"/>
                        <a:gd name="T45" fmla="*/ 7 h 31"/>
                        <a:gd name="T46" fmla="*/ 8 w 85"/>
                        <a:gd name="T47" fmla="*/ 7 h 31"/>
                        <a:gd name="T48" fmla="*/ 5 w 85"/>
                        <a:gd name="T49" fmla="*/ 7 h 31"/>
                        <a:gd name="T50" fmla="*/ 0 w 85"/>
                        <a:gd name="T51" fmla="*/ 7 h 31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85"/>
                        <a:gd name="T79" fmla="*/ 0 h 31"/>
                        <a:gd name="T80" fmla="*/ 85 w 85"/>
                        <a:gd name="T81" fmla="*/ 31 h 31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85" h="31">
                          <a:moveTo>
                            <a:pt x="0" y="22"/>
                          </a:moveTo>
                          <a:lnTo>
                            <a:pt x="5" y="18"/>
                          </a:lnTo>
                          <a:lnTo>
                            <a:pt x="14" y="18"/>
                          </a:lnTo>
                          <a:lnTo>
                            <a:pt x="18" y="13"/>
                          </a:lnTo>
                          <a:lnTo>
                            <a:pt x="23" y="5"/>
                          </a:lnTo>
                          <a:lnTo>
                            <a:pt x="27" y="0"/>
                          </a:lnTo>
                          <a:lnTo>
                            <a:pt x="32" y="5"/>
                          </a:lnTo>
                          <a:lnTo>
                            <a:pt x="40" y="0"/>
                          </a:lnTo>
                          <a:lnTo>
                            <a:pt x="49" y="9"/>
                          </a:lnTo>
                          <a:lnTo>
                            <a:pt x="54" y="0"/>
                          </a:lnTo>
                          <a:lnTo>
                            <a:pt x="58" y="5"/>
                          </a:lnTo>
                          <a:lnTo>
                            <a:pt x="72" y="0"/>
                          </a:lnTo>
                          <a:lnTo>
                            <a:pt x="85" y="9"/>
                          </a:lnTo>
                          <a:lnTo>
                            <a:pt x="81" y="22"/>
                          </a:lnTo>
                          <a:lnTo>
                            <a:pt x="72" y="22"/>
                          </a:lnTo>
                          <a:lnTo>
                            <a:pt x="67" y="18"/>
                          </a:lnTo>
                          <a:lnTo>
                            <a:pt x="63" y="22"/>
                          </a:lnTo>
                          <a:lnTo>
                            <a:pt x="54" y="18"/>
                          </a:lnTo>
                          <a:lnTo>
                            <a:pt x="45" y="27"/>
                          </a:lnTo>
                          <a:lnTo>
                            <a:pt x="36" y="27"/>
                          </a:lnTo>
                          <a:lnTo>
                            <a:pt x="32" y="31"/>
                          </a:lnTo>
                          <a:lnTo>
                            <a:pt x="14" y="31"/>
                          </a:lnTo>
                          <a:lnTo>
                            <a:pt x="9" y="27"/>
                          </a:lnTo>
                          <a:lnTo>
                            <a:pt x="9" y="22"/>
                          </a:lnTo>
                          <a:lnTo>
                            <a:pt x="5" y="22"/>
                          </a:lnTo>
                          <a:lnTo>
                            <a:pt x="0" y="2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1" name="Freeform 209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956" y="1900"/>
                      <a:ext cx="43" cy="25"/>
                    </a:xfrm>
                    <a:custGeom>
                      <a:avLst/>
                      <a:gdLst>
                        <a:gd name="T0" fmla="*/ 5 w 45"/>
                        <a:gd name="T1" fmla="*/ 6 h 27"/>
                        <a:gd name="T2" fmla="*/ 5 w 45"/>
                        <a:gd name="T3" fmla="*/ 6 h 27"/>
                        <a:gd name="T4" fmla="*/ 5 w 45"/>
                        <a:gd name="T5" fmla="*/ 6 h 27"/>
                        <a:gd name="T6" fmla="*/ 11 w 45"/>
                        <a:gd name="T7" fmla="*/ 6 h 27"/>
                        <a:gd name="T8" fmla="*/ 11 w 45"/>
                        <a:gd name="T9" fmla="*/ 6 h 27"/>
                        <a:gd name="T10" fmla="*/ 11 w 45"/>
                        <a:gd name="T11" fmla="*/ 6 h 27"/>
                        <a:gd name="T12" fmla="*/ 11 w 45"/>
                        <a:gd name="T13" fmla="*/ 6 h 27"/>
                        <a:gd name="T14" fmla="*/ 11 w 45"/>
                        <a:gd name="T15" fmla="*/ 6 h 27"/>
                        <a:gd name="T16" fmla="*/ 11 w 45"/>
                        <a:gd name="T17" fmla="*/ 6 h 27"/>
                        <a:gd name="T18" fmla="*/ 11 w 45"/>
                        <a:gd name="T19" fmla="*/ 6 h 27"/>
                        <a:gd name="T20" fmla="*/ 11 w 45"/>
                        <a:gd name="T21" fmla="*/ 6 h 27"/>
                        <a:gd name="T22" fmla="*/ 11 w 45"/>
                        <a:gd name="T23" fmla="*/ 6 h 27"/>
                        <a:gd name="T24" fmla="*/ 11 w 45"/>
                        <a:gd name="T25" fmla="*/ 6 h 27"/>
                        <a:gd name="T26" fmla="*/ 11 w 45"/>
                        <a:gd name="T27" fmla="*/ 6 h 27"/>
                        <a:gd name="T28" fmla="*/ 11 w 45"/>
                        <a:gd name="T29" fmla="*/ 6 h 27"/>
                        <a:gd name="T30" fmla="*/ 11 w 45"/>
                        <a:gd name="T31" fmla="*/ 6 h 27"/>
                        <a:gd name="T32" fmla="*/ 11 w 45"/>
                        <a:gd name="T33" fmla="*/ 6 h 27"/>
                        <a:gd name="T34" fmla="*/ 11 w 45"/>
                        <a:gd name="T35" fmla="*/ 6 h 27"/>
                        <a:gd name="T36" fmla="*/ 11 w 45"/>
                        <a:gd name="T37" fmla="*/ 5 h 27"/>
                        <a:gd name="T38" fmla="*/ 11 w 45"/>
                        <a:gd name="T39" fmla="*/ 6 h 27"/>
                        <a:gd name="T40" fmla="*/ 11 w 45"/>
                        <a:gd name="T41" fmla="*/ 6 h 27"/>
                        <a:gd name="T42" fmla="*/ 11 w 45"/>
                        <a:gd name="T43" fmla="*/ 0 h 27"/>
                        <a:gd name="T44" fmla="*/ 11 w 45"/>
                        <a:gd name="T45" fmla="*/ 5 h 27"/>
                        <a:gd name="T46" fmla="*/ 11 w 45"/>
                        <a:gd name="T47" fmla="*/ 6 h 27"/>
                        <a:gd name="T48" fmla="*/ 5 w 45"/>
                        <a:gd name="T49" fmla="*/ 6 h 27"/>
                        <a:gd name="T50" fmla="*/ 0 w 45"/>
                        <a:gd name="T51" fmla="*/ 6 h 27"/>
                        <a:gd name="T52" fmla="*/ 5 w 45"/>
                        <a:gd name="T53" fmla="*/ 6 h 27"/>
                        <a:gd name="T54" fmla="*/ 5 w 45"/>
                        <a:gd name="T55" fmla="*/ 6 h 27"/>
                        <a:gd name="T56" fmla="*/ 9 w 45"/>
                        <a:gd name="T57" fmla="*/ 6 h 27"/>
                        <a:gd name="T58" fmla="*/ 5 w 45"/>
                        <a:gd name="T59" fmla="*/ 6 h 27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w 45"/>
                        <a:gd name="T91" fmla="*/ 0 h 27"/>
                        <a:gd name="T92" fmla="*/ 45 w 45"/>
                        <a:gd name="T93" fmla="*/ 27 h 27"/>
                      </a:gdLst>
                      <a:ahLst/>
                      <a:cxnLst>
                        <a:cxn ang="T60">
                          <a:pos x="T0" y="T1"/>
                        </a:cxn>
                        <a:cxn ang="T61">
                          <a:pos x="T2" y="T3"/>
                        </a:cxn>
                        <a:cxn ang="T62">
                          <a:pos x="T4" y="T5"/>
                        </a:cxn>
                        <a:cxn ang="T63">
                          <a:pos x="T6" y="T7"/>
                        </a:cxn>
                        <a:cxn ang="T64">
                          <a:pos x="T8" y="T9"/>
                        </a:cxn>
                        <a:cxn ang="T65">
                          <a:pos x="T10" y="T11"/>
                        </a:cxn>
                        <a:cxn ang="T66">
                          <a:pos x="T12" y="T13"/>
                        </a:cxn>
                        <a:cxn ang="T67">
                          <a:pos x="T14" y="T15"/>
                        </a:cxn>
                        <a:cxn ang="T68">
                          <a:pos x="T16" y="T17"/>
                        </a:cxn>
                        <a:cxn ang="T69">
                          <a:pos x="T18" y="T19"/>
                        </a:cxn>
                        <a:cxn ang="T70">
                          <a:pos x="T20" y="T21"/>
                        </a:cxn>
                        <a:cxn ang="T71">
                          <a:pos x="T22" y="T23"/>
                        </a:cxn>
                        <a:cxn ang="T72">
                          <a:pos x="T24" y="T25"/>
                        </a:cxn>
                        <a:cxn ang="T73">
                          <a:pos x="T26" y="T27"/>
                        </a:cxn>
                        <a:cxn ang="T74">
                          <a:pos x="T28" y="T29"/>
                        </a:cxn>
                        <a:cxn ang="T75">
                          <a:pos x="T30" y="T31"/>
                        </a:cxn>
                        <a:cxn ang="T76">
                          <a:pos x="T32" y="T33"/>
                        </a:cxn>
                        <a:cxn ang="T77">
                          <a:pos x="T34" y="T35"/>
                        </a:cxn>
                        <a:cxn ang="T78">
                          <a:pos x="T36" y="T37"/>
                        </a:cxn>
                        <a:cxn ang="T79">
                          <a:pos x="T38" y="T39"/>
                        </a:cxn>
                        <a:cxn ang="T80">
                          <a:pos x="T40" y="T41"/>
                        </a:cxn>
                        <a:cxn ang="T81">
                          <a:pos x="T42" y="T43"/>
                        </a:cxn>
                        <a:cxn ang="T82">
                          <a:pos x="T44" y="T45"/>
                        </a:cxn>
                        <a:cxn ang="T83">
                          <a:pos x="T46" y="T47"/>
                        </a:cxn>
                        <a:cxn ang="T84">
                          <a:pos x="T48" y="T49"/>
                        </a:cxn>
                        <a:cxn ang="T85">
                          <a:pos x="T50" y="T51"/>
                        </a:cxn>
                        <a:cxn ang="T86">
                          <a:pos x="T52" y="T53"/>
                        </a:cxn>
                        <a:cxn ang="T87">
                          <a:pos x="T54" y="T55"/>
                        </a:cxn>
                        <a:cxn ang="T88">
                          <a:pos x="T56" y="T57"/>
                        </a:cxn>
                        <a:cxn ang="T89">
                          <a:pos x="T58" y="T59"/>
                        </a:cxn>
                      </a:cxnLst>
                      <a:rect l="T90" t="T91" r="T92" b="T93"/>
                      <a:pathLst>
                        <a:path w="45" h="27">
                          <a:moveTo>
                            <a:pt x="5" y="27"/>
                          </a:moveTo>
                          <a:lnTo>
                            <a:pt x="5" y="27"/>
                          </a:lnTo>
                          <a:lnTo>
                            <a:pt x="14" y="27"/>
                          </a:lnTo>
                          <a:lnTo>
                            <a:pt x="18" y="23"/>
                          </a:lnTo>
                          <a:lnTo>
                            <a:pt x="22" y="27"/>
                          </a:lnTo>
                          <a:lnTo>
                            <a:pt x="27" y="27"/>
                          </a:lnTo>
                          <a:lnTo>
                            <a:pt x="27" y="23"/>
                          </a:lnTo>
                          <a:lnTo>
                            <a:pt x="31" y="18"/>
                          </a:lnTo>
                          <a:lnTo>
                            <a:pt x="31" y="14"/>
                          </a:lnTo>
                          <a:lnTo>
                            <a:pt x="36" y="14"/>
                          </a:lnTo>
                          <a:lnTo>
                            <a:pt x="36" y="9"/>
                          </a:lnTo>
                          <a:lnTo>
                            <a:pt x="40" y="9"/>
                          </a:lnTo>
                          <a:lnTo>
                            <a:pt x="40" y="5"/>
                          </a:lnTo>
                          <a:lnTo>
                            <a:pt x="45" y="9"/>
                          </a:lnTo>
                          <a:lnTo>
                            <a:pt x="40" y="0"/>
                          </a:lnTo>
                          <a:lnTo>
                            <a:pt x="27" y="5"/>
                          </a:lnTo>
                          <a:lnTo>
                            <a:pt x="18" y="9"/>
                          </a:lnTo>
                          <a:lnTo>
                            <a:pt x="5" y="9"/>
                          </a:lnTo>
                          <a:lnTo>
                            <a:pt x="0" y="9"/>
                          </a:lnTo>
                          <a:lnTo>
                            <a:pt x="5" y="14"/>
                          </a:lnTo>
                          <a:lnTo>
                            <a:pt x="5" y="18"/>
                          </a:lnTo>
                          <a:lnTo>
                            <a:pt x="9" y="27"/>
                          </a:lnTo>
                          <a:lnTo>
                            <a:pt x="5" y="27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2" name="Freeform 210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927" y="1297"/>
                      <a:ext cx="177" cy="413"/>
                    </a:xfrm>
                    <a:custGeom>
                      <a:avLst/>
                      <a:gdLst>
                        <a:gd name="T0" fmla="*/ 0 w 187"/>
                        <a:gd name="T1" fmla="*/ 58 h 438"/>
                        <a:gd name="T2" fmla="*/ 9 w 187"/>
                        <a:gd name="T3" fmla="*/ 61 h 438"/>
                        <a:gd name="T4" fmla="*/ 9 w 187"/>
                        <a:gd name="T5" fmla="*/ 61 h 438"/>
                        <a:gd name="T6" fmla="*/ 9 w 187"/>
                        <a:gd name="T7" fmla="*/ 64 h 438"/>
                        <a:gd name="T8" fmla="*/ 9 w 187"/>
                        <a:gd name="T9" fmla="*/ 66 h 438"/>
                        <a:gd name="T10" fmla="*/ 9 w 187"/>
                        <a:gd name="T11" fmla="*/ 69 h 438"/>
                        <a:gd name="T12" fmla="*/ 9 w 187"/>
                        <a:gd name="T13" fmla="*/ 70 h 438"/>
                        <a:gd name="T14" fmla="*/ 9 w 187"/>
                        <a:gd name="T15" fmla="*/ 74 h 438"/>
                        <a:gd name="T16" fmla="*/ 9 w 187"/>
                        <a:gd name="T17" fmla="*/ 74 h 438"/>
                        <a:gd name="T18" fmla="*/ 9 w 187"/>
                        <a:gd name="T19" fmla="*/ 74 h 438"/>
                        <a:gd name="T20" fmla="*/ 9 w 187"/>
                        <a:gd name="T21" fmla="*/ 72 h 438"/>
                        <a:gd name="T22" fmla="*/ 9 w 187"/>
                        <a:gd name="T23" fmla="*/ 71 h 438"/>
                        <a:gd name="T24" fmla="*/ 16 w 187"/>
                        <a:gd name="T25" fmla="*/ 70 h 438"/>
                        <a:gd name="T26" fmla="*/ 18 w 187"/>
                        <a:gd name="T27" fmla="*/ 61 h 438"/>
                        <a:gd name="T28" fmla="*/ 23 w 187"/>
                        <a:gd name="T29" fmla="*/ 58 h 438"/>
                        <a:gd name="T30" fmla="*/ 23 w 187"/>
                        <a:gd name="T31" fmla="*/ 55 h 438"/>
                        <a:gd name="T32" fmla="*/ 20 w 187"/>
                        <a:gd name="T33" fmla="*/ 51 h 438"/>
                        <a:gd name="T34" fmla="*/ 20 w 187"/>
                        <a:gd name="T35" fmla="*/ 49 h 438"/>
                        <a:gd name="T36" fmla="*/ 20 w 187"/>
                        <a:gd name="T37" fmla="*/ 44 h 438"/>
                        <a:gd name="T38" fmla="*/ 20 w 187"/>
                        <a:gd name="T39" fmla="*/ 41 h 438"/>
                        <a:gd name="T40" fmla="*/ 20 w 187"/>
                        <a:gd name="T41" fmla="*/ 40 h 438"/>
                        <a:gd name="T42" fmla="*/ 21 w 187"/>
                        <a:gd name="T43" fmla="*/ 39 h 438"/>
                        <a:gd name="T44" fmla="*/ 21 w 187"/>
                        <a:gd name="T45" fmla="*/ 37 h 438"/>
                        <a:gd name="T46" fmla="*/ 23 w 187"/>
                        <a:gd name="T47" fmla="*/ 37 h 438"/>
                        <a:gd name="T48" fmla="*/ 25 w 187"/>
                        <a:gd name="T49" fmla="*/ 35 h 438"/>
                        <a:gd name="T50" fmla="*/ 27 w 187"/>
                        <a:gd name="T51" fmla="*/ 33 h 438"/>
                        <a:gd name="T52" fmla="*/ 27 w 187"/>
                        <a:gd name="T53" fmla="*/ 29 h 438"/>
                        <a:gd name="T54" fmla="*/ 30 w 187"/>
                        <a:gd name="T55" fmla="*/ 24 h 438"/>
                        <a:gd name="T56" fmla="*/ 32 w 187"/>
                        <a:gd name="T57" fmla="*/ 22 h 438"/>
                        <a:gd name="T58" fmla="*/ 34 w 187"/>
                        <a:gd name="T59" fmla="*/ 22 h 438"/>
                        <a:gd name="T60" fmla="*/ 36 w 187"/>
                        <a:gd name="T61" fmla="*/ 20 h 438"/>
                        <a:gd name="T62" fmla="*/ 36 w 187"/>
                        <a:gd name="T63" fmla="*/ 15 h 438"/>
                        <a:gd name="T64" fmla="*/ 34 w 187"/>
                        <a:gd name="T65" fmla="*/ 8 h 438"/>
                        <a:gd name="T66" fmla="*/ 28 w 187"/>
                        <a:gd name="T67" fmla="*/ 8 h 438"/>
                        <a:gd name="T68" fmla="*/ 25 w 187"/>
                        <a:gd name="T69" fmla="*/ 0 h 438"/>
                        <a:gd name="T70" fmla="*/ 25 w 187"/>
                        <a:gd name="T71" fmla="*/ 8 h 438"/>
                        <a:gd name="T72" fmla="*/ 20 w 187"/>
                        <a:gd name="T73" fmla="*/ 8 h 438"/>
                        <a:gd name="T74" fmla="*/ 20 w 187"/>
                        <a:gd name="T75" fmla="*/ 8 h 438"/>
                        <a:gd name="T76" fmla="*/ 17 w 187"/>
                        <a:gd name="T77" fmla="*/ 8 h 438"/>
                        <a:gd name="T78" fmla="*/ 17 w 187"/>
                        <a:gd name="T79" fmla="*/ 15 h 438"/>
                        <a:gd name="T80" fmla="*/ 12 w 187"/>
                        <a:gd name="T81" fmla="*/ 20 h 438"/>
                        <a:gd name="T82" fmla="*/ 9 w 187"/>
                        <a:gd name="T83" fmla="*/ 21 h 438"/>
                        <a:gd name="T84" fmla="*/ 9 w 187"/>
                        <a:gd name="T85" fmla="*/ 24 h 438"/>
                        <a:gd name="T86" fmla="*/ 9 w 187"/>
                        <a:gd name="T87" fmla="*/ 31 h 438"/>
                        <a:gd name="T88" fmla="*/ 9 w 187"/>
                        <a:gd name="T89" fmla="*/ 31 h 438"/>
                        <a:gd name="T90" fmla="*/ 9 w 187"/>
                        <a:gd name="T91" fmla="*/ 35 h 438"/>
                        <a:gd name="T92" fmla="*/ 9 w 187"/>
                        <a:gd name="T93" fmla="*/ 37 h 438"/>
                        <a:gd name="T94" fmla="*/ 9 w 187"/>
                        <a:gd name="T95" fmla="*/ 46 h 438"/>
                        <a:gd name="T96" fmla="*/ 9 w 187"/>
                        <a:gd name="T97" fmla="*/ 54 h 438"/>
                        <a:gd name="T98" fmla="*/ 9 w 187"/>
                        <a:gd name="T99" fmla="*/ 57 h 438"/>
                        <a:gd name="T100" fmla="*/ 4 w 187"/>
                        <a:gd name="T101" fmla="*/ 58 h 438"/>
                        <a:gd name="T102" fmla="*/ 17 w 187"/>
                        <a:gd name="T103" fmla="*/ 69 h 438"/>
                        <a:gd name="T104" fmla="*/ 17 w 187"/>
                        <a:gd name="T105" fmla="*/ 70 h 438"/>
                        <a:gd name="T106" fmla="*/ 19 w 187"/>
                        <a:gd name="T107" fmla="*/ 66 h 438"/>
                        <a:gd name="T108" fmla="*/ 24 w 187"/>
                        <a:gd name="T109" fmla="*/ 64 h 438"/>
                        <a:gd name="T110" fmla="*/ 23 w 187"/>
                        <a:gd name="T111" fmla="*/ 64 h 438"/>
                        <a:gd name="T112" fmla="*/ 21 w 187"/>
                        <a:gd name="T113" fmla="*/ 65 h 438"/>
                        <a:gd name="T114" fmla="*/ 22 w 187"/>
                        <a:gd name="T115" fmla="*/ 68 h 438"/>
                        <a:gd name="T116" fmla="*/ 23 w 187"/>
                        <a:gd name="T117" fmla="*/ 65 h 438"/>
                        <a:gd name="T118" fmla="*/ 24 w 187"/>
                        <a:gd name="T119" fmla="*/ 64 h 438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w 187"/>
                        <a:gd name="T181" fmla="*/ 0 h 438"/>
                        <a:gd name="T182" fmla="*/ 187 w 187"/>
                        <a:gd name="T183" fmla="*/ 438 h 438"/>
                      </a:gdLst>
                      <a:ahLst/>
                      <a:cxnLst>
                        <a:cxn ang="T120">
                          <a:pos x="T0" y="T1"/>
                        </a:cxn>
                        <a:cxn ang="T121">
                          <a:pos x="T2" y="T3"/>
                        </a:cxn>
                        <a:cxn ang="T122">
                          <a:pos x="T4" y="T5"/>
                        </a:cxn>
                        <a:cxn ang="T123">
                          <a:pos x="T6" y="T7"/>
                        </a:cxn>
                        <a:cxn ang="T124">
                          <a:pos x="T8" y="T9"/>
                        </a:cxn>
                        <a:cxn ang="T125">
                          <a:pos x="T10" y="T11"/>
                        </a:cxn>
                        <a:cxn ang="T126">
                          <a:pos x="T12" y="T13"/>
                        </a:cxn>
                        <a:cxn ang="T127">
                          <a:pos x="T14" y="T15"/>
                        </a:cxn>
                        <a:cxn ang="T128">
                          <a:pos x="T16" y="T17"/>
                        </a:cxn>
                        <a:cxn ang="T129">
                          <a:pos x="T18" y="T19"/>
                        </a:cxn>
                        <a:cxn ang="T130">
                          <a:pos x="T20" y="T21"/>
                        </a:cxn>
                        <a:cxn ang="T131">
                          <a:pos x="T22" y="T23"/>
                        </a:cxn>
                        <a:cxn ang="T132">
                          <a:pos x="T24" y="T25"/>
                        </a:cxn>
                        <a:cxn ang="T133">
                          <a:pos x="T26" y="T27"/>
                        </a:cxn>
                        <a:cxn ang="T134">
                          <a:pos x="T28" y="T29"/>
                        </a:cxn>
                        <a:cxn ang="T135">
                          <a:pos x="T30" y="T31"/>
                        </a:cxn>
                        <a:cxn ang="T136">
                          <a:pos x="T32" y="T33"/>
                        </a:cxn>
                        <a:cxn ang="T137">
                          <a:pos x="T34" y="T35"/>
                        </a:cxn>
                        <a:cxn ang="T138">
                          <a:pos x="T36" y="T37"/>
                        </a:cxn>
                        <a:cxn ang="T139">
                          <a:pos x="T38" y="T39"/>
                        </a:cxn>
                        <a:cxn ang="T140">
                          <a:pos x="T40" y="T41"/>
                        </a:cxn>
                        <a:cxn ang="T141">
                          <a:pos x="T42" y="T43"/>
                        </a:cxn>
                        <a:cxn ang="T142">
                          <a:pos x="T44" y="T45"/>
                        </a:cxn>
                        <a:cxn ang="T143">
                          <a:pos x="T46" y="T47"/>
                        </a:cxn>
                        <a:cxn ang="T144">
                          <a:pos x="T48" y="T49"/>
                        </a:cxn>
                        <a:cxn ang="T145">
                          <a:pos x="T50" y="T51"/>
                        </a:cxn>
                        <a:cxn ang="T146">
                          <a:pos x="T52" y="T53"/>
                        </a:cxn>
                        <a:cxn ang="T147">
                          <a:pos x="T54" y="T55"/>
                        </a:cxn>
                        <a:cxn ang="T148">
                          <a:pos x="T56" y="T57"/>
                        </a:cxn>
                        <a:cxn ang="T149">
                          <a:pos x="T58" y="T59"/>
                        </a:cxn>
                        <a:cxn ang="T150">
                          <a:pos x="T60" y="T61"/>
                        </a:cxn>
                        <a:cxn ang="T151">
                          <a:pos x="T62" y="T63"/>
                        </a:cxn>
                        <a:cxn ang="T152">
                          <a:pos x="T64" y="T65"/>
                        </a:cxn>
                        <a:cxn ang="T153">
                          <a:pos x="T66" y="T67"/>
                        </a:cxn>
                        <a:cxn ang="T154">
                          <a:pos x="T68" y="T69"/>
                        </a:cxn>
                        <a:cxn ang="T155">
                          <a:pos x="T70" y="T71"/>
                        </a:cxn>
                        <a:cxn ang="T156">
                          <a:pos x="T72" y="T73"/>
                        </a:cxn>
                        <a:cxn ang="T157">
                          <a:pos x="T74" y="T75"/>
                        </a:cxn>
                        <a:cxn ang="T158">
                          <a:pos x="T76" y="T77"/>
                        </a:cxn>
                        <a:cxn ang="T159">
                          <a:pos x="T78" y="T79"/>
                        </a:cxn>
                        <a:cxn ang="T160">
                          <a:pos x="T80" y="T81"/>
                        </a:cxn>
                        <a:cxn ang="T161">
                          <a:pos x="T82" y="T83"/>
                        </a:cxn>
                        <a:cxn ang="T162">
                          <a:pos x="T84" y="T85"/>
                        </a:cxn>
                        <a:cxn ang="T163">
                          <a:pos x="T86" y="T87"/>
                        </a:cxn>
                        <a:cxn ang="T164">
                          <a:pos x="T88" y="T89"/>
                        </a:cxn>
                        <a:cxn ang="T165">
                          <a:pos x="T90" y="T91"/>
                        </a:cxn>
                        <a:cxn ang="T166">
                          <a:pos x="T92" y="T93"/>
                        </a:cxn>
                        <a:cxn ang="T167">
                          <a:pos x="T94" y="T95"/>
                        </a:cxn>
                        <a:cxn ang="T168">
                          <a:pos x="T96" y="T97"/>
                        </a:cxn>
                        <a:cxn ang="T169">
                          <a:pos x="T98" y="T99"/>
                        </a:cxn>
                        <a:cxn ang="T170">
                          <a:pos x="T100" y="T101"/>
                        </a:cxn>
                        <a:cxn ang="T171">
                          <a:pos x="T102" y="T103"/>
                        </a:cxn>
                        <a:cxn ang="T172">
                          <a:pos x="T104" y="T105"/>
                        </a:cxn>
                        <a:cxn ang="T173">
                          <a:pos x="T106" y="T107"/>
                        </a:cxn>
                        <a:cxn ang="T174">
                          <a:pos x="T108" y="T109"/>
                        </a:cxn>
                        <a:cxn ang="T175">
                          <a:pos x="T110" y="T111"/>
                        </a:cxn>
                        <a:cxn ang="T176">
                          <a:pos x="T112" y="T113"/>
                        </a:cxn>
                        <a:cxn ang="T177">
                          <a:pos x="T114" y="T115"/>
                        </a:cxn>
                        <a:cxn ang="T178">
                          <a:pos x="T116" y="T117"/>
                        </a:cxn>
                        <a:cxn ang="T179">
                          <a:pos x="T118" y="T119"/>
                        </a:cxn>
                      </a:cxnLst>
                      <a:rect l="T180" t="T181" r="T182" b="T183"/>
                      <a:pathLst>
                        <a:path w="187" h="438">
                          <a:moveTo>
                            <a:pt x="4" y="340"/>
                          </a:moveTo>
                          <a:lnTo>
                            <a:pt x="0" y="340"/>
                          </a:lnTo>
                          <a:lnTo>
                            <a:pt x="0" y="358"/>
                          </a:lnTo>
                          <a:lnTo>
                            <a:pt x="9" y="358"/>
                          </a:lnTo>
                          <a:lnTo>
                            <a:pt x="9" y="353"/>
                          </a:lnTo>
                          <a:lnTo>
                            <a:pt x="13" y="358"/>
                          </a:lnTo>
                          <a:lnTo>
                            <a:pt x="9" y="367"/>
                          </a:lnTo>
                          <a:lnTo>
                            <a:pt x="9" y="371"/>
                          </a:lnTo>
                          <a:lnTo>
                            <a:pt x="9" y="384"/>
                          </a:lnTo>
                          <a:lnTo>
                            <a:pt x="13" y="384"/>
                          </a:lnTo>
                          <a:lnTo>
                            <a:pt x="18" y="398"/>
                          </a:lnTo>
                          <a:lnTo>
                            <a:pt x="27" y="402"/>
                          </a:lnTo>
                          <a:lnTo>
                            <a:pt x="18" y="411"/>
                          </a:lnTo>
                          <a:lnTo>
                            <a:pt x="22" y="411"/>
                          </a:lnTo>
                          <a:lnTo>
                            <a:pt x="18" y="411"/>
                          </a:lnTo>
                          <a:lnTo>
                            <a:pt x="22" y="429"/>
                          </a:lnTo>
                          <a:lnTo>
                            <a:pt x="22" y="434"/>
                          </a:lnTo>
                          <a:lnTo>
                            <a:pt x="31" y="438"/>
                          </a:lnTo>
                          <a:lnTo>
                            <a:pt x="45" y="438"/>
                          </a:lnTo>
                          <a:lnTo>
                            <a:pt x="45" y="434"/>
                          </a:lnTo>
                          <a:lnTo>
                            <a:pt x="45" y="429"/>
                          </a:lnTo>
                          <a:lnTo>
                            <a:pt x="45" y="420"/>
                          </a:lnTo>
                          <a:lnTo>
                            <a:pt x="53" y="420"/>
                          </a:lnTo>
                          <a:lnTo>
                            <a:pt x="53" y="416"/>
                          </a:lnTo>
                          <a:lnTo>
                            <a:pt x="71" y="416"/>
                          </a:lnTo>
                          <a:lnTo>
                            <a:pt x="76" y="407"/>
                          </a:lnTo>
                          <a:lnTo>
                            <a:pt x="80" y="380"/>
                          </a:lnTo>
                          <a:lnTo>
                            <a:pt x="85" y="358"/>
                          </a:lnTo>
                          <a:lnTo>
                            <a:pt x="94" y="344"/>
                          </a:lnTo>
                          <a:lnTo>
                            <a:pt x="112" y="340"/>
                          </a:lnTo>
                          <a:lnTo>
                            <a:pt x="107" y="331"/>
                          </a:lnTo>
                          <a:lnTo>
                            <a:pt x="116" y="317"/>
                          </a:lnTo>
                          <a:lnTo>
                            <a:pt x="112" y="308"/>
                          </a:lnTo>
                          <a:lnTo>
                            <a:pt x="98" y="295"/>
                          </a:lnTo>
                          <a:lnTo>
                            <a:pt x="94" y="291"/>
                          </a:lnTo>
                          <a:lnTo>
                            <a:pt x="94" y="282"/>
                          </a:lnTo>
                          <a:lnTo>
                            <a:pt x="94" y="259"/>
                          </a:lnTo>
                          <a:lnTo>
                            <a:pt x="98" y="259"/>
                          </a:lnTo>
                          <a:lnTo>
                            <a:pt x="94" y="255"/>
                          </a:lnTo>
                          <a:lnTo>
                            <a:pt x="98" y="241"/>
                          </a:lnTo>
                          <a:lnTo>
                            <a:pt x="94" y="237"/>
                          </a:lnTo>
                          <a:lnTo>
                            <a:pt x="98" y="233"/>
                          </a:lnTo>
                          <a:lnTo>
                            <a:pt x="98" y="224"/>
                          </a:lnTo>
                          <a:lnTo>
                            <a:pt x="103" y="224"/>
                          </a:lnTo>
                          <a:lnTo>
                            <a:pt x="107" y="219"/>
                          </a:lnTo>
                          <a:lnTo>
                            <a:pt x="103" y="215"/>
                          </a:lnTo>
                          <a:lnTo>
                            <a:pt x="112" y="206"/>
                          </a:lnTo>
                          <a:lnTo>
                            <a:pt x="116" y="210"/>
                          </a:lnTo>
                          <a:lnTo>
                            <a:pt x="125" y="197"/>
                          </a:lnTo>
                          <a:lnTo>
                            <a:pt x="125" y="201"/>
                          </a:lnTo>
                          <a:lnTo>
                            <a:pt x="129" y="192"/>
                          </a:lnTo>
                          <a:lnTo>
                            <a:pt x="138" y="188"/>
                          </a:lnTo>
                          <a:lnTo>
                            <a:pt x="152" y="174"/>
                          </a:lnTo>
                          <a:lnTo>
                            <a:pt x="143" y="165"/>
                          </a:lnTo>
                          <a:lnTo>
                            <a:pt x="152" y="148"/>
                          </a:lnTo>
                          <a:lnTo>
                            <a:pt x="161" y="139"/>
                          </a:lnTo>
                          <a:lnTo>
                            <a:pt x="161" y="130"/>
                          </a:lnTo>
                          <a:lnTo>
                            <a:pt x="165" y="125"/>
                          </a:lnTo>
                          <a:lnTo>
                            <a:pt x="165" y="121"/>
                          </a:lnTo>
                          <a:lnTo>
                            <a:pt x="174" y="125"/>
                          </a:lnTo>
                          <a:lnTo>
                            <a:pt x="187" y="125"/>
                          </a:lnTo>
                          <a:lnTo>
                            <a:pt x="183" y="112"/>
                          </a:lnTo>
                          <a:lnTo>
                            <a:pt x="183" y="98"/>
                          </a:lnTo>
                          <a:lnTo>
                            <a:pt x="187" y="81"/>
                          </a:lnTo>
                          <a:lnTo>
                            <a:pt x="183" y="58"/>
                          </a:lnTo>
                          <a:lnTo>
                            <a:pt x="179" y="36"/>
                          </a:lnTo>
                          <a:lnTo>
                            <a:pt x="174" y="22"/>
                          </a:lnTo>
                          <a:lnTo>
                            <a:pt x="152" y="14"/>
                          </a:lnTo>
                          <a:lnTo>
                            <a:pt x="138" y="0"/>
                          </a:lnTo>
                          <a:lnTo>
                            <a:pt x="129" y="0"/>
                          </a:lnTo>
                          <a:lnTo>
                            <a:pt x="125" y="9"/>
                          </a:lnTo>
                          <a:lnTo>
                            <a:pt x="125" y="22"/>
                          </a:lnTo>
                          <a:lnTo>
                            <a:pt x="103" y="18"/>
                          </a:lnTo>
                          <a:lnTo>
                            <a:pt x="98" y="22"/>
                          </a:lnTo>
                          <a:lnTo>
                            <a:pt x="103" y="36"/>
                          </a:lnTo>
                          <a:lnTo>
                            <a:pt x="98" y="40"/>
                          </a:lnTo>
                          <a:lnTo>
                            <a:pt x="89" y="36"/>
                          </a:lnTo>
                          <a:lnTo>
                            <a:pt x="80" y="49"/>
                          </a:lnTo>
                          <a:lnTo>
                            <a:pt x="76" y="63"/>
                          </a:lnTo>
                          <a:lnTo>
                            <a:pt x="80" y="81"/>
                          </a:lnTo>
                          <a:lnTo>
                            <a:pt x="58" y="103"/>
                          </a:lnTo>
                          <a:lnTo>
                            <a:pt x="62" y="112"/>
                          </a:lnTo>
                          <a:lnTo>
                            <a:pt x="58" y="121"/>
                          </a:lnTo>
                          <a:lnTo>
                            <a:pt x="53" y="116"/>
                          </a:lnTo>
                          <a:lnTo>
                            <a:pt x="49" y="121"/>
                          </a:lnTo>
                          <a:lnTo>
                            <a:pt x="49" y="139"/>
                          </a:lnTo>
                          <a:lnTo>
                            <a:pt x="40" y="165"/>
                          </a:lnTo>
                          <a:lnTo>
                            <a:pt x="45" y="179"/>
                          </a:lnTo>
                          <a:lnTo>
                            <a:pt x="36" y="183"/>
                          </a:lnTo>
                          <a:lnTo>
                            <a:pt x="27" y="179"/>
                          </a:lnTo>
                          <a:lnTo>
                            <a:pt x="18" y="183"/>
                          </a:lnTo>
                          <a:lnTo>
                            <a:pt x="13" y="201"/>
                          </a:lnTo>
                          <a:lnTo>
                            <a:pt x="18" y="206"/>
                          </a:lnTo>
                          <a:lnTo>
                            <a:pt x="13" y="210"/>
                          </a:lnTo>
                          <a:lnTo>
                            <a:pt x="13" y="255"/>
                          </a:lnTo>
                          <a:lnTo>
                            <a:pt x="27" y="273"/>
                          </a:lnTo>
                          <a:lnTo>
                            <a:pt x="18" y="286"/>
                          </a:lnTo>
                          <a:lnTo>
                            <a:pt x="22" y="313"/>
                          </a:lnTo>
                          <a:lnTo>
                            <a:pt x="13" y="322"/>
                          </a:lnTo>
                          <a:lnTo>
                            <a:pt x="13" y="331"/>
                          </a:lnTo>
                          <a:lnTo>
                            <a:pt x="13" y="344"/>
                          </a:lnTo>
                          <a:lnTo>
                            <a:pt x="4" y="340"/>
                          </a:lnTo>
                          <a:close/>
                          <a:moveTo>
                            <a:pt x="85" y="384"/>
                          </a:moveTo>
                          <a:lnTo>
                            <a:pt x="80" y="402"/>
                          </a:lnTo>
                          <a:lnTo>
                            <a:pt x="80" y="416"/>
                          </a:lnTo>
                          <a:lnTo>
                            <a:pt x="80" y="411"/>
                          </a:lnTo>
                          <a:lnTo>
                            <a:pt x="80" y="407"/>
                          </a:lnTo>
                          <a:lnTo>
                            <a:pt x="89" y="384"/>
                          </a:lnTo>
                          <a:lnTo>
                            <a:pt x="85" y="384"/>
                          </a:lnTo>
                          <a:close/>
                          <a:moveTo>
                            <a:pt x="120" y="371"/>
                          </a:moveTo>
                          <a:lnTo>
                            <a:pt x="116" y="367"/>
                          </a:lnTo>
                          <a:lnTo>
                            <a:pt x="112" y="371"/>
                          </a:lnTo>
                          <a:lnTo>
                            <a:pt x="107" y="367"/>
                          </a:lnTo>
                          <a:lnTo>
                            <a:pt x="103" y="376"/>
                          </a:lnTo>
                          <a:lnTo>
                            <a:pt x="103" y="384"/>
                          </a:lnTo>
                          <a:lnTo>
                            <a:pt x="107" y="393"/>
                          </a:lnTo>
                          <a:lnTo>
                            <a:pt x="112" y="380"/>
                          </a:lnTo>
                          <a:lnTo>
                            <a:pt x="112" y="371"/>
                          </a:lnTo>
                          <a:lnTo>
                            <a:pt x="120" y="37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3" name="Freeform 211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2864" y="1883"/>
                      <a:ext cx="55" cy="34"/>
                    </a:xfrm>
                    <a:custGeom>
                      <a:avLst/>
                      <a:gdLst>
                        <a:gd name="T0" fmla="*/ 9 w 58"/>
                        <a:gd name="T1" fmla="*/ 9 h 36"/>
                        <a:gd name="T2" fmla="*/ 9 w 58"/>
                        <a:gd name="T3" fmla="*/ 9 h 36"/>
                        <a:gd name="T4" fmla="*/ 4 w 58"/>
                        <a:gd name="T5" fmla="*/ 9 h 36"/>
                        <a:gd name="T6" fmla="*/ 0 w 58"/>
                        <a:gd name="T7" fmla="*/ 9 h 36"/>
                        <a:gd name="T8" fmla="*/ 0 w 58"/>
                        <a:gd name="T9" fmla="*/ 9 h 36"/>
                        <a:gd name="T10" fmla="*/ 9 w 58"/>
                        <a:gd name="T11" fmla="*/ 9 h 36"/>
                        <a:gd name="T12" fmla="*/ 9 w 58"/>
                        <a:gd name="T13" fmla="*/ 5 h 36"/>
                        <a:gd name="T14" fmla="*/ 9 w 58"/>
                        <a:gd name="T15" fmla="*/ 5 h 36"/>
                        <a:gd name="T16" fmla="*/ 9 w 58"/>
                        <a:gd name="T17" fmla="*/ 0 h 36"/>
                        <a:gd name="T18" fmla="*/ 9 w 58"/>
                        <a:gd name="T19" fmla="*/ 5 h 36"/>
                        <a:gd name="T20" fmla="*/ 9 w 58"/>
                        <a:gd name="T21" fmla="*/ 0 h 36"/>
                        <a:gd name="T22" fmla="*/ 9 w 58"/>
                        <a:gd name="T23" fmla="*/ 0 h 36"/>
                        <a:gd name="T24" fmla="*/ 9 w 58"/>
                        <a:gd name="T25" fmla="*/ 0 h 36"/>
                        <a:gd name="T26" fmla="*/ 9 w 58"/>
                        <a:gd name="T27" fmla="*/ 9 h 36"/>
                        <a:gd name="T28" fmla="*/ 9 w 58"/>
                        <a:gd name="T29" fmla="*/ 9 h 36"/>
                        <a:gd name="T30" fmla="*/ 11 w 58"/>
                        <a:gd name="T31" fmla="*/ 9 h 36"/>
                        <a:gd name="T32" fmla="*/ 11 w 58"/>
                        <a:gd name="T33" fmla="*/ 9 h 36"/>
                        <a:gd name="T34" fmla="*/ 10 w 58"/>
                        <a:gd name="T35" fmla="*/ 9 h 36"/>
                        <a:gd name="T36" fmla="*/ 9 w 58"/>
                        <a:gd name="T37" fmla="*/ 9 h 36"/>
                        <a:gd name="T38" fmla="*/ 9 w 58"/>
                        <a:gd name="T39" fmla="*/ 9 h 36"/>
                        <a:gd name="T40" fmla="*/ 9 w 58"/>
                        <a:gd name="T41" fmla="*/ 9 h 36"/>
                        <a:gd name="T42" fmla="*/ 9 w 58"/>
                        <a:gd name="T43" fmla="*/ 9 h 36"/>
                        <a:gd name="T44" fmla="*/ 9 w 58"/>
                        <a:gd name="T45" fmla="*/ 9 h 36"/>
                        <a:gd name="T46" fmla="*/ 9 w 58"/>
                        <a:gd name="T47" fmla="*/ 9 h 36"/>
                        <a:gd name="T48" fmla="*/ 9 w 58"/>
                        <a:gd name="T49" fmla="*/ 9 h 36"/>
                        <a:gd name="T50" fmla="*/ 9 w 58"/>
                        <a:gd name="T51" fmla="*/ 9 h 36"/>
                        <a:gd name="T52" fmla="*/ 9 w 58"/>
                        <a:gd name="T53" fmla="*/ 9 h 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w 58"/>
                        <a:gd name="T82" fmla="*/ 0 h 36"/>
                        <a:gd name="T83" fmla="*/ 58 w 58"/>
                        <a:gd name="T84" fmla="*/ 36 h 36"/>
                      </a:gdLst>
                      <a:ahLst/>
                      <a:cxnLst>
                        <a:cxn ang="T54">
                          <a:pos x="T0" y="T1"/>
                        </a:cxn>
                        <a:cxn ang="T55">
                          <a:pos x="T2" y="T3"/>
                        </a:cxn>
                        <a:cxn ang="T56">
                          <a:pos x="T4" y="T5"/>
                        </a:cxn>
                        <a:cxn ang="T57">
                          <a:pos x="T6" y="T7"/>
                        </a:cxn>
                        <a:cxn ang="T58">
                          <a:pos x="T8" y="T9"/>
                        </a:cxn>
                        <a:cxn ang="T59">
                          <a:pos x="T10" y="T11"/>
                        </a:cxn>
                        <a:cxn ang="T60">
                          <a:pos x="T12" y="T13"/>
                        </a:cxn>
                        <a:cxn ang="T61">
                          <a:pos x="T14" y="T15"/>
                        </a:cxn>
                        <a:cxn ang="T62">
                          <a:pos x="T16" y="T17"/>
                        </a:cxn>
                        <a:cxn ang="T63">
                          <a:pos x="T18" y="T19"/>
                        </a:cxn>
                        <a:cxn ang="T64">
                          <a:pos x="T20" y="T21"/>
                        </a:cxn>
                        <a:cxn ang="T65">
                          <a:pos x="T22" y="T23"/>
                        </a:cxn>
                        <a:cxn ang="T66">
                          <a:pos x="T24" y="T25"/>
                        </a:cxn>
                        <a:cxn ang="T67">
                          <a:pos x="T26" y="T27"/>
                        </a:cxn>
                        <a:cxn ang="T68">
                          <a:pos x="T28" y="T29"/>
                        </a:cxn>
                        <a:cxn ang="T69">
                          <a:pos x="T30" y="T31"/>
                        </a:cxn>
                        <a:cxn ang="T70">
                          <a:pos x="T32" y="T33"/>
                        </a:cxn>
                        <a:cxn ang="T71">
                          <a:pos x="T34" y="T35"/>
                        </a:cxn>
                        <a:cxn ang="T72">
                          <a:pos x="T36" y="T37"/>
                        </a:cxn>
                        <a:cxn ang="T73">
                          <a:pos x="T38" y="T39"/>
                        </a:cxn>
                        <a:cxn ang="T74">
                          <a:pos x="T40" y="T41"/>
                        </a:cxn>
                        <a:cxn ang="T75">
                          <a:pos x="T42" y="T43"/>
                        </a:cxn>
                        <a:cxn ang="T76">
                          <a:pos x="T44" y="T45"/>
                        </a:cxn>
                        <a:cxn ang="T77">
                          <a:pos x="T46" y="T47"/>
                        </a:cxn>
                        <a:cxn ang="T78">
                          <a:pos x="T48" y="T49"/>
                        </a:cxn>
                        <a:cxn ang="T79">
                          <a:pos x="T50" y="T51"/>
                        </a:cxn>
                        <a:cxn ang="T80">
                          <a:pos x="T52" y="T53"/>
                        </a:cxn>
                      </a:cxnLst>
                      <a:rect l="T81" t="T82" r="T83" b="T84"/>
                      <a:pathLst>
                        <a:path w="58" h="36">
                          <a:moveTo>
                            <a:pt x="13" y="36"/>
                          </a:moveTo>
                          <a:lnTo>
                            <a:pt x="9" y="27"/>
                          </a:lnTo>
                          <a:lnTo>
                            <a:pt x="4" y="23"/>
                          </a:lnTo>
                          <a:lnTo>
                            <a:pt x="0" y="32"/>
                          </a:lnTo>
                          <a:lnTo>
                            <a:pt x="0" y="23"/>
                          </a:lnTo>
                          <a:lnTo>
                            <a:pt x="9" y="9"/>
                          </a:lnTo>
                          <a:lnTo>
                            <a:pt x="9" y="5"/>
                          </a:lnTo>
                          <a:lnTo>
                            <a:pt x="18" y="5"/>
                          </a:lnTo>
                          <a:lnTo>
                            <a:pt x="22" y="0"/>
                          </a:lnTo>
                          <a:lnTo>
                            <a:pt x="22" y="5"/>
                          </a:lnTo>
                          <a:lnTo>
                            <a:pt x="31" y="0"/>
                          </a:lnTo>
                          <a:lnTo>
                            <a:pt x="40" y="0"/>
                          </a:lnTo>
                          <a:lnTo>
                            <a:pt x="49" y="0"/>
                          </a:lnTo>
                          <a:lnTo>
                            <a:pt x="49" y="14"/>
                          </a:lnTo>
                          <a:lnTo>
                            <a:pt x="49" y="18"/>
                          </a:lnTo>
                          <a:lnTo>
                            <a:pt x="58" y="14"/>
                          </a:lnTo>
                          <a:lnTo>
                            <a:pt x="58" y="18"/>
                          </a:lnTo>
                          <a:lnTo>
                            <a:pt x="53" y="27"/>
                          </a:lnTo>
                          <a:lnTo>
                            <a:pt x="45" y="27"/>
                          </a:lnTo>
                          <a:lnTo>
                            <a:pt x="40" y="23"/>
                          </a:lnTo>
                          <a:lnTo>
                            <a:pt x="40" y="32"/>
                          </a:lnTo>
                          <a:lnTo>
                            <a:pt x="36" y="36"/>
                          </a:lnTo>
                          <a:lnTo>
                            <a:pt x="31" y="27"/>
                          </a:lnTo>
                          <a:lnTo>
                            <a:pt x="27" y="27"/>
                          </a:lnTo>
                          <a:lnTo>
                            <a:pt x="27" y="36"/>
                          </a:lnTo>
                          <a:lnTo>
                            <a:pt x="18" y="36"/>
                          </a:lnTo>
                          <a:lnTo>
                            <a:pt x="13" y="36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4" name="Freeform 212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3129" y="1989"/>
                      <a:ext cx="258" cy="118"/>
                    </a:xfrm>
                    <a:custGeom>
                      <a:avLst/>
                      <a:gdLst>
                        <a:gd name="T0" fmla="*/ 0 w 273"/>
                        <a:gd name="T1" fmla="*/ 8 h 125"/>
                        <a:gd name="T2" fmla="*/ 9 w 273"/>
                        <a:gd name="T3" fmla="*/ 0 h 125"/>
                        <a:gd name="T4" fmla="*/ 9 w 273"/>
                        <a:gd name="T5" fmla="*/ 4 h 125"/>
                        <a:gd name="T6" fmla="*/ 9 w 273"/>
                        <a:gd name="T7" fmla="*/ 8 h 125"/>
                        <a:gd name="T8" fmla="*/ 9 w 273"/>
                        <a:gd name="T9" fmla="*/ 8 h 125"/>
                        <a:gd name="T10" fmla="*/ 9 w 273"/>
                        <a:gd name="T11" fmla="*/ 8 h 125"/>
                        <a:gd name="T12" fmla="*/ 0 w 273"/>
                        <a:gd name="T13" fmla="*/ 8 h 125"/>
                        <a:gd name="T14" fmla="*/ 9 w 273"/>
                        <a:gd name="T15" fmla="*/ 8 h 125"/>
                        <a:gd name="T16" fmla="*/ 12 w 273"/>
                        <a:gd name="T17" fmla="*/ 21 h 125"/>
                        <a:gd name="T18" fmla="*/ 17 w 273"/>
                        <a:gd name="T19" fmla="*/ 20 h 125"/>
                        <a:gd name="T20" fmla="*/ 20 w 273"/>
                        <a:gd name="T21" fmla="*/ 22 h 125"/>
                        <a:gd name="T22" fmla="*/ 23 w 273"/>
                        <a:gd name="T23" fmla="*/ 20 h 125"/>
                        <a:gd name="T24" fmla="*/ 26 w 273"/>
                        <a:gd name="T25" fmla="*/ 21 h 125"/>
                        <a:gd name="T26" fmla="*/ 27 w 273"/>
                        <a:gd name="T27" fmla="*/ 20 h 125"/>
                        <a:gd name="T28" fmla="*/ 26 w 273"/>
                        <a:gd name="T29" fmla="*/ 22 h 125"/>
                        <a:gd name="T30" fmla="*/ 26 w 273"/>
                        <a:gd name="T31" fmla="*/ 23 h 125"/>
                        <a:gd name="T32" fmla="*/ 29 w 273"/>
                        <a:gd name="T33" fmla="*/ 22 h 125"/>
                        <a:gd name="T34" fmla="*/ 33 w 273"/>
                        <a:gd name="T35" fmla="*/ 19 h 125"/>
                        <a:gd name="T36" fmla="*/ 39 w 273"/>
                        <a:gd name="T37" fmla="*/ 19 h 125"/>
                        <a:gd name="T38" fmla="*/ 43 w 273"/>
                        <a:gd name="T39" fmla="*/ 19 h 125"/>
                        <a:gd name="T40" fmla="*/ 48 w 273"/>
                        <a:gd name="T41" fmla="*/ 19 h 125"/>
                        <a:gd name="T42" fmla="*/ 50 w 273"/>
                        <a:gd name="T43" fmla="*/ 18 h 125"/>
                        <a:gd name="T44" fmla="*/ 48 w 273"/>
                        <a:gd name="T45" fmla="*/ 11 h 125"/>
                        <a:gd name="T46" fmla="*/ 48 w 273"/>
                        <a:gd name="T47" fmla="*/ 8 h 125"/>
                        <a:gd name="T48" fmla="*/ 45 w 273"/>
                        <a:gd name="T49" fmla="*/ 8 h 125"/>
                        <a:gd name="T50" fmla="*/ 41 w 273"/>
                        <a:gd name="T51" fmla="*/ 8 h 125"/>
                        <a:gd name="T52" fmla="*/ 38 w 273"/>
                        <a:gd name="T53" fmla="*/ 8 h 125"/>
                        <a:gd name="T54" fmla="*/ 34 w 273"/>
                        <a:gd name="T55" fmla="*/ 8 h 125"/>
                        <a:gd name="T56" fmla="*/ 27 w 273"/>
                        <a:gd name="T57" fmla="*/ 8 h 125"/>
                        <a:gd name="T58" fmla="*/ 25 w 273"/>
                        <a:gd name="T59" fmla="*/ 8 h 125"/>
                        <a:gd name="T60" fmla="*/ 24 w 273"/>
                        <a:gd name="T61" fmla="*/ 0 h 125"/>
                        <a:gd name="T62" fmla="*/ 20 w 273"/>
                        <a:gd name="T63" fmla="*/ 0 h 125"/>
                        <a:gd name="T64" fmla="*/ 15 w 273"/>
                        <a:gd name="T65" fmla="*/ 8 h 125"/>
                        <a:gd name="T66" fmla="*/ 9 w 273"/>
                        <a:gd name="T67" fmla="*/ 8 h 125"/>
                        <a:gd name="T68" fmla="*/ 9 w 273"/>
                        <a:gd name="T69" fmla="*/ 8 h 125"/>
                        <a:gd name="T70" fmla="*/ 9 w 273"/>
                        <a:gd name="T71" fmla="*/ 8 h 125"/>
                        <a:gd name="T72" fmla="*/ 9 w 273"/>
                        <a:gd name="T73" fmla="*/ 8 h 125"/>
                        <a:gd name="T74" fmla="*/ 9 w 273"/>
                        <a:gd name="T75" fmla="*/ 8 h 125"/>
                        <a:gd name="T76" fmla="*/ 9 w 273"/>
                        <a:gd name="T77" fmla="*/ 8 h 125"/>
                        <a:gd name="T78" fmla="*/ 0 w 273"/>
                        <a:gd name="T79" fmla="*/ 8 h 125"/>
                        <a:gd name="T80" fmla="*/ 9 w 273"/>
                        <a:gd name="T81" fmla="*/ 8 h 125"/>
                        <a:gd name="T82" fmla="*/ 9 w 273"/>
                        <a:gd name="T83" fmla="*/ 13 h 125"/>
                        <a:gd name="T84" fmla="*/ 5 w 273"/>
                        <a:gd name="T85" fmla="*/ 12 h 125"/>
                        <a:gd name="T86" fmla="*/ 9 w 273"/>
                        <a:gd name="T87" fmla="*/ 14 h 125"/>
                        <a:gd name="T88" fmla="*/ 9 w 273"/>
                        <a:gd name="T89" fmla="*/ 16 h 125"/>
                        <a:gd name="T90" fmla="*/ 9 w 273"/>
                        <a:gd name="T91" fmla="*/ 18 h 125"/>
                        <a:gd name="T92" fmla="*/ 9 w 273"/>
                        <a:gd name="T93" fmla="*/ 19 h 125"/>
                        <a:gd name="T94" fmla="*/ 9 w 273"/>
                        <a:gd name="T95" fmla="*/ 20 h 125"/>
                        <a:gd name="T96" fmla="*/ 9 w 273"/>
                        <a:gd name="T97" fmla="*/ 20 h 125"/>
                        <a:gd name="T98" fmla="*/ 9 w 273"/>
                        <a:gd name="T99" fmla="*/ 19 h 125"/>
                        <a:gd name="T100" fmla="*/ 9 w 273"/>
                        <a:gd name="T101" fmla="*/ 22 h 125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w 273"/>
                        <a:gd name="T154" fmla="*/ 0 h 125"/>
                        <a:gd name="T155" fmla="*/ 273 w 273"/>
                        <a:gd name="T156" fmla="*/ 125 h 125"/>
                      </a:gdLst>
                      <a:ahLst/>
                      <a:cxnLst>
                        <a:cxn ang="T102">
                          <a:pos x="T0" y="T1"/>
                        </a:cxn>
                        <a:cxn ang="T103">
                          <a:pos x="T2" y="T3"/>
                        </a:cxn>
                        <a:cxn ang="T104">
                          <a:pos x="T4" y="T5"/>
                        </a:cxn>
                        <a:cxn ang="T105">
                          <a:pos x="T6" y="T7"/>
                        </a:cxn>
                        <a:cxn ang="T106">
                          <a:pos x="T8" y="T9"/>
                        </a:cxn>
                        <a:cxn ang="T107">
                          <a:pos x="T10" y="T11"/>
                        </a:cxn>
                        <a:cxn ang="T108">
                          <a:pos x="T12" y="T13"/>
                        </a:cxn>
                        <a:cxn ang="T109">
                          <a:pos x="T14" y="T15"/>
                        </a:cxn>
                        <a:cxn ang="T110">
                          <a:pos x="T16" y="T17"/>
                        </a:cxn>
                        <a:cxn ang="T111">
                          <a:pos x="T18" y="T19"/>
                        </a:cxn>
                        <a:cxn ang="T112">
                          <a:pos x="T20" y="T21"/>
                        </a:cxn>
                        <a:cxn ang="T113">
                          <a:pos x="T22" y="T23"/>
                        </a:cxn>
                        <a:cxn ang="T114">
                          <a:pos x="T24" y="T25"/>
                        </a:cxn>
                        <a:cxn ang="T115">
                          <a:pos x="T26" y="T27"/>
                        </a:cxn>
                        <a:cxn ang="T116">
                          <a:pos x="T28" y="T29"/>
                        </a:cxn>
                        <a:cxn ang="T117">
                          <a:pos x="T30" y="T31"/>
                        </a:cxn>
                        <a:cxn ang="T118">
                          <a:pos x="T32" y="T33"/>
                        </a:cxn>
                        <a:cxn ang="T119">
                          <a:pos x="T34" y="T35"/>
                        </a:cxn>
                        <a:cxn ang="T120">
                          <a:pos x="T36" y="T37"/>
                        </a:cxn>
                        <a:cxn ang="T121">
                          <a:pos x="T38" y="T39"/>
                        </a:cxn>
                        <a:cxn ang="T122">
                          <a:pos x="T40" y="T41"/>
                        </a:cxn>
                        <a:cxn ang="T123">
                          <a:pos x="T42" y="T43"/>
                        </a:cxn>
                        <a:cxn ang="T124">
                          <a:pos x="T44" y="T45"/>
                        </a:cxn>
                        <a:cxn ang="T125">
                          <a:pos x="T46" y="T47"/>
                        </a:cxn>
                        <a:cxn ang="T126">
                          <a:pos x="T48" y="T49"/>
                        </a:cxn>
                        <a:cxn ang="T127">
                          <a:pos x="T50" y="T51"/>
                        </a:cxn>
                        <a:cxn ang="T128">
                          <a:pos x="T52" y="T53"/>
                        </a:cxn>
                        <a:cxn ang="T129">
                          <a:pos x="T54" y="T55"/>
                        </a:cxn>
                        <a:cxn ang="T130">
                          <a:pos x="T56" y="T57"/>
                        </a:cxn>
                        <a:cxn ang="T131">
                          <a:pos x="T58" y="T59"/>
                        </a:cxn>
                        <a:cxn ang="T132">
                          <a:pos x="T60" y="T61"/>
                        </a:cxn>
                        <a:cxn ang="T133">
                          <a:pos x="T62" y="T63"/>
                        </a:cxn>
                        <a:cxn ang="T134">
                          <a:pos x="T64" y="T65"/>
                        </a:cxn>
                        <a:cxn ang="T135">
                          <a:pos x="T66" y="T67"/>
                        </a:cxn>
                        <a:cxn ang="T136">
                          <a:pos x="T68" y="T69"/>
                        </a:cxn>
                        <a:cxn ang="T137">
                          <a:pos x="T70" y="T71"/>
                        </a:cxn>
                        <a:cxn ang="T138">
                          <a:pos x="T72" y="T73"/>
                        </a:cxn>
                        <a:cxn ang="T139">
                          <a:pos x="T74" y="T75"/>
                        </a:cxn>
                        <a:cxn ang="T140">
                          <a:pos x="T76" y="T77"/>
                        </a:cxn>
                        <a:cxn ang="T141">
                          <a:pos x="T78" y="T79"/>
                        </a:cxn>
                        <a:cxn ang="T142">
                          <a:pos x="T80" y="T81"/>
                        </a:cxn>
                        <a:cxn ang="T143">
                          <a:pos x="T82" y="T83"/>
                        </a:cxn>
                        <a:cxn ang="T144">
                          <a:pos x="T84" y="T85"/>
                        </a:cxn>
                        <a:cxn ang="T145">
                          <a:pos x="T86" y="T87"/>
                        </a:cxn>
                        <a:cxn ang="T146">
                          <a:pos x="T88" y="T89"/>
                        </a:cxn>
                        <a:cxn ang="T147">
                          <a:pos x="T90" y="T91"/>
                        </a:cxn>
                        <a:cxn ang="T148">
                          <a:pos x="T92" y="T93"/>
                        </a:cxn>
                        <a:cxn ang="T149">
                          <a:pos x="T94" y="T95"/>
                        </a:cxn>
                        <a:cxn ang="T150">
                          <a:pos x="T96" y="T97"/>
                        </a:cxn>
                        <a:cxn ang="T151">
                          <a:pos x="T98" y="T99"/>
                        </a:cxn>
                        <a:cxn ang="T152">
                          <a:pos x="T100" y="T101"/>
                        </a:cxn>
                      </a:cxnLst>
                      <a:rect l="T153" t="T154" r="T155" b="T156"/>
                      <a:pathLst>
                        <a:path w="273" h="125">
                          <a:moveTo>
                            <a:pt x="0" y="22"/>
                          </a:moveTo>
                          <a:lnTo>
                            <a:pt x="0" y="18"/>
                          </a:lnTo>
                          <a:lnTo>
                            <a:pt x="0" y="9"/>
                          </a:lnTo>
                          <a:lnTo>
                            <a:pt x="18" y="0"/>
                          </a:lnTo>
                          <a:lnTo>
                            <a:pt x="23" y="4"/>
                          </a:lnTo>
                          <a:lnTo>
                            <a:pt x="32" y="4"/>
                          </a:lnTo>
                          <a:lnTo>
                            <a:pt x="32" y="13"/>
                          </a:lnTo>
                          <a:lnTo>
                            <a:pt x="45" y="18"/>
                          </a:lnTo>
                          <a:lnTo>
                            <a:pt x="36" y="22"/>
                          </a:lnTo>
                          <a:lnTo>
                            <a:pt x="32" y="22"/>
                          </a:lnTo>
                          <a:lnTo>
                            <a:pt x="18" y="22"/>
                          </a:lnTo>
                          <a:lnTo>
                            <a:pt x="14" y="31"/>
                          </a:lnTo>
                          <a:lnTo>
                            <a:pt x="9" y="31"/>
                          </a:lnTo>
                          <a:lnTo>
                            <a:pt x="0" y="40"/>
                          </a:lnTo>
                          <a:lnTo>
                            <a:pt x="0" y="36"/>
                          </a:lnTo>
                          <a:lnTo>
                            <a:pt x="9" y="27"/>
                          </a:lnTo>
                          <a:lnTo>
                            <a:pt x="0" y="22"/>
                          </a:lnTo>
                          <a:close/>
                          <a:moveTo>
                            <a:pt x="63" y="112"/>
                          </a:moveTo>
                          <a:lnTo>
                            <a:pt x="67" y="103"/>
                          </a:lnTo>
                          <a:lnTo>
                            <a:pt x="85" y="107"/>
                          </a:lnTo>
                          <a:lnTo>
                            <a:pt x="90" y="116"/>
                          </a:lnTo>
                          <a:lnTo>
                            <a:pt x="99" y="116"/>
                          </a:lnTo>
                          <a:lnTo>
                            <a:pt x="116" y="112"/>
                          </a:lnTo>
                          <a:lnTo>
                            <a:pt x="121" y="107"/>
                          </a:lnTo>
                          <a:lnTo>
                            <a:pt x="125" y="107"/>
                          </a:lnTo>
                          <a:lnTo>
                            <a:pt x="139" y="112"/>
                          </a:lnTo>
                          <a:lnTo>
                            <a:pt x="143" y="103"/>
                          </a:lnTo>
                          <a:lnTo>
                            <a:pt x="148" y="107"/>
                          </a:lnTo>
                          <a:lnTo>
                            <a:pt x="143" y="112"/>
                          </a:lnTo>
                          <a:lnTo>
                            <a:pt x="143" y="116"/>
                          </a:lnTo>
                          <a:lnTo>
                            <a:pt x="139" y="121"/>
                          </a:lnTo>
                          <a:lnTo>
                            <a:pt x="139" y="125"/>
                          </a:lnTo>
                          <a:lnTo>
                            <a:pt x="148" y="125"/>
                          </a:lnTo>
                          <a:lnTo>
                            <a:pt x="157" y="116"/>
                          </a:lnTo>
                          <a:lnTo>
                            <a:pt x="157" y="107"/>
                          </a:lnTo>
                          <a:lnTo>
                            <a:pt x="179" y="103"/>
                          </a:lnTo>
                          <a:lnTo>
                            <a:pt x="197" y="107"/>
                          </a:lnTo>
                          <a:lnTo>
                            <a:pt x="210" y="103"/>
                          </a:lnTo>
                          <a:lnTo>
                            <a:pt x="233" y="98"/>
                          </a:lnTo>
                          <a:lnTo>
                            <a:pt x="241" y="103"/>
                          </a:lnTo>
                          <a:lnTo>
                            <a:pt x="246" y="98"/>
                          </a:lnTo>
                          <a:lnTo>
                            <a:pt x="264" y="103"/>
                          </a:lnTo>
                          <a:lnTo>
                            <a:pt x="273" y="98"/>
                          </a:lnTo>
                          <a:lnTo>
                            <a:pt x="273" y="94"/>
                          </a:lnTo>
                          <a:lnTo>
                            <a:pt x="264" y="89"/>
                          </a:lnTo>
                          <a:lnTo>
                            <a:pt x="259" y="63"/>
                          </a:lnTo>
                          <a:lnTo>
                            <a:pt x="268" y="54"/>
                          </a:lnTo>
                          <a:lnTo>
                            <a:pt x="264" y="45"/>
                          </a:lnTo>
                          <a:lnTo>
                            <a:pt x="255" y="40"/>
                          </a:lnTo>
                          <a:lnTo>
                            <a:pt x="250" y="22"/>
                          </a:lnTo>
                          <a:lnTo>
                            <a:pt x="241" y="18"/>
                          </a:lnTo>
                          <a:lnTo>
                            <a:pt x="219" y="13"/>
                          </a:lnTo>
                          <a:lnTo>
                            <a:pt x="210" y="18"/>
                          </a:lnTo>
                          <a:lnTo>
                            <a:pt x="206" y="22"/>
                          </a:lnTo>
                          <a:lnTo>
                            <a:pt x="192" y="18"/>
                          </a:lnTo>
                          <a:lnTo>
                            <a:pt x="183" y="22"/>
                          </a:lnTo>
                          <a:lnTo>
                            <a:pt x="170" y="22"/>
                          </a:lnTo>
                          <a:lnTo>
                            <a:pt x="148" y="18"/>
                          </a:lnTo>
                          <a:lnTo>
                            <a:pt x="143" y="9"/>
                          </a:lnTo>
                          <a:lnTo>
                            <a:pt x="134" y="9"/>
                          </a:lnTo>
                          <a:lnTo>
                            <a:pt x="134" y="0"/>
                          </a:lnTo>
                          <a:lnTo>
                            <a:pt x="130" y="0"/>
                          </a:lnTo>
                          <a:lnTo>
                            <a:pt x="125" y="4"/>
                          </a:lnTo>
                          <a:lnTo>
                            <a:pt x="103" y="0"/>
                          </a:lnTo>
                          <a:lnTo>
                            <a:pt x="76" y="13"/>
                          </a:lnTo>
                          <a:lnTo>
                            <a:pt x="76" y="18"/>
                          </a:lnTo>
                          <a:lnTo>
                            <a:pt x="63" y="18"/>
                          </a:lnTo>
                          <a:lnTo>
                            <a:pt x="54" y="18"/>
                          </a:lnTo>
                          <a:lnTo>
                            <a:pt x="45" y="18"/>
                          </a:lnTo>
                          <a:lnTo>
                            <a:pt x="45" y="22"/>
                          </a:lnTo>
                          <a:lnTo>
                            <a:pt x="45" y="27"/>
                          </a:lnTo>
                          <a:lnTo>
                            <a:pt x="40" y="27"/>
                          </a:lnTo>
                          <a:lnTo>
                            <a:pt x="45" y="31"/>
                          </a:lnTo>
                          <a:lnTo>
                            <a:pt x="36" y="31"/>
                          </a:lnTo>
                          <a:lnTo>
                            <a:pt x="27" y="31"/>
                          </a:lnTo>
                          <a:lnTo>
                            <a:pt x="23" y="40"/>
                          </a:lnTo>
                          <a:lnTo>
                            <a:pt x="14" y="36"/>
                          </a:lnTo>
                          <a:lnTo>
                            <a:pt x="9" y="36"/>
                          </a:lnTo>
                          <a:lnTo>
                            <a:pt x="0" y="40"/>
                          </a:lnTo>
                          <a:lnTo>
                            <a:pt x="0" y="49"/>
                          </a:lnTo>
                          <a:lnTo>
                            <a:pt x="14" y="49"/>
                          </a:lnTo>
                          <a:lnTo>
                            <a:pt x="9" y="54"/>
                          </a:lnTo>
                          <a:lnTo>
                            <a:pt x="14" y="67"/>
                          </a:lnTo>
                          <a:lnTo>
                            <a:pt x="14" y="72"/>
                          </a:lnTo>
                          <a:lnTo>
                            <a:pt x="9" y="72"/>
                          </a:lnTo>
                          <a:lnTo>
                            <a:pt x="5" y="67"/>
                          </a:lnTo>
                          <a:lnTo>
                            <a:pt x="5" y="76"/>
                          </a:lnTo>
                          <a:lnTo>
                            <a:pt x="9" y="76"/>
                          </a:lnTo>
                          <a:lnTo>
                            <a:pt x="14" y="80"/>
                          </a:lnTo>
                          <a:lnTo>
                            <a:pt x="14" y="85"/>
                          </a:lnTo>
                          <a:lnTo>
                            <a:pt x="14" y="94"/>
                          </a:lnTo>
                          <a:lnTo>
                            <a:pt x="23" y="94"/>
                          </a:lnTo>
                          <a:lnTo>
                            <a:pt x="14" y="98"/>
                          </a:lnTo>
                          <a:lnTo>
                            <a:pt x="27" y="98"/>
                          </a:lnTo>
                          <a:lnTo>
                            <a:pt x="27" y="103"/>
                          </a:lnTo>
                          <a:lnTo>
                            <a:pt x="23" y="107"/>
                          </a:lnTo>
                          <a:lnTo>
                            <a:pt x="27" y="103"/>
                          </a:lnTo>
                          <a:lnTo>
                            <a:pt x="32" y="107"/>
                          </a:lnTo>
                          <a:lnTo>
                            <a:pt x="36" y="98"/>
                          </a:lnTo>
                          <a:lnTo>
                            <a:pt x="45" y="103"/>
                          </a:lnTo>
                          <a:lnTo>
                            <a:pt x="49" y="112"/>
                          </a:lnTo>
                          <a:lnTo>
                            <a:pt x="54" y="116"/>
                          </a:lnTo>
                          <a:lnTo>
                            <a:pt x="63" y="112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5" name="Freeform 213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79" y="1787"/>
                      <a:ext cx="240" cy="160"/>
                    </a:xfrm>
                    <a:custGeom>
                      <a:avLst/>
                      <a:gdLst>
                        <a:gd name="T0" fmla="*/ 4 w 254"/>
                        <a:gd name="T1" fmla="*/ 14 h 169"/>
                        <a:gd name="T2" fmla="*/ 4 w 254"/>
                        <a:gd name="T3" fmla="*/ 13 h 169"/>
                        <a:gd name="T4" fmla="*/ 9 w 254"/>
                        <a:gd name="T5" fmla="*/ 9 h 169"/>
                        <a:gd name="T6" fmla="*/ 9 w 254"/>
                        <a:gd name="T7" fmla="*/ 9 h 169"/>
                        <a:gd name="T8" fmla="*/ 9 w 254"/>
                        <a:gd name="T9" fmla="*/ 9 h 169"/>
                        <a:gd name="T10" fmla="*/ 9 w 254"/>
                        <a:gd name="T11" fmla="*/ 9 h 169"/>
                        <a:gd name="T12" fmla="*/ 9 w 254"/>
                        <a:gd name="T13" fmla="*/ 4 h 169"/>
                        <a:gd name="T14" fmla="*/ 10 w 254"/>
                        <a:gd name="T15" fmla="*/ 9 h 169"/>
                        <a:gd name="T16" fmla="*/ 15 w 254"/>
                        <a:gd name="T17" fmla="*/ 9 h 169"/>
                        <a:gd name="T18" fmla="*/ 16 w 254"/>
                        <a:gd name="T19" fmla="*/ 9 h 169"/>
                        <a:gd name="T20" fmla="*/ 18 w 254"/>
                        <a:gd name="T21" fmla="*/ 9 h 169"/>
                        <a:gd name="T22" fmla="*/ 19 w 254"/>
                        <a:gd name="T23" fmla="*/ 9 h 169"/>
                        <a:gd name="T24" fmla="*/ 22 w 254"/>
                        <a:gd name="T25" fmla="*/ 9 h 169"/>
                        <a:gd name="T26" fmla="*/ 23 w 254"/>
                        <a:gd name="T27" fmla="*/ 9 h 169"/>
                        <a:gd name="T28" fmla="*/ 24 w 254"/>
                        <a:gd name="T29" fmla="*/ 0 h 169"/>
                        <a:gd name="T30" fmla="*/ 25 w 254"/>
                        <a:gd name="T31" fmla="*/ 4 h 169"/>
                        <a:gd name="T32" fmla="*/ 27 w 254"/>
                        <a:gd name="T33" fmla="*/ 4 h 169"/>
                        <a:gd name="T34" fmla="*/ 31 w 254"/>
                        <a:gd name="T35" fmla="*/ 0 h 169"/>
                        <a:gd name="T36" fmla="*/ 32 w 254"/>
                        <a:gd name="T37" fmla="*/ 8 h 169"/>
                        <a:gd name="T38" fmla="*/ 35 w 254"/>
                        <a:gd name="T39" fmla="*/ 9 h 169"/>
                        <a:gd name="T40" fmla="*/ 35 w 254"/>
                        <a:gd name="T41" fmla="*/ 9 h 169"/>
                        <a:gd name="T42" fmla="*/ 38 w 254"/>
                        <a:gd name="T43" fmla="*/ 9 h 169"/>
                        <a:gd name="T44" fmla="*/ 41 w 254"/>
                        <a:gd name="T45" fmla="*/ 9 h 169"/>
                        <a:gd name="T46" fmla="*/ 41 w 254"/>
                        <a:gd name="T47" fmla="*/ 9 h 169"/>
                        <a:gd name="T48" fmla="*/ 43 w 254"/>
                        <a:gd name="T49" fmla="*/ 11 h 169"/>
                        <a:gd name="T50" fmla="*/ 43 w 254"/>
                        <a:gd name="T51" fmla="*/ 11 h 169"/>
                        <a:gd name="T52" fmla="*/ 45 w 254"/>
                        <a:gd name="T53" fmla="*/ 14 h 169"/>
                        <a:gd name="T54" fmla="*/ 45 w 254"/>
                        <a:gd name="T55" fmla="*/ 17 h 169"/>
                        <a:gd name="T56" fmla="*/ 45 w 254"/>
                        <a:gd name="T57" fmla="*/ 19 h 169"/>
                        <a:gd name="T58" fmla="*/ 43 w 254"/>
                        <a:gd name="T59" fmla="*/ 23 h 169"/>
                        <a:gd name="T60" fmla="*/ 38 w 254"/>
                        <a:gd name="T61" fmla="*/ 24 h 169"/>
                        <a:gd name="T62" fmla="*/ 35 w 254"/>
                        <a:gd name="T63" fmla="*/ 25 h 169"/>
                        <a:gd name="T64" fmla="*/ 34 w 254"/>
                        <a:gd name="T65" fmla="*/ 25 h 169"/>
                        <a:gd name="T66" fmla="*/ 35 w 254"/>
                        <a:gd name="T67" fmla="*/ 28 h 169"/>
                        <a:gd name="T68" fmla="*/ 37 w 254"/>
                        <a:gd name="T69" fmla="*/ 30 h 169"/>
                        <a:gd name="T70" fmla="*/ 35 w 254"/>
                        <a:gd name="T71" fmla="*/ 30 h 169"/>
                        <a:gd name="T72" fmla="*/ 33 w 254"/>
                        <a:gd name="T73" fmla="*/ 31 h 169"/>
                        <a:gd name="T74" fmla="*/ 29 w 254"/>
                        <a:gd name="T75" fmla="*/ 32 h 169"/>
                        <a:gd name="T76" fmla="*/ 29 w 254"/>
                        <a:gd name="T77" fmla="*/ 29 h 169"/>
                        <a:gd name="T78" fmla="*/ 27 w 254"/>
                        <a:gd name="T79" fmla="*/ 28 h 169"/>
                        <a:gd name="T80" fmla="*/ 31 w 254"/>
                        <a:gd name="T81" fmla="*/ 27 h 169"/>
                        <a:gd name="T82" fmla="*/ 29 w 254"/>
                        <a:gd name="T83" fmla="*/ 25 h 169"/>
                        <a:gd name="T84" fmla="*/ 25 w 254"/>
                        <a:gd name="T85" fmla="*/ 25 h 169"/>
                        <a:gd name="T86" fmla="*/ 25 w 254"/>
                        <a:gd name="T87" fmla="*/ 24 h 169"/>
                        <a:gd name="T88" fmla="*/ 22 w 254"/>
                        <a:gd name="T89" fmla="*/ 25 h 169"/>
                        <a:gd name="T90" fmla="*/ 22 w 254"/>
                        <a:gd name="T91" fmla="*/ 25 h 169"/>
                        <a:gd name="T92" fmla="*/ 22 w 254"/>
                        <a:gd name="T93" fmla="*/ 27 h 169"/>
                        <a:gd name="T94" fmla="*/ 20 w 254"/>
                        <a:gd name="T95" fmla="*/ 29 h 169"/>
                        <a:gd name="T96" fmla="*/ 18 w 254"/>
                        <a:gd name="T97" fmla="*/ 30 h 169"/>
                        <a:gd name="T98" fmla="*/ 16 w 254"/>
                        <a:gd name="T99" fmla="*/ 28 h 169"/>
                        <a:gd name="T100" fmla="*/ 18 w 254"/>
                        <a:gd name="T101" fmla="*/ 27 h 169"/>
                        <a:gd name="T102" fmla="*/ 18 w 254"/>
                        <a:gd name="T103" fmla="*/ 25 h 169"/>
                        <a:gd name="T104" fmla="*/ 19 w 254"/>
                        <a:gd name="T105" fmla="*/ 25 h 169"/>
                        <a:gd name="T106" fmla="*/ 21 w 254"/>
                        <a:gd name="T107" fmla="*/ 25 h 169"/>
                        <a:gd name="T108" fmla="*/ 20 w 254"/>
                        <a:gd name="T109" fmla="*/ 23 h 169"/>
                        <a:gd name="T110" fmla="*/ 18 w 254"/>
                        <a:gd name="T111" fmla="*/ 19 h 169"/>
                        <a:gd name="T112" fmla="*/ 16 w 254"/>
                        <a:gd name="T113" fmla="*/ 19 h 169"/>
                        <a:gd name="T114" fmla="*/ 15 w 254"/>
                        <a:gd name="T115" fmla="*/ 19 h 169"/>
                        <a:gd name="T116" fmla="*/ 9 w 254"/>
                        <a:gd name="T117" fmla="*/ 20 h 169"/>
                        <a:gd name="T118" fmla="*/ 9 w 254"/>
                        <a:gd name="T119" fmla="*/ 20 h 169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w 254"/>
                        <a:gd name="T181" fmla="*/ 0 h 169"/>
                        <a:gd name="T182" fmla="*/ 254 w 254"/>
                        <a:gd name="T183" fmla="*/ 169 h 169"/>
                      </a:gdLst>
                      <a:ahLst/>
                      <a:cxnLst>
                        <a:cxn ang="T120">
                          <a:pos x="T0" y="T1"/>
                        </a:cxn>
                        <a:cxn ang="T121">
                          <a:pos x="T2" y="T3"/>
                        </a:cxn>
                        <a:cxn ang="T122">
                          <a:pos x="T4" y="T5"/>
                        </a:cxn>
                        <a:cxn ang="T123">
                          <a:pos x="T6" y="T7"/>
                        </a:cxn>
                        <a:cxn ang="T124">
                          <a:pos x="T8" y="T9"/>
                        </a:cxn>
                        <a:cxn ang="T125">
                          <a:pos x="T10" y="T11"/>
                        </a:cxn>
                        <a:cxn ang="T126">
                          <a:pos x="T12" y="T13"/>
                        </a:cxn>
                        <a:cxn ang="T127">
                          <a:pos x="T14" y="T15"/>
                        </a:cxn>
                        <a:cxn ang="T128">
                          <a:pos x="T16" y="T17"/>
                        </a:cxn>
                        <a:cxn ang="T129">
                          <a:pos x="T18" y="T19"/>
                        </a:cxn>
                        <a:cxn ang="T130">
                          <a:pos x="T20" y="T21"/>
                        </a:cxn>
                        <a:cxn ang="T131">
                          <a:pos x="T22" y="T23"/>
                        </a:cxn>
                        <a:cxn ang="T132">
                          <a:pos x="T24" y="T25"/>
                        </a:cxn>
                        <a:cxn ang="T133">
                          <a:pos x="T26" y="T27"/>
                        </a:cxn>
                        <a:cxn ang="T134">
                          <a:pos x="T28" y="T29"/>
                        </a:cxn>
                        <a:cxn ang="T135">
                          <a:pos x="T30" y="T31"/>
                        </a:cxn>
                        <a:cxn ang="T136">
                          <a:pos x="T32" y="T33"/>
                        </a:cxn>
                        <a:cxn ang="T137">
                          <a:pos x="T34" y="T35"/>
                        </a:cxn>
                        <a:cxn ang="T138">
                          <a:pos x="T36" y="T37"/>
                        </a:cxn>
                        <a:cxn ang="T139">
                          <a:pos x="T38" y="T39"/>
                        </a:cxn>
                        <a:cxn ang="T140">
                          <a:pos x="T40" y="T41"/>
                        </a:cxn>
                        <a:cxn ang="T141">
                          <a:pos x="T42" y="T43"/>
                        </a:cxn>
                        <a:cxn ang="T142">
                          <a:pos x="T44" y="T45"/>
                        </a:cxn>
                        <a:cxn ang="T143">
                          <a:pos x="T46" y="T47"/>
                        </a:cxn>
                        <a:cxn ang="T144">
                          <a:pos x="T48" y="T49"/>
                        </a:cxn>
                        <a:cxn ang="T145">
                          <a:pos x="T50" y="T51"/>
                        </a:cxn>
                        <a:cxn ang="T146">
                          <a:pos x="T52" y="T53"/>
                        </a:cxn>
                        <a:cxn ang="T147">
                          <a:pos x="T54" y="T55"/>
                        </a:cxn>
                        <a:cxn ang="T148">
                          <a:pos x="T56" y="T57"/>
                        </a:cxn>
                        <a:cxn ang="T149">
                          <a:pos x="T58" y="T59"/>
                        </a:cxn>
                        <a:cxn ang="T150">
                          <a:pos x="T60" y="T61"/>
                        </a:cxn>
                        <a:cxn ang="T151">
                          <a:pos x="T62" y="T63"/>
                        </a:cxn>
                        <a:cxn ang="T152">
                          <a:pos x="T64" y="T65"/>
                        </a:cxn>
                        <a:cxn ang="T153">
                          <a:pos x="T66" y="T67"/>
                        </a:cxn>
                        <a:cxn ang="T154">
                          <a:pos x="T68" y="T69"/>
                        </a:cxn>
                        <a:cxn ang="T155">
                          <a:pos x="T70" y="T71"/>
                        </a:cxn>
                        <a:cxn ang="T156">
                          <a:pos x="T72" y="T73"/>
                        </a:cxn>
                        <a:cxn ang="T157">
                          <a:pos x="T74" y="T75"/>
                        </a:cxn>
                        <a:cxn ang="T158">
                          <a:pos x="T76" y="T77"/>
                        </a:cxn>
                        <a:cxn ang="T159">
                          <a:pos x="T78" y="T79"/>
                        </a:cxn>
                        <a:cxn ang="T160">
                          <a:pos x="T80" y="T81"/>
                        </a:cxn>
                        <a:cxn ang="T161">
                          <a:pos x="T82" y="T83"/>
                        </a:cxn>
                        <a:cxn ang="T162">
                          <a:pos x="T84" y="T85"/>
                        </a:cxn>
                        <a:cxn ang="T163">
                          <a:pos x="T86" y="T87"/>
                        </a:cxn>
                        <a:cxn ang="T164">
                          <a:pos x="T88" y="T89"/>
                        </a:cxn>
                        <a:cxn ang="T165">
                          <a:pos x="T90" y="T91"/>
                        </a:cxn>
                        <a:cxn ang="T166">
                          <a:pos x="T92" y="T93"/>
                        </a:cxn>
                        <a:cxn ang="T167">
                          <a:pos x="T94" y="T95"/>
                        </a:cxn>
                        <a:cxn ang="T168">
                          <a:pos x="T96" y="T97"/>
                        </a:cxn>
                        <a:cxn ang="T169">
                          <a:pos x="T98" y="T99"/>
                        </a:cxn>
                        <a:cxn ang="T170">
                          <a:pos x="T100" y="T101"/>
                        </a:cxn>
                        <a:cxn ang="T171">
                          <a:pos x="T102" y="T103"/>
                        </a:cxn>
                        <a:cxn ang="T172">
                          <a:pos x="T104" y="T105"/>
                        </a:cxn>
                        <a:cxn ang="T173">
                          <a:pos x="T106" y="T107"/>
                        </a:cxn>
                        <a:cxn ang="T174">
                          <a:pos x="T108" y="T109"/>
                        </a:cxn>
                        <a:cxn ang="T175">
                          <a:pos x="T110" y="T111"/>
                        </a:cxn>
                        <a:cxn ang="T176">
                          <a:pos x="T112" y="T113"/>
                        </a:cxn>
                        <a:cxn ang="T177">
                          <a:pos x="T114" y="T115"/>
                        </a:cxn>
                        <a:cxn ang="T178">
                          <a:pos x="T116" y="T117"/>
                        </a:cxn>
                        <a:cxn ang="T179">
                          <a:pos x="T118" y="T119"/>
                        </a:cxn>
                      </a:cxnLst>
                      <a:rect l="T180" t="T181" r="T182" b="T183"/>
                      <a:pathLst>
                        <a:path w="254" h="169">
                          <a:moveTo>
                            <a:pt x="0" y="84"/>
                          </a:moveTo>
                          <a:lnTo>
                            <a:pt x="4" y="71"/>
                          </a:lnTo>
                          <a:lnTo>
                            <a:pt x="9" y="71"/>
                          </a:lnTo>
                          <a:lnTo>
                            <a:pt x="4" y="67"/>
                          </a:lnTo>
                          <a:lnTo>
                            <a:pt x="13" y="53"/>
                          </a:lnTo>
                          <a:lnTo>
                            <a:pt x="22" y="49"/>
                          </a:lnTo>
                          <a:lnTo>
                            <a:pt x="26" y="44"/>
                          </a:lnTo>
                          <a:lnTo>
                            <a:pt x="22" y="40"/>
                          </a:lnTo>
                          <a:lnTo>
                            <a:pt x="22" y="31"/>
                          </a:lnTo>
                          <a:lnTo>
                            <a:pt x="18" y="17"/>
                          </a:lnTo>
                          <a:lnTo>
                            <a:pt x="18" y="13"/>
                          </a:lnTo>
                          <a:lnTo>
                            <a:pt x="26" y="17"/>
                          </a:lnTo>
                          <a:lnTo>
                            <a:pt x="31" y="8"/>
                          </a:lnTo>
                          <a:lnTo>
                            <a:pt x="35" y="4"/>
                          </a:lnTo>
                          <a:lnTo>
                            <a:pt x="49" y="8"/>
                          </a:lnTo>
                          <a:lnTo>
                            <a:pt x="58" y="13"/>
                          </a:lnTo>
                          <a:lnTo>
                            <a:pt x="71" y="8"/>
                          </a:lnTo>
                          <a:lnTo>
                            <a:pt x="76" y="13"/>
                          </a:lnTo>
                          <a:lnTo>
                            <a:pt x="80" y="22"/>
                          </a:lnTo>
                          <a:lnTo>
                            <a:pt x="80" y="17"/>
                          </a:lnTo>
                          <a:lnTo>
                            <a:pt x="89" y="17"/>
                          </a:lnTo>
                          <a:lnTo>
                            <a:pt x="89" y="13"/>
                          </a:lnTo>
                          <a:lnTo>
                            <a:pt x="93" y="17"/>
                          </a:lnTo>
                          <a:lnTo>
                            <a:pt x="98" y="13"/>
                          </a:lnTo>
                          <a:lnTo>
                            <a:pt x="102" y="22"/>
                          </a:lnTo>
                          <a:lnTo>
                            <a:pt x="111" y="17"/>
                          </a:lnTo>
                          <a:lnTo>
                            <a:pt x="120" y="22"/>
                          </a:lnTo>
                          <a:lnTo>
                            <a:pt x="120" y="17"/>
                          </a:lnTo>
                          <a:lnTo>
                            <a:pt x="120" y="13"/>
                          </a:lnTo>
                          <a:lnTo>
                            <a:pt x="125" y="0"/>
                          </a:lnTo>
                          <a:lnTo>
                            <a:pt x="134" y="4"/>
                          </a:lnTo>
                          <a:lnTo>
                            <a:pt x="138" y="4"/>
                          </a:lnTo>
                          <a:lnTo>
                            <a:pt x="143" y="0"/>
                          </a:lnTo>
                          <a:lnTo>
                            <a:pt x="147" y="4"/>
                          </a:lnTo>
                          <a:lnTo>
                            <a:pt x="156" y="0"/>
                          </a:lnTo>
                          <a:lnTo>
                            <a:pt x="165" y="0"/>
                          </a:lnTo>
                          <a:lnTo>
                            <a:pt x="169" y="8"/>
                          </a:lnTo>
                          <a:lnTo>
                            <a:pt x="174" y="8"/>
                          </a:lnTo>
                          <a:lnTo>
                            <a:pt x="169" y="17"/>
                          </a:lnTo>
                          <a:lnTo>
                            <a:pt x="187" y="22"/>
                          </a:lnTo>
                          <a:lnTo>
                            <a:pt x="187" y="31"/>
                          </a:lnTo>
                          <a:lnTo>
                            <a:pt x="192" y="44"/>
                          </a:lnTo>
                          <a:lnTo>
                            <a:pt x="201" y="44"/>
                          </a:lnTo>
                          <a:lnTo>
                            <a:pt x="205" y="49"/>
                          </a:lnTo>
                          <a:lnTo>
                            <a:pt x="210" y="44"/>
                          </a:lnTo>
                          <a:lnTo>
                            <a:pt x="219" y="44"/>
                          </a:lnTo>
                          <a:lnTo>
                            <a:pt x="223" y="49"/>
                          </a:lnTo>
                          <a:lnTo>
                            <a:pt x="223" y="53"/>
                          </a:lnTo>
                          <a:lnTo>
                            <a:pt x="232" y="53"/>
                          </a:lnTo>
                          <a:lnTo>
                            <a:pt x="232" y="58"/>
                          </a:lnTo>
                          <a:lnTo>
                            <a:pt x="236" y="53"/>
                          </a:lnTo>
                          <a:lnTo>
                            <a:pt x="241" y="58"/>
                          </a:lnTo>
                          <a:lnTo>
                            <a:pt x="254" y="67"/>
                          </a:lnTo>
                          <a:lnTo>
                            <a:pt x="250" y="71"/>
                          </a:lnTo>
                          <a:lnTo>
                            <a:pt x="254" y="75"/>
                          </a:lnTo>
                          <a:lnTo>
                            <a:pt x="250" y="80"/>
                          </a:lnTo>
                          <a:lnTo>
                            <a:pt x="254" y="84"/>
                          </a:lnTo>
                          <a:lnTo>
                            <a:pt x="250" y="93"/>
                          </a:lnTo>
                          <a:lnTo>
                            <a:pt x="241" y="98"/>
                          </a:lnTo>
                          <a:lnTo>
                            <a:pt x="232" y="111"/>
                          </a:lnTo>
                          <a:lnTo>
                            <a:pt x="223" y="111"/>
                          </a:lnTo>
                          <a:lnTo>
                            <a:pt x="205" y="120"/>
                          </a:lnTo>
                          <a:lnTo>
                            <a:pt x="196" y="125"/>
                          </a:lnTo>
                          <a:lnTo>
                            <a:pt x="192" y="125"/>
                          </a:lnTo>
                          <a:lnTo>
                            <a:pt x="187" y="129"/>
                          </a:lnTo>
                          <a:lnTo>
                            <a:pt x="183" y="125"/>
                          </a:lnTo>
                          <a:lnTo>
                            <a:pt x="174" y="134"/>
                          </a:lnTo>
                          <a:lnTo>
                            <a:pt x="192" y="147"/>
                          </a:lnTo>
                          <a:lnTo>
                            <a:pt x="205" y="147"/>
                          </a:lnTo>
                          <a:lnTo>
                            <a:pt x="201" y="156"/>
                          </a:lnTo>
                          <a:lnTo>
                            <a:pt x="196" y="156"/>
                          </a:lnTo>
                          <a:lnTo>
                            <a:pt x="192" y="156"/>
                          </a:lnTo>
                          <a:lnTo>
                            <a:pt x="183" y="160"/>
                          </a:lnTo>
                          <a:lnTo>
                            <a:pt x="178" y="160"/>
                          </a:lnTo>
                          <a:lnTo>
                            <a:pt x="169" y="169"/>
                          </a:lnTo>
                          <a:lnTo>
                            <a:pt x="156" y="165"/>
                          </a:lnTo>
                          <a:lnTo>
                            <a:pt x="160" y="160"/>
                          </a:lnTo>
                          <a:lnTo>
                            <a:pt x="160" y="151"/>
                          </a:lnTo>
                          <a:lnTo>
                            <a:pt x="156" y="151"/>
                          </a:lnTo>
                          <a:lnTo>
                            <a:pt x="147" y="147"/>
                          </a:lnTo>
                          <a:lnTo>
                            <a:pt x="156" y="138"/>
                          </a:lnTo>
                          <a:lnTo>
                            <a:pt x="165" y="138"/>
                          </a:lnTo>
                          <a:lnTo>
                            <a:pt x="160" y="134"/>
                          </a:lnTo>
                          <a:lnTo>
                            <a:pt x="156" y="129"/>
                          </a:lnTo>
                          <a:lnTo>
                            <a:pt x="134" y="134"/>
                          </a:lnTo>
                          <a:lnTo>
                            <a:pt x="138" y="129"/>
                          </a:lnTo>
                          <a:lnTo>
                            <a:pt x="129" y="125"/>
                          </a:lnTo>
                          <a:lnTo>
                            <a:pt x="138" y="120"/>
                          </a:lnTo>
                          <a:lnTo>
                            <a:pt x="125" y="125"/>
                          </a:lnTo>
                          <a:lnTo>
                            <a:pt x="116" y="129"/>
                          </a:lnTo>
                          <a:lnTo>
                            <a:pt x="111" y="125"/>
                          </a:lnTo>
                          <a:lnTo>
                            <a:pt x="111" y="129"/>
                          </a:lnTo>
                          <a:lnTo>
                            <a:pt x="116" y="134"/>
                          </a:lnTo>
                          <a:lnTo>
                            <a:pt x="111" y="143"/>
                          </a:lnTo>
                          <a:lnTo>
                            <a:pt x="102" y="147"/>
                          </a:lnTo>
                          <a:lnTo>
                            <a:pt x="102" y="151"/>
                          </a:lnTo>
                          <a:lnTo>
                            <a:pt x="98" y="151"/>
                          </a:lnTo>
                          <a:lnTo>
                            <a:pt x="89" y="156"/>
                          </a:lnTo>
                          <a:lnTo>
                            <a:pt x="85" y="151"/>
                          </a:lnTo>
                          <a:lnTo>
                            <a:pt x="80" y="147"/>
                          </a:lnTo>
                          <a:lnTo>
                            <a:pt x="89" y="147"/>
                          </a:lnTo>
                          <a:lnTo>
                            <a:pt x="93" y="143"/>
                          </a:lnTo>
                          <a:lnTo>
                            <a:pt x="93" y="138"/>
                          </a:lnTo>
                          <a:lnTo>
                            <a:pt x="93" y="129"/>
                          </a:lnTo>
                          <a:lnTo>
                            <a:pt x="98" y="134"/>
                          </a:lnTo>
                          <a:lnTo>
                            <a:pt x="98" y="129"/>
                          </a:lnTo>
                          <a:lnTo>
                            <a:pt x="102" y="129"/>
                          </a:lnTo>
                          <a:lnTo>
                            <a:pt x="107" y="129"/>
                          </a:lnTo>
                          <a:lnTo>
                            <a:pt x="107" y="120"/>
                          </a:lnTo>
                          <a:lnTo>
                            <a:pt x="102" y="111"/>
                          </a:lnTo>
                          <a:lnTo>
                            <a:pt x="102" y="102"/>
                          </a:lnTo>
                          <a:lnTo>
                            <a:pt x="89" y="93"/>
                          </a:lnTo>
                          <a:lnTo>
                            <a:pt x="85" y="93"/>
                          </a:lnTo>
                          <a:lnTo>
                            <a:pt x="80" y="89"/>
                          </a:lnTo>
                          <a:lnTo>
                            <a:pt x="76" y="93"/>
                          </a:lnTo>
                          <a:lnTo>
                            <a:pt x="76" y="89"/>
                          </a:lnTo>
                          <a:lnTo>
                            <a:pt x="62" y="89"/>
                          </a:lnTo>
                          <a:lnTo>
                            <a:pt x="40" y="98"/>
                          </a:lnTo>
                          <a:lnTo>
                            <a:pt x="13" y="93"/>
                          </a:lnTo>
                          <a:lnTo>
                            <a:pt x="9" y="98"/>
                          </a:lnTo>
                          <a:lnTo>
                            <a:pt x="0" y="84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6" name="Freeform 214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57" y="1985"/>
                      <a:ext cx="34" cy="33"/>
                    </a:xfrm>
                    <a:custGeom>
                      <a:avLst/>
                      <a:gdLst>
                        <a:gd name="T0" fmla="*/ 9 w 36"/>
                        <a:gd name="T1" fmla="*/ 8 h 35"/>
                        <a:gd name="T2" fmla="*/ 0 w 36"/>
                        <a:gd name="T3" fmla="*/ 8 h 35"/>
                        <a:gd name="T4" fmla="*/ 0 w 36"/>
                        <a:gd name="T5" fmla="*/ 8 h 35"/>
                        <a:gd name="T6" fmla="*/ 9 w 36"/>
                        <a:gd name="T7" fmla="*/ 4 h 35"/>
                        <a:gd name="T8" fmla="*/ 9 w 36"/>
                        <a:gd name="T9" fmla="*/ 4 h 35"/>
                        <a:gd name="T10" fmla="*/ 9 w 36"/>
                        <a:gd name="T11" fmla="*/ 0 h 35"/>
                        <a:gd name="T12" fmla="*/ 9 w 36"/>
                        <a:gd name="T13" fmla="*/ 4 h 35"/>
                        <a:gd name="T14" fmla="*/ 9 w 36"/>
                        <a:gd name="T15" fmla="*/ 8 h 35"/>
                        <a:gd name="T16" fmla="*/ 9 w 36"/>
                        <a:gd name="T17" fmla="*/ 8 h 35"/>
                        <a:gd name="T18" fmla="*/ 9 w 36"/>
                        <a:gd name="T19" fmla="*/ 8 h 35"/>
                        <a:gd name="T20" fmla="*/ 9 w 36"/>
                        <a:gd name="T21" fmla="*/ 8 h 35"/>
                        <a:gd name="T22" fmla="*/ 9 w 36"/>
                        <a:gd name="T23" fmla="*/ 8 h 35"/>
                        <a:gd name="T24" fmla="*/ 9 w 36"/>
                        <a:gd name="T25" fmla="*/ 8 h 35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36"/>
                        <a:gd name="T40" fmla="*/ 0 h 35"/>
                        <a:gd name="T41" fmla="*/ 36 w 36"/>
                        <a:gd name="T42" fmla="*/ 35 h 35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36" h="35">
                          <a:moveTo>
                            <a:pt x="9" y="35"/>
                          </a:moveTo>
                          <a:lnTo>
                            <a:pt x="0" y="31"/>
                          </a:lnTo>
                          <a:lnTo>
                            <a:pt x="0" y="8"/>
                          </a:lnTo>
                          <a:lnTo>
                            <a:pt x="9" y="4"/>
                          </a:lnTo>
                          <a:lnTo>
                            <a:pt x="23" y="0"/>
                          </a:lnTo>
                          <a:lnTo>
                            <a:pt x="27" y="4"/>
                          </a:lnTo>
                          <a:lnTo>
                            <a:pt x="36" y="8"/>
                          </a:lnTo>
                          <a:lnTo>
                            <a:pt x="36" y="22"/>
                          </a:lnTo>
                          <a:lnTo>
                            <a:pt x="27" y="26"/>
                          </a:lnTo>
                          <a:lnTo>
                            <a:pt x="23" y="26"/>
                          </a:lnTo>
                          <a:lnTo>
                            <a:pt x="18" y="31"/>
                          </a:lnTo>
                          <a:lnTo>
                            <a:pt x="9" y="35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7" name="Freeform 215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665" y="1580"/>
                      <a:ext cx="139" cy="257"/>
                    </a:xfrm>
                    <a:custGeom>
                      <a:avLst/>
                      <a:gdLst>
                        <a:gd name="T0" fmla="*/ 9 w 147"/>
                        <a:gd name="T1" fmla="*/ 14 h 272"/>
                        <a:gd name="T2" fmla="*/ 9 w 147"/>
                        <a:gd name="T3" fmla="*/ 9 h 272"/>
                        <a:gd name="T4" fmla="*/ 9 w 147"/>
                        <a:gd name="T5" fmla="*/ 16 h 272"/>
                        <a:gd name="T6" fmla="*/ 9 w 147"/>
                        <a:gd name="T7" fmla="*/ 31 h 272"/>
                        <a:gd name="T8" fmla="*/ 4 w 147"/>
                        <a:gd name="T9" fmla="*/ 29 h 272"/>
                        <a:gd name="T10" fmla="*/ 9 w 147"/>
                        <a:gd name="T11" fmla="*/ 26 h 272"/>
                        <a:gd name="T12" fmla="*/ 9 w 147"/>
                        <a:gd name="T13" fmla="*/ 29 h 272"/>
                        <a:gd name="T14" fmla="*/ 9 w 147"/>
                        <a:gd name="T15" fmla="*/ 18 h 272"/>
                        <a:gd name="T16" fmla="*/ 9 w 147"/>
                        <a:gd name="T17" fmla="*/ 16 h 272"/>
                        <a:gd name="T18" fmla="*/ 9 w 147"/>
                        <a:gd name="T19" fmla="*/ 18 h 272"/>
                        <a:gd name="T20" fmla="*/ 15 w 147"/>
                        <a:gd name="T21" fmla="*/ 9 h 272"/>
                        <a:gd name="T22" fmla="*/ 9 w 147"/>
                        <a:gd name="T23" fmla="*/ 11 h 272"/>
                        <a:gd name="T24" fmla="*/ 9 w 147"/>
                        <a:gd name="T25" fmla="*/ 19 h 272"/>
                        <a:gd name="T26" fmla="*/ 9 w 147"/>
                        <a:gd name="T27" fmla="*/ 21 h 272"/>
                        <a:gd name="T28" fmla="*/ 9 w 147"/>
                        <a:gd name="T29" fmla="*/ 22 h 272"/>
                        <a:gd name="T30" fmla="*/ 9 w 147"/>
                        <a:gd name="T31" fmla="*/ 23 h 272"/>
                        <a:gd name="T32" fmla="*/ 9 w 147"/>
                        <a:gd name="T33" fmla="*/ 25 h 272"/>
                        <a:gd name="T34" fmla="*/ 9 w 147"/>
                        <a:gd name="T35" fmla="*/ 24 h 272"/>
                        <a:gd name="T36" fmla="*/ 9 w 147"/>
                        <a:gd name="T37" fmla="*/ 26 h 272"/>
                        <a:gd name="T38" fmla="*/ 10 w 147"/>
                        <a:gd name="T39" fmla="*/ 29 h 272"/>
                        <a:gd name="T40" fmla="*/ 14 w 147"/>
                        <a:gd name="T41" fmla="*/ 27 h 272"/>
                        <a:gd name="T42" fmla="*/ 15 w 147"/>
                        <a:gd name="T43" fmla="*/ 32 h 272"/>
                        <a:gd name="T44" fmla="*/ 15 w 147"/>
                        <a:gd name="T45" fmla="*/ 34 h 272"/>
                        <a:gd name="T46" fmla="*/ 9 w 147"/>
                        <a:gd name="T47" fmla="*/ 35 h 272"/>
                        <a:gd name="T48" fmla="*/ 13 w 147"/>
                        <a:gd name="T49" fmla="*/ 37 h 272"/>
                        <a:gd name="T50" fmla="*/ 9 w 147"/>
                        <a:gd name="T51" fmla="*/ 41 h 272"/>
                        <a:gd name="T52" fmla="*/ 13 w 147"/>
                        <a:gd name="T53" fmla="*/ 43 h 272"/>
                        <a:gd name="T54" fmla="*/ 15 w 147"/>
                        <a:gd name="T55" fmla="*/ 43 h 272"/>
                        <a:gd name="T56" fmla="*/ 9 w 147"/>
                        <a:gd name="T57" fmla="*/ 46 h 272"/>
                        <a:gd name="T58" fmla="*/ 9 w 147"/>
                        <a:gd name="T59" fmla="*/ 49 h 272"/>
                        <a:gd name="T60" fmla="*/ 10 w 147"/>
                        <a:gd name="T61" fmla="*/ 47 h 272"/>
                        <a:gd name="T62" fmla="*/ 18 w 147"/>
                        <a:gd name="T63" fmla="*/ 46 h 272"/>
                        <a:gd name="T64" fmla="*/ 19 w 147"/>
                        <a:gd name="T65" fmla="*/ 46 h 272"/>
                        <a:gd name="T66" fmla="*/ 23 w 147"/>
                        <a:gd name="T67" fmla="*/ 45 h 272"/>
                        <a:gd name="T68" fmla="*/ 26 w 147"/>
                        <a:gd name="T69" fmla="*/ 43 h 272"/>
                        <a:gd name="T70" fmla="*/ 26 w 147"/>
                        <a:gd name="T71" fmla="*/ 41 h 272"/>
                        <a:gd name="T72" fmla="*/ 24 w 147"/>
                        <a:gd name="T73" fmla="*/ 37 h 272"/>
                        <a:gd name="T74" fmla="*/ 23 w 147"/>
                        <a:gd name="T75" fmla="*/ 34 h 272"/>
                        <a:gd name="T76" fmla="*/ 20 w 147"/>
                        <a:gd name="T77" fmla="*/ 27 h 272"/>
                        <a:gd name="T78" fmla="*/ 17 w 147"/>
                        <a:gd name="T79" fmla="*/ 24 h 272"/>
                        <a:gd name="T80" fmla="*/ 18 w 147"/>
                        <a:gd name="T81" fmla="*/ 22 h 272"/>
                        <a:gd name="T82" fmla="*/ 19 w 147"/>
                        <a:gd name="T83" fmla="*/ 16 h 272"/>
                        <a:gd name="T84" fmla="*/ 11 w 147"/>
                        <a:gd name="T85" fmla="*/ 16 h 272"/>
                        <a:gd name="T86" fmla="*/ 13 w 147"/>
                        <a:gd name="T87" fmla="*/ 14 h 272"/>
                        <a:gd name="T88" fmla="*/ 15 w 147"/>
                        <a:gd name="T89" fmla="*/ 9 h 272"/>
                        <a:gd name="T90" fmla="*/ 15 w 147"/>
                        <a:gd name="T91" fmla="*/ 9 h 272"/>
                        <a:gd name="T92" fmla="*/ 21 w 147"/>
                        <a:gd name="T93" fmla="*/ 9 h 272"/>
                        <a:gd name="T94" fmla="*/ 20 w 147"/>
                        <a:gd name="T95" fmla="*/ 9 h 272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w 147"/>
                        <a:gd name="T145" fmla="*/ 0 h 272"/>
                        <a:gd name="T146" fmla="*/ 147 w 147"/>
                        <a:gd name="T147" fmla="*/ 272 h 272"/>
                      </a:gdLst>
                      <a:ahLst/>
                      <a:cxnLst>
                        <a:cxn ang="T96">
                          <a:pos x="T0" y="T1"/>
                        </a:cxn>
                        <a:cxn ang="T97">
                          <a:pos x="T2" y="T3"/>
                        </a:cxn>
                        <a:cxn ang="T98">
                          <a:pos x="T4" y="T5"/>
                        </a:cxn>
                        <a:cxn ang="T99">
                          <a:pos x="T6" y="T7"/>
                        </a:cxn>
                        <a:cxn ang="T100">
                          <a:pos x="T8" y="T9"/>
                        </a:cxn>
                        <a:cxn ang="T101">
                          <a:pos x="T10" y="T11"/>
                        </a:cxn>
                        <a:cxn ang="T102">
                          <a:pos x="T12" y="T13"/>
                        </a:cxn>
                        <a:cxn ang="T103">
                          <a:pos x="T14" y="T15"/>
                        </a:cxn>
                        <a:cxn ang="T104">
                          <a:pos x="T16" y="T17"/>
                        </a:cxn>
                        <a:cxn ang="T105">
                          <a:pos x="T18" y="T19"/>
                        </a:cxn>
                        <a:cxn ang="T106">
                          <a:pos x="T20" y="T21"/>
                        </a:cxn>
                        <a:cxn ang="T107">
                          <a:pos x="T22" y="T23"/>
                        </a:cxn>
                        <a:cxn ang="T108">
                          <a:pos x="T24" y="T25"/>
                        </a:cxn>
                        <a:cxn ang="T109">
                          <a:pos x="T26" y="T27"/>
                        </a:cxn>
                        <a:cxn ang="T110">
                          <a:pos x="T28" y="T29"/>
                        </a:cxn>
                        <a:cxn ang="T111">
                          <a:pos x="T30" y="T31"/>
                        </a:cxn>
                        <a:cxn ang="T112">
                          <a:pos x="T32" y="T33"/>
                        </a:cxn>
                        <a:cxn ang="T113">
                          <a:pos x="T34" y="T35"/>
                        </a:cxn>
                        <a:cxn ang="T114">
                          <a:pos x="T36" y="T37"/>
                        </a:cxn>
                        <a:cxn ang="T115">
                          <a:pos x="T38" y="T39"/>
                        </a:cxn>
                        <a:cxn ang="T116">
                          <a:pos x="T40" y="T41"/>
                        </a:cxn>
                        <a:cxn ang="T117">
                          <a:pos x="T42" y="T43"/>
                        </a:cxn>
                        <a:cxn ang="T118">
                          <a:pos x="T44" y="T45"/>
                        </a:cxn>
                        <a:cxn ang="T119">
                          <a:pos x="T46" y="T47"/>
                        </a:cxn>
                        <a:cxn ang="T120">
                          <a:pos x="T48" y="T49"/>
                        </a:cxn>
                        <a:cxn ang="T121">
                          <a:pos x="T50" y="T51"/>
                        </a:cxn>
                        <a:cxn ang="T122">
                          <a:pos x="T52" y="T53"/>
                        </a:cxn>
                        <a:cxn ang="T123">
                          <a:pos x="T54" y="T55"/>
                        </a:cxn>
                        <a:cxn ang="T124">
                          <a:pos x="T56" y="T57"/>
                        </a:cxn>
                        <a:cxn ang="T125">
                          <a:pos x="T58" y="T59"/>
                        </a:cxn>
                        <a:cxn ang="T126">
                          <a:pos x="T60" y="T61"/>
                        </a:cxn>
                        <a:cxn ang="T127">
                          <a:pos x="T62" y="T63"/>
                        </a:cxn>
                        <a:cxn ang="T128">
                          <a:pos x="T64" y="T65"/>
                        </a:cxn>
                        <a:cxn ang="T129">
                          <a:pos x="T66" y="T67"/>
                        </a:cxn>
                        <a:cxn ang="T130">
                          <a:pos x="T68" y="T69"/>
                        </a:cxn>
                        <a:cxn ang="T131">
                          <a:pos x="T70" y="T71"/>
                        </a:cxn>
                        <a:cxn ang="T132">
                          <a:pos x="T72" y="T73"/>
                        </a:cxn>
                        <a:cxn ang="T133">
                          <a:pos x="T74" y="T75"/>
                        </a:cxn>
                        <a:cxn ang="T134">
                          <a:pos x="T76" y="T77"/>
                        </a:cxn>
                        <a:cxn ang="T135">
                          <a:pos x="T78" y="T79"/>
                        </a:cxn>
                        <a:cxn ang="T136">
                          <a:pos x="T80" y="T81"/>
                        </a:cxn>
                        <a:cxn ang="T137">
                          <a:pos x="T82" y="T83"/>
                        </a:cxn>
                        <a:cxn ang="T138">
                          <a:pos x="T84" y="T85"/>
                        </a:cxn>
                        <a:cxn ang="T139">
                          <a:pos x="T86" y="T87"/>
                        </a:cxn>
                        <a:cxn ang="T140">
                          <a:pos x="T88" y="T89"/>
                        </a:cxn>
                        <a:cxn ang="T141">
                          <a:pos x="T90" y="T91"/>
                        </a:cxn>
                        <a:cxn ang="T142">
                          <a:pos x="T92" y="T93"/>
                        </a:cxn>
                        <a:cxn ang="T143">
                          <a:pos x="T94" y="T95"/>
                        </a:cxn>
                      </a:cxnLst>
                      <a:rect l="T144" t="T145" r="T146" b="T147"/>
                      <a:pathLst>
                        <a:path w="147" h="272">
                          <a:moveTo>
                            <a:pt x="13" y="98"/>
                          </a:moveTo>
                          <a:lnTo>
                            <a:pt x="18" y="93"/>
                          </a:lnTo>
                          <a:lnTo>
                            <a:pt x="22" y="76"/>
                          </a:lnTo>
                          <a:lnTo>
                            <a:pt x="22" y="71"/>
                          </a:lnTo>
                          <a:lnTo>
                            <a:pt x="27" y="67"/>
                          </a:lnTo>
                          <a:lnTo>
                            <a:pt x="31" y="58"/>
                          </a:lnTo>
                          <a:lnTo>
                            <a:pt x="31" y="53"/>
                          </a:lnTo>
                          <a:lnTo>
                            <a:pt x="22" y="58"/>
                          </a:lnTo>
                          <a:lnTo>
                            <a:pt x="18" y="76"/>
                          </a:lnTo>
                          <a:lnTo>
                            <a:pt x="13" y="76"/>
                          </a:lnTo>
                          <a:lnTo>
                            <a:pt x="18" y="80"/>
                          </a:lnTo>
                          <a:lnTo>
                            <a:pt x="13" y="98"/>
                          </a:lnTo>
                          <a:close/>
                          <a:moveTo>
                            <a:pt x="27" y="169"/>
                          </a:moveTo>
                          <a:lnTo>
                            <a:pt x="22" y="169"/>
                          </a:lnTo>
                          <a:lnTo>
                            <a:pt x="13" y="165"/>
                          </a:lnTo>
                          <a:lnTo>
                            <a:pt x="13" y="174"/>
                          </a:lnTo>
                          <a:lnTo>
                            <a:pt x="0" y="169"/>
                          </a:lnTo>
                          <a:lnTo>
                            <a:pt x="0" y="165"/>
                          </a:lnTo>
                          <a:lnTo>
                            <a:pt x="4" y="156"/>
                          </a:lnTo>
                          <a:lnTo>
                            <a:pt x="9" y="156"/>
                          </a:lnTo>
                          <a:lnTo>
                            <a:pt x="13" y="151"/>
                          </a:lnTo>
                          <a:lnTo>
                            <a:pt x="18" y="143"/>
                          </a:lnTo>
                          <a:lnTo>
                            <a:pt x="22" y="143"/>
                          </a:lnTo>
                          <a:lnTo>
                            <a:pt x="31" y="143"/>
                          </a:lnTo>
                          <a:lnTo>
                            <a:pt x="36" y="151"/>
                          </a:lnTo>
                          <a:lnTo>
                            <a:pt x="31" y="156"/>
                          </a:lnTo>
                          <a:lnTo>
                            <a:pt x="36" y="156"/>
                          </a:lnTo>
                          <a:lnTo>
                            <a:pt x="40" y="160"/>
                          </a:lnTo>
                          <a:lnTo>
                            <a:pt x="36" y="165"/>
                          </a:lnTo>
                          <a:lnTo>
                            <a:pt x="27" y="169"/>
                          </a:lnTo>
                          <a:close/>
                          <a:moveTo>
                            <a:pt x="36" y="89"/>
                          </a:moveTo>
                          <a:lnTo>
                            <a:pt x="31" y="84"/>
                          </a:lnTo>
                          <a:lnTo>
                            <a:pt x="31" y="80"/>
                          </a:lnTo>
                          <a:lnTo>
                            <a:pt x="27" y="76"/>
                          </a:lnTo>
                          <a:lnTo>
                            <a:pt x="27" y="80"/>
                          </a:lnTo>
                          <a:lnTo>
                            <a:pt x="22" y="89"/>
                          </a:lnTo>
                          <a:lnTo>
                            <a:pt x="27" y="89"/>
                          </a:lnTo>
                          <a:lnTo>
                            <a:pt x="27" y="93"/>
                          </a:lnTo>
                          <a:lnTo>
                            <a:pt x="31" y="93"/>
                          </a:lnTo>
                          <a:lnTo>
                            <a:pt x="36" y="89"/>
                          </a:lnTo>
                          <a:close/>
                          <a:moveTo>
                            <a:pt x="62" y="71"/>
                          </a:moveTo>
                          <a:lnTo>
                            <a:pt x="76" y="58"/>
                          </a:lnTo>
                          <a:lnTo>
                            <a:pt x="76" y="49"/>
                          </a:lnTo>
                          <a:lnTo>
                            <a:pt x="58" y="53"/>
                          </a:lnTo>
                          <a:lnTo>
                            <a:pt x="49" y="49"/>
                          </a:lnTo>
                          <a:lnTo>
                            <a:pt x="45" y="62"/>
                          </a:lnTo>
                          <a:lnTo>
                            <a:pt x="40" y="67"/>
                          </a:lnTo>
                          <a:lnTo>
                            <a:pt x="36" y="71"/>
                          </a:lnTo>
                          <a:lnTo>
                            <a:pt x="36" y="84"/>
                          </a:lnTo>
                          <a:lnTo>
                            <a:pt x="36" y="98"/>
                          </a:lnTo>
                          <a:lnTo>
                            <a:pt x="36" y="102"/>
                          </a:lnTo>
                          <a:lnTo>
                            <a:pt x="36" y="107"/>
                          </a:lnTo>
                          <a:lnTo>
                            <a:pt x="31" y="107"/>
                          </a:lnTo>
                          <a:lnTo>
                            <a:pt x="27" y="107"/>
                          </a:lnTo>
                          <a:lnTo>
                            <a:pt x="31" y="111"/>
                          </a:lnTo>
                          <a:lnTo>
                            <a:pt x="27" y="111"/>
                          </a:lnTo>
                          <a:lnTo>
                            <a:pt x="27" y="116"/>
                          </a:lnTo>
                          <a:lnTo>
                            <a:pt x="36" y="111"/>
                          </a:lnTo>
                          <a:lnTo>
                            <a:pt x="45" y="102"/>
                          </a:lnTo>
                          <a:lnTo>
                            <a:pt x="49" y="102"/>
                          </a:lnTo>
                          <a:lnTo>
                            <a:pt x="36" y="120"/>
                          </a:lnTo>
                          <a:lnTo>
                            <a:pt x="31" y="125"/>
                          </a:lnTo>
                          <a:lnTo>
                            <a:pt x="36" y="125"/>
                          </a:lnTo>
                          <a:lnTo>
                            <a:pt x="40" y="134"/>
                          </a:lnTo>
                          <a:lnTo>
                            <a:pt x="40" y="138"/>
                          </a:lnTo>
                          <a:lnTo>
                            <a:pt x="45" y="138"/>
                          </a:lnTo>
                          <a:lnTo>
                            <a:pt x="45" y="134"/>
                          </a:lnTo>
                          <a:lnTo>
                            <a:pt x="49" y="134"/>
                          </a:lnTo>
                          <a:lnTo>
                            <a:pt x="45" y="125"/>
                          </a:lnTo>
                          <a:lnTo>
                            <a:pt x="49" y="125"/>
                          </a:lnTo>
                          <a:lnTo>
                            <a:pt x="49" y="134"/>
                          </a:lnTo>
                          <a:lnTo>
                            <a:pt x="54" y="134"/>
                          </a:lnTo>
                          <a:lnTo>
                            <a:pt x="54" y="143"/>
                          </a:lnTo>
                          <a:lnTo>
                            <a:pt x="49" y="151"/>
                          </a:lnTo>
                          <a:lnTo>
                            <a:pt x="54" y="160"/>
                          </a:lnTo>
                          <a:lnTo>
                            <a:pt x="54" y="156"/>
                          </a:lnTo>
                          <a:lnTo>
                            <a:pt x="58" y="156"/>
                          </a:lnTo>
                          <a:lnTo>
                            <a:pt x="62" y="156"/>
                          </a:lnTo>
                          <a:lnTo>
                            <a:pt x="58" y="151"/>
                          </a:lnTo>
                          <a:lnTo>
                            <a:pt x="67" y="156"/>
                          </a:lnTo>
                          <a:lnTo>
                            <a:pt x="71" y="151"/>
                          </a:lnTo>
                          <a:lnTo>
                            <a:pt x="80" y="151"/>
                          </a:lnTo>
                          <a:lnTo>
                            <a:pt x="76" y="156"/>
                          </a:lnTo>
                          <a:lnTo>
                            <a:pt x="71" y="160"/>
                          </a:lnTo>
                          <a:lnTo>
                            <a:pt x="76" y="174"/>
                          </a:lnTo>
                          <a:lnTo>
                            <a:pt x="80" y="169"/>
                          </a:lnTo>
                          <a:lnTo>
                            <a:pt x="85" y="169"/>
                          </a:lnTo>
                          <a:lnTo>
                            <a:pt x="76" y="174"/>
                          </a:lnTo>
                          <a:lnTo>
                            <a:pt x="76" y="183"/>
                          </a:lnTo>
                          <a:lnTo>
                            <a:pt x="80" y="187"/>
                          </a:lnTo>
                          <a:lnTo>
                            <a:pt x="62" y="187"/>
                          </a:lnTo>
                          <a:lnTo>
                            <a:pt x="58" y="187"/>
                          </a:lnTo>
                          <a:lnTo>
                            <a:pt x="54" y="187"/>
                          </a:lnTo>
                          <a:lnTo>
                            <a:pt x="58" y="192"/>
                          </a:lnTo>
                          <a:lnTo>
                            <a:pt x="54" y="201"/>
                          </a:lnTo>
                          <a:lnTo>
                            <a:pt x="62" y="196"/>
                          </a:lnTo>
                          <a:lnTo>
                            <a:pt x="67" y="196"/>
                          </a:lnTo>
                          <a:lnTo>
                            <a:pt x="67" y="205"/>
                          </a:lnTo>
                          <a:lnTo>
                            <a:pt x="67" y="210"/>
                          </a:lnTo>
                          <a:lnTo>
                            <a:pt x="62" y="219"/>
                          </a:lnTo>
                          <a:lnTo>
                            <a:pt x="45" y="223"/>
                          </a:lnTo>
                          <a:lnTo>
                            <a:pt x="49" y="232"/>
                          </a:lnTo>
                          <a:lnTo>
                            <a:pt x="58" y="223"/>
                          </a:lnTo>
                          <a:lnTo>
                            <a:pt x="62" y="232"/>
                          </a:lnTo>
                          <a:lnTo>
                            <a:pt x="67" y="232"/>
                          </a:lnTo>
                          <a:lnTo>
                            <a:pt x="71" y="232"/>
                          </a:lnTo>
                          <a:lnTo>
                            <a:pt x="76" y="227"/>
                          </a:lnTo>
                          <a:lnTo>
                            <a:pt x="80" y="227"/>
                          </a:lnTo>
                          <a:lnTo>
                            <a:pt x="76" y="236"/>
                          </a:lnTo>
                          <a:lnTo>
                            <a:pt x="62" y="241"/>
                          </a:lnTo>
                          <a:lnTo>
                            <a:pt x="58" y="245"/>
                          </a:lnTo>
                          <a:lnTo>
                            <a:pt x="54" y="250"/>
                          </a:lnTo>
                          <a:lnTo>
                            <a:pt x="49" y="254"/>
                          </a:lnTo>
                          <a:lnTo>
                            <a:pt x="45" y="259"/>
                          </a:lnTo>
                          <a:lnTo>
                            <a:pt x="40" y="263"/>
                          </a:lnTo>
                          <a:lnTo>
                            <a:pt x="36" y="268"/>
                          </a:lnTo>
                          <a:lnTo>
                            <a:pt x="40" y="268"/>
                          </a:lnTo>
                          <a:lnTo>
                            <a:pt x="45" y="268"/>
                          </a:lnTo>
                          <a:lnTo>
                            <a:pt x="45" y="272"/>
                          </a:lnTo>
                          <a:lnTo>
                            <a:pt x="49" y="263"/>
                          </a:lnTo>
                          <a:lnTo>
                            <a:pt x="58" y="259"/>
                          </a:lnTo>
                          <a:lnTo>
                            <a:pt x="71" y="263"/>
                          </a:lnTo>
                          <a:lnTo>
                            <a:pt x="71" y="254"/>
                          </a:lnTo>
                          <a:lnTo>
                            <a:pt x="85" y="250"/>
                          </a:lnTo>
                          <a:lnTo>
                            <a:pt x="89" y="254"/>
                          </a:lnTo>
                          <a:lnTo>
                            <a:pt x="89" y="259"/>
                          </a:lnTo>
                          <a:lnTo>
                            <a:pt x="94" y="254"/>
                          </a:lnTo>
                          <a:lnTo>
                            <a:pt x="98" y="254"/>
                          </a:lnTo>
                          <a:lnTo>
                            <a:pt x="103" y="254"/>
                          </a:lnTo>
                          <a:lnTo>
                            <a:pt x="103" y="250"/>
                          </a:lnTo>
                          <a:lnTo>
                            <a:pt x="112" y="254"/>
                          </a:lnTo>
                          <a:lnTo>
                            <a:pt x="121" y="250"/>
                          </a:lnTo>
                          <a:lnTo>
                            <a:pt x="125" y="250"/>
                          </a:lnTo>
                          <a:lnTo>
                            <a:pt x="138" y="250"/>
                          </a:lnTo>
                          <a:lnTo>
                            <a:pt x="143" y="241"/>
                          </a:lnTo>
                          <a:lnTo>
                            <a:pt x="143" y="232"/>
                          </a:lnTo>
                          <a:lnTo>
                            <a:pt x="134" y="232"/>
                          </a:lnTo>
                          <a:lnTo>
                            <a:pt x="129" y="232"/>
                          </a:lnTo>
                          <a:lnTo>
                            <a:pt x="138" y="223"/>
                          </a:lnTo>
                          <a:lnTo>
                            <a:pt x="143" y="223"/>
                          </a:lnTo>
                          <a:lnTo>
                            <a:pt x="147" y="214"/>
                          </a:lnTo>
                          <a:lnTo>
                            <a:pt x="147" y="205"/>
                          </a:lnTo>
                          <a:lnTo>
                            <a:pt x="143" y="201"/>
                          </a:lnTo>
                          <a:lnTo>
                            <a:pt x="129" y="201"/>
                          </a:lnTo>
                          <a:lnTo>
                            <a:pt x="125" y="205"/>
                          </a:lnTo>
                          <a:lnTo>
                            <a:pt x="121" y="201"/>
                          </a:lnTo>
                          <a:lnTo>
                            <a:pt x="125" y="192"/>
                          </a:lnTo>
                          <a:lnTo>
                            <a:pt x="121" y="183"/>
                          </a:lnTo>
                          <a:lnTo>
                            <a:pt x="121" y="178"/>
                          </a:lnTo>
                          <a:lnTo>
                            <a:pt x="112" y="160"/>
                          </a:lnTo>
                          <a:lnTo>
                            <a:pt x="107" y="160"/>
                          </a:lnTo>
                          <a:lnTo>
                            <a:pt x="103" y="151"/>
                          </a:lnTo>
                          <a:lnTo>
                            <a:pt x="103" y="147"/>
                          </a:lnTo>
                          <a:lnTo>
                            <a:pt x="98" y="134"/>
                          </a:lnTo>
                          <a:lnTo>
                            <a:pt x="94" y="129"/>
                          </a:lnTo>
                          <a:lnTo>
                            <a:pt x="85" y="125"/>
                          </a:lnTo>
                          <a:lnTo>
                            <a:pt x="76" y="125"/>
                          </a:lnTo>
                          <a:lnTo>
                            <a:pt x="80" y="116"/>
                          </a:lnTo>
                          <a:lnTo>
                            <a:pt x="85" y="120"/>
                          </a:lnTo>
                          <a:lnTo>
                            <a:pt x="89" y="111"/>
                          </a:lnTo>
                          <a:lnTo>
                            <a:pt x="85" y="116"/>
                          </a:lnTo>
                          <a:lnTo>
                            <a:pt x="85" y="107"/>
                          </a:lnTo>
                          <a:lnTo>
                            <a:pt x="85" y="98"/>
                          </a:lnTo>
                          <a:lnTo>
                            <a:pt x="98" y="80"/>
                          </a:lnTo>
                          <a:lnTo>
                            <a:pt x="98" y="76"/>
                          </a:lnTo>
                          <a:lnTo>
                            <a:pt x="89" y="80"/>
                          </a:lnTo>
                          <a:lnTo>
                            <a:pt x="71" y="76"/>
                          </a:lnTo>
                          <a:lnTo>
                            <a:pt x="62" y="80"/>
                          </a:lnTo>
                          <a:lnTo>
                            <a:pt x="58" y="84"/>
                          </a:lnTo>
                          <a:lnTo>
                            <a:pt x="62" y="76"/>
                          </a:lnTo>
                          <a:lnTo>
                            <a:pt x="67" y="71"/>
                          </a:lnTo>
                          <a:lnTo>
                            <a:pt x="62" y="71"/>
                          </a:lnTo>
                          <a:close/>
                          <a:moveTo>
                            <a:pt x="71" y="35"/>
                          </a:moveTo>
                          <a:lnTo>
                            <a:pt x="71" y="44"/>
                          </a:lnTo>
                          <a:lnTo>
                            <a:pt x="76" y="44"/>
                          </a:lnTo>
                          <a:lnTo>
                            <a:pt x="76" y="40"/>
                          </a:lnTo>
                          <a:lnTo>
                            <a:pt x="80" y="44"/>
                          </a:lnTo>
                          <a:lnTo>
                            <a:pt x="80" y="40"/>
                          </a:lnTo>
                          <a:lnTo>
                            <a:pt x="76" y="40"/>
                          </a:lnTo>
                          <a:lnTo>
                            <a:pt x="80" y="31"/>
                          </a:lnTo>
                          <a:lnTo>
                            <a:pt x="71" y="35"/>
                          </a:lnTo>
                          <a:close/>
                          <a:moveTo>
                            <a:pt x="103" y="17"/>
                          </a:moveTo>
                          <a:lnTo>
                            <a:pt x="107" y="13"/>
                          </a:lnTo>
                          <a:lnTo>
                            <a:pt x="103" y="0"/>
                          </a:lnTo>
                          <a:lnTo>
                            <a:pt x="98" y="8"/>
                          </a:lnTo>
                          <a:lnTo>
                            <a:pt x="103" y="8"/>
                          </a:lnTo>
                          <a:lnTo>
                            <a:pt x="103" y="17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8" name="Freeform 216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28" y="1913"/>
                      <a:ext cx="63" cy="79"/>
                    </a:xfrm>
                    <a:custGeom>
                      <a:avLst/>
                      <a:gdLst>
                        <a:gd name="T0" fmla="*/ 0 w 67"/>
                        <a:gd name="T1" fmla="*/ 10 h 84"/>
                        <a:gd name="T2" fmla="*/ 0 w 67"/>
                        <a:gd name="T3" fmla="*/ 10 h 84"/>
                        <a:gd name="T4" fmla="*/ 0 w 67"/>
                        <a:gd name="T5" fmla="*/ 10 h 84"/>
                        <a:gd name="T6" fmla="*/ 0 w 67"/>
                        <a:gd name="T7" fmla="*/ 9 h 84"/>
                        <a:gd name="T8" fmla="*/ 0 w 67"/>
                        <a:gd name="T9" fmla="*/ 9 h 84"/>
                        <a:gd name="T10" fmla="*/ 0 w 67"/>
                        <a:gd name="T11" fmla="*/ 8 h 84"/>
                        <a:gd name="T12" fmla="*/ 5 w 67"/>
                        <a:gd name="T13" fmla="*/ 8 h 84"/>
                        <a:gd name="T14" fmla="*/ 5 w 67"/>
                        <a:gd name="T15" fmla="*/ 8 h 84"/>
                        <a:gd name="T16" fmla="*/ 5 w 67"/>
                        <a:gd name="T17" fmla="*/ 8 h 84"/>
                        <a:gd name="T18" fmla="*/ 5 w 67"/>
                        <a:gd name="T19" fmla="*/ 8 h 84"/>
                        <a:gd name="T20" fmla="*/ 8 w 67"/>
                        <a:gd name="T21" fmla="*/ 8 h 84"/>
                        <a:gd name="T22" fmla="*/ 8 w 67"/>
                        <a:gd name="T23" fmla="*/ 8 h 84"/>
                        <a:gd name="T24" fmla="*/ 8 w 67"/>
                        <a:gd name="T25" fmla="*/ 8 h 84"/>
                        <a:gd name="T26" fmla="*/ 8 w 67"/>
                        <a:gd name="T27" fmla="*/ 8 h 84"/>
                        <a:gd name="T28" fmla="*/ 8 w 67"/>
                        <a:gd name="T29" fmla="*/ 8 h 84"/>
                        <a:gd name="T30" fmla="*/ 5 w 67"/>
                        <a:gd name="T31" fmla="*/ 8 h 84"/>
                        <a:gd name="T32" fmla="*/ 5 w 67"/>
                        <a:gd name="T33" fmla="*/ 8 h 84"/>
                        <a:gd name="T34" fmla="*/ 8 w 67"/>
                        <a:gd name="T35" fmla="*/ 8 h 84"/>
                        <a:gd name="T36" fmla="*/ 8 w 67"/>
                        <a:gd name="T37" fmla="*/ 8 h 84"/>
                        <a:gd name="T38" fmla="*/ 5 w 67"/>
                        <a:gd name="T39" fmla="*/ 8 h 84"/>
                        <a:gd name="T40" fmla="*/ 5 w 67"/>
                        <a:gd name="T41" fmla="*/ 8 h 84"/>
                        <a:gd name="T42" fmla="*/ 8 w 67"/>
                        <a:gd name="T43" fmla="*/ 8 h 84"/>
                        <a:gd name="T44" fmla="*/ 8 w 67"/>
                        <a:gd name="T45" fmla="*/ 8 h 84"/>
                        <a:gd name="T46" fmla="*/ 5 w 67"/>
                        <a:gd name="T47" fmla="*/ 8 h 84"/>
                        <a:gd name="T48" fmla="*/ 5 w 67"/>
                        <a:gd name="T49" fmla="*/ 8 h 84"/>
                        <a:gd name="T50" fmla="*/ 5 w 67"/>
                        <a:gd name="T51" fmla="*/ 8 h 84"/>
                        <a:gd name="T52" fmla="*/ 5 w 67"/>
                        <a:gd name="T53" fmla="*/ 8 h 84"/>
                        <a:gd name="T54" fmla="*/ 5 w 67"/>
                        <a:gd name="T55" fmla="*/ 4 h 84"/>
                        <a:gd name="T56" fmla="*/ 0 w 67"/>
                        <a:gd name="T57" fmla="*/ 4 h 84"/>
                        <a:gd name="T58" fmla="*/ 8 w 67"/>
                        <a:gd name="T59" fmla="*/ 0 h 84"/>
                        <a:gd name="T60" fmla="*/ 8 w 67"/>
                        <a:gd name="T61" fmla="*/ 0 h 84"/>
                        <a:gd name="T62" fmla="*/ 8 w 67"/>
                        <a:gd name="T63" fmla="*/ 8 h 84"/>
                        <a:gd name="T64" fmla="*/ 8 w 67"/>
                        <a:gd name="T65" fmla="*/ 8 h 84"/>
                        <a:gd name="T66" fmla="*/ 8 w 67"/>
                        <a:gd name="T67" fmla="*/ 8 h 84"/>
                        <a:gd name="T68" fmla="*/ 8 w 67"/>
                        <a:gd name="T69" fmla="*/ 8 h 84"/>
                        <a:gd name="T70" fmla="*/ 8 w 67"/>
                        <a:gd name="T71" fmla="*/ 8 h 84"/>
                        <a:gd name="T72" fmla="*/ 8 w 67"/>
                        <a:gd name="T73" fmla="*/ 8 h 84"/>
                        <a:gd name="T74" fmla="*/ 8 w 67"/>
                        <a:gd name="T75" fmla="*/ 8 h 84"/>
                        <a:gd name="T76" fmla="*/ 8 w 67"/>
                        <a:gd name="T77" fmla="*/ 8 h 84"/>
                        <a:gd name="T78" fmla="*/ 10 w 67"/>
                        <a:gd name="T79" fmla="*/ 9 h 84"/>
                        <a:gd name="T80" fmla="*/ 10 w 67"/>
                        <a:gd name="T81" fmla="*/ 10 h 84"/>
                        <a:gd name="T82" fmla="*/ 8 w 67"/>
                        <a:gd name="T83" fmla="*/ 11 h 84"/>
                        <a:gd name="T84" fmla="*/ 8 w 67"/>
                        <a:gd name="T85" fmla="*/ 13 h 84"/>
                        <a:gd name="T86" fmla="*/ 8 w 67"/>
                        <a:gd name="T87" fmla="*/ 12 h 84"/>
                        <a:gd name="T88" fmla="*/ 8 w 67"/>
                        <a:gd name="T89" fmla="*/ 13 h 84"/>
                        <a:gd name="T90" fmla="*/ 8 w 67"/>
                        <a:gd name="T91" fmla="*/ 13 h 84"/>
                        <a:gd name="T92" fmla="*/ 8 w 67"/>
                        <a:gd name="T93" fmla="*/ 14 h 84"/>
                        <a:gd name="T94" fmla="*/ 8 w 67"/>
                        <a:gd name="T95" fmla="*/ 14 h 84"/>
                        <a:gd name="T96" fmla="*/ 8 w 67"/>
                        <a:gd name="T97" fmla="*/ 12 h 84"/>
                        <a:gd name="T98" fmla="*/ 8 w 67"/>
                        <a:gd name="T99" fmla="*/ 11 h 84"/>
                        <a:gd name="T100" fmla="*/ 8 w 67"/>
                        <a:gd name="T101" fmla="*/ 14 h 84"/>
                        <a:gd name="T102" fmla="*/ 8 w 67"/>
                        <a:gd name="T103" fmla="*/ 14 h 84"/>
                        <a:gd name="T104" fmla="*/ 0 w 67"/>
                        <a:gd name="T105" fmla="*/ 11 h 84"/>
                        <a:gd name="T106" fmla="*/ 0 w 67"/>
                        <a:gd name="T107" fmla="*/ 11 h 84"/>
                        <a:gd name="T108" fmla="*/ 0 w 67"/>
                        <a:gd name="T109" fmla="*/ 10 h 84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w 67"/>
                        <a:gd name="T166" fmla="*/ 0 h 84"/>
                        <a:gd name="T167" fmla="*/ 67 w 67"/>
                        <a:gd name="T168" fmla="*/ 84 h 84"/>
                      </a:gdLst>
                      <a:ahLst/>
                      <a:cxnLst>
                        <a:cxn ang="T110">
                          <a:pos x="T0" y="T1"/>
                        </a:cxn>
                        <a:cxn ang="T111">
                          <a:pos x="T2" y="T3"/>
                        </a:cxn>
                        <a:cxn ang="T112">
                          <a:pos x="T4" y="T5"/>
                        </a:cxn>
                        <a:cxn ang="T113">
                          <a:pos x="T6" y="T7"/>
                        </a:cxn>
                        <a:cxn ang="T114">
                          <a:pos x="T8" y="T9"/>
                        </a:cxn>
                        <a:cxn ang="T115">
                          <a:pos x="T10" y="T11"/>
                        </a:cxn>
                        <a:cxn ang="T116">
                          <a:pos x="T12" y="T13"/>
                        </a:cxn>
                        <a:cxn ang="T117">
                          <a:pos x="T14" y="T15"/>
                        </a:cxn>
                        <a:cxn ang="T118">
                          <a:pos x="T16" y="T17"/>
                        </a:cxn>
                        <a:cxn ang="T119">
                          <a:pos x="T18" y="T19"/>
                        </a:cxn>
                        <a:cxn ang="T120">
                          <a:pos x="T20" y="T21"/>
                        </a:cxn>
                        <a:cxn ang="T121">
                          <a:pos x="T22" y="T23"/>
                        </a:cxn>
                        <a:cxn ang="T122">
                          <a:pos x="T24" y="T25"/>
                        </a:cxn>
                        <a:cxn ang="T123">
                          <a:pos x="T26" y="T27"/>
                        </a:cxn>
                        <a:cxn ang="T124">
                          <a:pos x="T28" y="T29"/>
                        </a:cxn>
                        <a:cxn ang="T125">
                          <a:pos x="T30" y="T31"/>
                        </a:cxn>
                        <a:cxn ang="T126">
                          <a:pos x="T32" y="T33"/>
                        </a:cxn>
                        <a:cxn ang="T127">
                          <a:pos x="T34" y="T35"/>
                        </a:cxn>
                        <a:cxn ang="T128">
                          <a:pos x="T36" y="T37"/>
                        </a:cxn>
                        <a:cxn ang="T129">
                          <a:pos x="T38" y="T39"/>
                        </a:cxn>
                        <a:cxn ang="T130">
                          <a:pos x="T40" y="T41"/>
                        </a:cxn>
                        <a:cxn ang="T131">
                          <a:pos x="T42" y="T43"/>
                        </a:cxn>
                        <a:cxn ang="T132">
                          <a:pos x="T44" y="T45"/>
                        </a:cxn>
                        <a:cxn ang="T133">
                          <a:pos x="T46" y="T47"/>
                        </a:cxn>
                        <a:cxn ang="T134">
                          <a:pos x="T48" y="T49"/>
                        </a:cxn>
                        <a:cxn ang="T135">
                          <a:pos x="T50" y="T51"/>
                        </a:cxn>
                        <a:cxn ang="T136">
                          <a:pos x="T52" y="T53"/>
                        </a:cxn>
                        <a:cxn ang="T137">
                          <a:pos x="T54" y="T55"/>
                        </a:cxn>
                        <a:cxn ang="T138">
                          <a:pos x="T56" y="T57"/>
                        </a:cxn>
                        <a:cxn ang="T139">
                          <a:pos x="T58" y="T59"/>
                        </a:cxn>
                        <a:cxn ang="T140">
                          <a:pos x="T60" y="T61"/>
                        </a:cxn>
                        <a:cxn ang="T141">
                          <a:pos x="T62" y="T63"/>
                        </a:cxn>
                        <a:cxn ang="T142">
                          <a:pos x="T64" y="T65"/>
                        </a:cxn>
                        <a:cxn ang="T143">
                          <a:pos x="T66" y="T67"/>
                        </a:cxn>
                        <a:cxn ang="T144">
                          <a:pos x="T68" y="T69"/>
                        </a:cxn>
                        <a:cxn ang="T145">
                          <a:pos x="T70" y="T71"/>
                        </a:cxn>
                        <a:cxn ang="T146">
                          <a:pos x="T72" y="T73"/>
                        </a:cxn>
                        <a:cxn ang="T147">
                          <a:pos x="T74" y="T75"/>
                        </a:cxn>
                        <a:cxn ang="T148">
                          <a:pos x="T76" y="T77"/>
                        </a:cxn>
                        <a:cxn ang="T149">
                          <a:pos x="T78" y="T79"/>
                        </a:cxn>
                        <a:cxn ang="T150">
                          <a:pos x="T80" y="T81"/>
                        </a:cxn>
                        <a:cxn ang="T151">
                          <a:pos x="T82" y="T83"/>
                        </a:cxn>
                        <a:cxn ang="T152">
                          <a:pos x="T84" y="T85"/>
                        </a:cxn>
                        <a:cxn ang="T153">
                          <a:pos x="T86" y="T87"/>
                        </a:cxn>
                        <a:cxn ang="T154">
                          <a:pos x="T88" y="T89"/>
                        </a:cxn>
                        <a:cxn ang="T155">
                          <a:pos x="T90" y="T91"/>
                        </a:cxn>
                        <a:cxn ang="T156">
                          <a:pos x="T92" y="T93"/>
                        </a:cxn>
                        <a:cxn ang="T157">
                          <a:pos x="T94" y="T95"/>
                        </a:cxn>
                        <a:cxn ang="T158">
                          <a:pos x="T96" y="T97"/>
                        </a:cxn>
                        <a:cxn ang="T159">
                          <a:pos x="T98" y="T99"/>
                        </a:cxn>
                        <a:cxn ang="T160">
                          <a:pos x="T100" y="T101"/>
                        </a:cxn>
                        <a:cxn ang="T161">
                          <a:pos x="T102" y="T103"/>
                        </a:cxn>
                        <a:cxn ang="T162">
                          <a:pos x="T104" y="T105"/>
                        </a:cxn>
                        <a:cxn ang="T163">
                          <a:pos x="T106" y="T107"/>
                        </a:cxn>
                        <a:cxn ang="T164">
                          <a:pos x="T108" y="T109"/>
                        </a:cxn>
                      </a:cxnLst>
                      <a:rect l="T165" t="T166" r="T167" b="T168"/>
                      <a:pathLst>
                        <a:path w="67" h="84">
                          <a:moveTo>
                            <a:pt x="0" y="67"/>
                          </a:moveTo>
                          <a:lnTo>
                            <a:pt x="0" y="67"/>
                          </a:lnTo>
                          <a:lnTo>
                            <a:pt x="0" y="62"/>
                          </a:lnTo>
                          <a:lnTo>
                            <a:pt x="0" y="58"/>
                          </a:lnTo>
                          <a:lnTo>
                            <a:pt x="5" y="53"/>
                          </a:lnTo>
                          <a:lnTo>
                            <a:pt x="5" y="49"/>
                          </a:lnTo>
                          <a:lnTo>
                            <a:pt x="9" y="49"/>
                          </a:lnTo>
                          <a:lnTo>
                            <a:pt x="13" y="44"/>
                          </a:lnTo>
                          <a:lnTo>
                            <a:pt x="9" y="40"/>
                          </a:lnTo>
                          <a:lnTo>
                            <a:pt x="13" y="40"/>
                          </a:lnTo>
                          <a:lnTo>
                            <a:pt x="5" y="35"/>
                          </a:lnTo>
                          <a:lnTo>
                            <a:pt x="5" y="31"/>
                          </a:lnTo>
                          <a:lnTo>
                            <a:pt x="9" y="26"/>
                          </a:lnTo>
                          <a:lnTo>
                            <a:pt x="9" y="22"/>
                          </a:lnTo>
                          <a:lnTo>
                            <a:pt x="5" y="22"/>
                          </a:lnTo>
                          <a:lnTo>
                            <a:pt x="5" y="17"/>
                          </a:lnTo>
                          <a:lnTo>
                            <a:pt x="9" y="17"/>
                          </a:lnTo>
                          <a:lnTo>
                            <a:pt x="9" y="13"/>
                          </a:lnTo>
                          <a:lnTo>
                            <a:pt x="5" y="13"/>
                          </a:lnTo>
                          <a:lnTo>
                            <a:pt x="5" y="9"/>
                          </a:lnTo>
                          <a:lnTo>
                            <a:pt x="5" y="4"/>
                          </a:lnTo>
                          <a:lnTo>
                            <a:pt x="0" y="4"/>
                          </a:lnTo>
                          <a:lnTo>
                            <a:pt x="13" y="0"/>
                          </a:lnTo>
                          <a:lnTo>
                            <a:pt x="27" y="0"/>
                          </a:lnTo>
                          <a:lnTo>
                            <a:pt x="31" y="9"/>
                          </a:lnTo>
                          <a:lnTo>
                            <a:pt x="31" y="17"/>
                          </a:lnTo>
                          <a:lnTo>
                            <a:pt x="40" y="26"/>
                          </a:lnTo>
                          <a:lnTo>
                            <a:pt x="49" y="31"/>
                          </a:lnTo>
                          <a:lnTo>
                            <a:pt x="54" y="31"/>
                          </a:lnTo>
                          <a:lnTo>
                            <a:pt x="54" y="35"/>
                          </a:lnTo>
                          <a:lnTo>
                            <a:pt x="58" y="35"/>
                          </a:lnTo>
                          <a:lnTo>
                            <a:pt x="54" y="53"/>
                          </a:lnTo>
                          <a:lnTo>
                            <a:pt x="67" y="62"/>
                          </a:lnTo>
                          <a:lnTo>
                            <a:pt x="67" y="67"/>
                          </a:lnTo>
                          <a:lnTo>
                            <a:pt x="58" y="71"/>
                          </a:lnTo>
                          <a:lnTo>
                            <a:pt x="58" y="80"/>
                          </a:lnTo>
                          <a:lnTo>
                            <a:pt x="54" y="76"/>
                          </a:lnTo>
                          <a:lnTo>
                            <a:pt x="40" y="80"/>
                          </a:lnTo>
                          <a:lnTo>
                            <a:pt x="31" y="84"/>
                          </a:lnTo>
                          <a:lnTo>
                            <a:pt x="27" y="84"/>
                          </a:lnTo>
                          <a:lnTo>
                            <a:pt x="27" y="76"/>
                          </a:lnTo>
                          <a:lnTo>
                            <a:pt x="18" y="71"/>
                          </a:lnTo>
                          <a:lnTo>
                            <a:pt x="13" y="84"/>
                          </a:lnTo>
                          <a:lnTo>
                            <a:pt x="9" y="84"/>
                          </a:lnTo>
                          <a:lnTo>
                            <a:pt x="0" y="71"/>
                          </a:lnTo>
                          <a:lnTo>
                            <a:pt x="0" y="67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99" name="Freeform 217"/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3028" y="1980"/>
                      <a:ext cx="12" cy="12"/>
                    </a:xfrm>
                    <a:custGeom>
                      <a:avLst/>
                      <a:gdLst>
                        <a:gd name="T0" fmla="*/ 0 w 13"/>
                        <a:gd name="T1" fmla="*/ 0 h 13"/>
                        <a:gd name="T2" fmla="*/ 0 w 13"/>
                        <a:gd name="T3" fmla="*/ 0 h 13"/>
                        <a:gd name="T4" fmla="*/ 6 w 13"/>
                        <a:gd name="T5" fmla="*/ 6 h 13"/>
                        <a:gd name="T6" fmla="*/ 6 w 13"/>
                        <a:gd name="T7" fmla="*/ 6 h 13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0 w 13"/>
                        <a:gd name="T13" fmla="*/ 0 h 13"/>
                        <a:gd name="T14" fmla="*/ 13 w 13"/>
                        <a:gd name="T15" fmla="*/ 13 h 13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13" h="13">
                          <a:moveTo>
                            <a:pt x="0" y="0"/>
                          </a:moveTo>
                          <a:lnTo>
                            <a:pt x="0" y="0"/>
                          </a:lnTo>
                          <a:lnTo>
                            <a:pt x="9" y="13"/>
                          </a:lnTo>
                          <a:lnTo>
                            <a:pt x="13" y="13"/>
                          </a:lnTo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00" name="Freeform 218"/>
                    <p:cNvSpPr>
                      <a:spLocks noChangeAspect="1" noEditPoints="1"/>
                    </p:cNvSpPr>
                    <p:nvPr/>
                  </p:nvSpPr>
                  <p:spPr bwMode="gray">
                    <a:xfrm>
                      <a:off x="2547" y="1959"/>
                      <a:ext cx="299" cy="274"/>
                    </a:xfrm>
                    <a:custGeom>
                      <a:avLst/>
                      <a:gdLst>
                        <a:gd name="T0" fmla="*/ 4 w 317"/>
                        <a:gd name="T1" fmla="*/ 53 h 290"/>
                        <a:gd name="T2" fmla="*/ 8 w 317"/>
                        <a:gd name="T3" fmla="*/ 51 h 290"/>
                        <a:gd name="T4" fmla="*/ 8 w 317"/>
                        <a:gd name="T5" fmla="*/ 52 h 290"/>
                        <a:gd name="T6" fmla="*/ 8 w 317"/>
                        <a:gd name="T7" fmla="*/ 53 h 290"/>
                        <a:gd name="T8" fmla="*/ 8 w 317"/>
                        <a:gd name="T9" fmla="*/ 52 h 290"/>
                        <a:gd name="T10" fmla="*/ 25 w 317"/>
                        <a:gd name="T11" fmla="*/ 24 h 290"/>
                        <a:gd name="T12" fmla="*/ 27 w 317"/>
                        <a:gd name="T13" fmla="*/ 25 h 290"/>
                        <a:gd name="T14" fmla="*/ 30 w 317"/>
                        <a:gd name="T15" fmla="*/ 27 h 290"/>
                        <a:gd name="T16" fmla="*/ 31 w 317"/>
                        <a:gd name="T17" fmla="*/ 26 h 290"/>
                        <a:gd name="T18" fmla="*/ 34 w 317"/>
                        <a:gd name="T19" fmla="*/ 25 h 290"/>
                        <a:gd name="T20" fmla="*/ 36 w 317"/>
                        <a:gd name="T21" fmla="*/ 25 h 290"/>
                        <a:gd name="T22" fmla="*/ 38 w 317"/>
                        <a:gd name="T23" fmla="*/ 25 h 290"/>
                        <a:gd name="T24" fmla="*/ 40 w 317"/>
                        <a:gd name="T25" fmla="*/ 24 h 290"/>
                        <a:gd name="T26" fmla="*/ 42 w 317"/>
                        <a:gd name="T27" fmla="*/ 22 h 290"/>
                        <a:gd name="T28" fmla="*/ 43 w 317"/>
                        <a:gd name="T29" fmla="*/ 19 h 290"/>
                        <a:gd name="T30" fmla="*/ 42 w 317"/>
                        <a:gd name="T31" fmla="*/ 18 h 290"/>
                        <a:gd name="T32" fmla="*/ 45 w 317"/>
                        <a:gd name="T33" fmla="*/ 9 h 290"/>
                        <a:gd name="T34" fmla="*/ 51 w 317"/>
                        <a:gd name="T35" fmla="*/ 9 h 290"/>
                        <a:gd name="T36" fmla="*/ 51 w 317"/>
                        <a:gd name="T37" fmla="*/ 9 h 290"/>
                        <a:gd name="T38" fmla="*/ 51 w 317"/>
                        <a:gd name="T39" fmla="*/ 9 h 290"/>
                        <a:gd name="T40" fmla="*/ 48 w 317"/>
                        <a:gd name="T41" fmla="*/ 9 h 290"/>
                        <a:gd name="T42" fmla="*/ 45 w 317"/>
                        <a:gd name="T43" fmla="*/ 9 h 290"/>
                        <a:gd name="T44" fmla="*/ 42 w 317"/>
                        <a:gd name="T45" fmla="*/ 9 h 290"/>
                        <a:gd name="T46" fmla="*/ 39 w 317"/>
                        <a:gd name="T47" fmla="*/ 4 h 290"/>
                        <a:gd name="T48" fmla="*/ 38 w 317"/>
                        <a:gd name="T49" fmla="*/ 4 h 290"/>
                        <a:gd name="T50" fmla="*/ 35 w 317"/>
                        <a:gd name="T51" fmla="*/ 4 h 290"/>
                        <a:gd name="T52" fmla="*/ 31 w 317"/>
                        <a:gd name="T53" fmla="*/ 4 h 290"/>
                        <a:gd name="T54" fmla="*/ 30 w 317"/>
                        <a:gd name="T55" fmla="*/ 0 h 290"/>
                        <a:gd name="T56" fmla="*/ 26 w 317"/>
                        <a:gd name="T57" fmla="*/ 4 h 290"/>
                        <a:gd name="T58" fmla="*/ 25 w 317"/>
                        <a:gd name="T59" fmla="*/ 0 h 290"/>
                        <a:gd name="T60" fmla="*/ 22 w 317"/>
                        <a:gd name="T61" fmla="*/ 0 h 290"/>
                        <a:gd name="T62" fmla="*/ 21 w 317"/>
                        <a:gd name="T63" fmla="*/ 4 h 290"/>
                        <a:gd name="T64" fmla="*/ 21 w 317"/>
                        <a:gd name="T65" fmla="*/ 9 h 290"/>
                        <a:gd name="T66" fmla="*/ 21 w 317"/>
                        <a:gd name="T67" fmla="*/ 9 h 290"/>
                        <a:gd name="T68" fmla="*/ 21 w 317"/>
                        <a:gd name="T69" fmla="*/ 9 h 290"/>
                        <a:gd name="T70" fmla="*/ 23 w 317"/>
                        <a:gd name="T71" fmla="*/ 9 h 290"/>
                        <a:gd name="T72" fmla="*/ 26 w 317"/>
                        <a:gd name="T73" fmla="*/ 9 h 290"/>
                        <a:gd name="T74" fmla="*/ 26 w 317"/>
                        <a:gd name="T75" fmla="*/ 9 h 290"/>
                        <a:gd name="T76" fmla="*/ 25 w 317"/>
                        <a:gd name="T77" fmla="*/ 14 h 290"/>
                        <a:gd name="T78" fmla="*/ 24 w 317"/>
                        <a:gd name="T79" fmla="*/ 17 h 290"/>
                        <a:gd name="T80" fmla="*/ 25 w 317"/>
                        <a:gd name="T81" fmla="*/ 21 h 290"/>
                        <a:gd name="T82" fmla="*/ 25 w 317"/>
                        <a:gd name="T83" fmla="*/ 22 h 290"/>
                        <a:gd name="T84" fmla="*/ 46 w 317"/>
                        <a:gd name="T85" fmla="*/ 19 h 290"/>
                        <a:gd name="T86" fmla="*/ 46 w 317"/>
                        <a:gd name="T87" fmla="*/ 20 h 290"/>
                        <a:gd name="T88" fmla="*/ 47 w 317"/>
                        <a:gd name="T89" fmla="*/ 20 h 290"/>
                        <a:gd name="T90" fmla="*/ 47 w 317"/>
                        <a:gd name="T91" fmla="*/ 19 h 290"/>
                        <a:gd name="T92" fmla="*/ 50 w 317"/>
                        <a:gd name="T93" fmla="*/ 17 h 290"/>
                        <a:gd name="T94" fmla="*/ 50 w 317"/>
                        <a:gd name="T95" fmla="*/ 18 h 290"/>
                        <a:gd name="T96" fmla="*/ 53 w 317"/>
                        <a:gd name="T97" fmla="*/ 17 h 290"/>
                        <a:gd name="T98" fmla="*/ 52 w 317"/>
                        <a:gd name="T99" fmla="*/ 15 h 290"/>
                        <a:gd name="T100" fmla="*/ 50 w 317"/>
                        <a:gd name="T101" fmla="*/ 16 h 290"/>
                        <a:gd name="T102" fmla="*/ 53 w 317"/>
                        <a:gd name="T103" fmla="*/ 14 h 290"/>
                        <a:gd name="T104" fmla="*/ 55 w 317"/>
                        <a:gd name="T105" fmla="*/ 16 h 290"/>
                        <a:gd name="T106" fmla="*/ 53 w 317"/>
                        <a:gd name="T107" fmla="*/ 14 h 290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w 317"/>
                        <a:gd name="T163" fmla="*/ 0 h 290"/>
                        <a:gd name="T164" fmla="*/ 317 w 317"/>
                        <a:gd name="T165" fmla="*/ 290 h 290"/>
                      </a:gdLst>
                      <a:ahLst/>
                      <a:cxnLst>
                        <a:cxn ang="T108">
                          <a:pos x="T0" y="T1"/>
                        </a:cxn>
                        <a:cxn ang="T109">
                          <a:pos x="T2" y="T3"/>
                        </a:cxn>
                        <a:cxn ang="T110">
                          <a:pos x="T4" y="T5"/>
                        </a:cxn>
                        <a:cxn ang="T111">
                          <a:pos x="T6" y="T7"/>
                        </a:cxn>
                        <a:cxn ang="T112">
                          <a:pos x="T8" y="T9"/>
                        </a:cxn>
                        <a:cxn ang="T113">
                          <a:pos x="T10" y="T11"/>
                        </a:cxn>
                        <a:cxn ang="T114">
                          <a:pos x="T12" y="T13"/>
                        </a:cxn>
                        <a:cxn ang="T115">
                          <a:pos x="T14" y="T15"/>
                        </a:cxn>
                        <a:cxn ang="T116">
                          <a:pos x="T16" y="T17"/>
                        </a:cxn>
                        <a:cxn ang="T117">
                          <a:pos x="T18" y="T19"/>
                        </a:cxn>
                        <a:cxn ang="T118">
                          <a:pos x="T20" y="T21"/>
                        </a:cxn>
                        <a:cxn ang="T119">
                          <a:pos x="T22" y="T23"/>
                        </a:cxn>
                        <a:cxn ang="T120">
                          <a:pos x="T24" y="T25"/>
                        </a:cxn>
                        <a:cxn ang="T121">
                          <a:pos x="T26" y="T27"/>
                        </a:cxn>
                        <a:cxn ang="T122">
                          <a:pos x="T28" y="T29"/>
                        </a:cxn>
                        <a:cxn ang="T123">
                          <a:pos x="T30" y="T31"/>
                        </a:cxn>
                        <a:cxn ang="T124">
                          <a:pos x="T32" y="T33"/>
                        </a:cxn>
                        <a:cxn ang="T125">
                          <a:pos x="T34" y="T35"/>
                        </a:cxn>
                        <a:cxn ang="T126">
                          <a:pos x="T36" y="T37"/>
                        </a:cxn>
                        <a:cxn ang="T127">
                          <a:pos x="T38" y="T39"/>
                        </a:cxn>
                        <a:cxn ang="T128">
                          <a:pos x="T40" y="T41"/>
                        </a:cxn>
                        <a:cxn ang="T129">
                          <a:pos x="T42" y="T43"/>
                        </a:cxn>
                        <a:cxn ang="T130">
                          <a:pos x="T44" y="T45"/>
                        </a:cxn>
                        <a:cxn ang="T131">
                          <a:pos x="T46" y="T47"/>
                        </a:cxn>
                        <a:cxn ang="T132">
                          <a:pos x="T48" y="T49"/>
                        </a:cxn>
                        <a:cxn ang="T133">
                          <a:pos x="T50" y="T51"/>
                        </a:cxn>
                        <a:cxn ang="T134">
                          <a:pos x="T52" y="T53"/>
                        </a:cxn>
                        <a:cxn ang="T135">
                          <a:pos x="T54" y="T55"/>
                        </a:cxn>
                        <a:cxn ang="T136">
                          <a:pos x="T56" y="T57"/>
                        </a:cxn>
                        <a:cxn ang="T137">
                          <a:pos x="T58" y="T59"/>
                        </a:cxn>
                        <a:cxn ang="T138">
                          <a:pos x="T60" y="T61"/>
                        </a:cxn>
                        <a:cxn ang="T139">
                          <a:pos x="T62" y="T63"/>
                        </a:cxn>
                        <a:cxn ang="T140">
                          <a:pos x="T64" y="T65"/>
                        </a:cxn>
                        <a:cxn ang="T141">
                          <a:pos x="T66" y="T67"/>
                        </a:cxn>
                        <a:cxn ang="T142">
                          <a:pos x="T68" y="T69"/>
                        </a:cxn>
                        <a:cxn ang="T143">
                          <a:pos x="T70" y="T71"/>
                        </a:cxn>
                        <a:cxn ang="T144">
                          <a:pos x="T72" y="T73"/>
                        </a:cxn>
                        <a:cxn ang="T145">
                          <a:pos x="T74" y="T75"/>
                        </a:cxn>
                        <a:cxn ang="T146">
                          <a:pos x="T76" y="T77"/>
                        </a:cxn>
                        <a:cxn ang="T147">
                          <a:pos x="T78" y="T79"/>
                        </a:cxn>
                        <a:cxn ang="T148">
                          <a:pos x="T80" y="T81"/>
                        </a:cxn>
                        <a:cxn ang="T149">
                          <a:pos x="T82" y="T83"/>
                        </a:cxn>
                        <a:cxn ang="T150">
                          <a:pos x="T84" y="T85"/>
                        </a:cxn>
                        <a:cxn ang="T151">
                          <a:pos x="T86" y="T87"/>
                        </a:cxn>
                        <a:cxn ang="T152">
                          <a:pos x="T88" y="T89"/>
                        </a:cxn>
                        <a:cxn ang="T153">
                          <a:pos x="T90" y="T91"/>
                        </a:cxn>
                        <a:cxn ang="T154">
                          <a:pos x="T92" y="T93"/>
                        </a:cxn>
                        <a:cxn ang="T155">
                          <a:pos x="T94" y="T95"/>
                        </a:cxn>
                        <a:cxn ang="T156">
                          <a:pos x="T96" y="T97"/>
                        </a:cxn>
                        <a:cxn ang="T157">
                          <a:pos x="T98" y="T99"/>
                        </a:cxn>
                        <a:cxn ang="T158">
                          <a:pos x="T100" y="T101"/>
                        </a:cxn>
                        <a:cxn ang="T159">
                          <a:pos x="T102" y="T103"/>
                        </a:cxn>
                        <a:cxn ang="T160">
                          <a:pos x="T104" y="T105"/>
                        </a:cxn>
                        <a:cxn ang="T161">
                          <a:pos x="T106" y="T107"/>
                        </a:cxn>
                      </a:cxnLst>
                      <a:rect l="T162" t="T163" r="T164" b="T165"/>
                      <a:pathLst>
                        <a:path w="317" h="290">
                          <a:moveTo>
                            <a:pt x="0" y="281"/>
                          </a:moveTo>
                          <a:lnTo>
                            <a:pt x="4" y="290"/>
                          </a:lnTo>
                          <a:lnTo>
                            <a:pt x="13" y="286"/>
                          </a:lnTo>
                          <a:lnTo>
                            <a:pt x="13" y="277"/>
                          </a:lnTo>
                          <a:lnTo>
                            <a:pt x="0" y="281"/>
                          </a:lnTo>
                          <a:close/>
                          <a:moveTo>
                            <a:pt x="22" y="286"/>
                          </a:moveTo>
                          <a:lnTo>
                            <a:pt x="18" y="290"/>
                          </a:lnTo>
                          <a:lnTo>
                            <a:pt x="27" y="290"/>
                          </a:lnTo>
                          <a:lnTo>
                            <a:pt x="27" y="286"/>
                          </a:lnTo>
                          <a:lnTo>
                            <a:pt x="22" y="286"/>
                          </a:lnTo>
                          <a:close/>
                          <a:moveTo>
                            <a:pt x="143" y="125"/>
                          </a:moveTo>
                          <a:lnTo>
                            <a:pt x="156" y="134"/>
                          </a:lnTo>
                          <a:lnTo>
                            <a:pt x="156" y="138"/>
                          </a:lnTo>
                          <a:lnTo>
                            <a:pt x="156" y="143"/>
                          </a:lnTo>
                          <a:lnTo>
                            <a:pt x="170" y="147"/>
                          </a:lnTo>
                          <a:lnTo>
                            <a:pt x="174" y="138"/>
                          </a:lnTo>
                          <a:lnTo>
                            <a:pt x="179" y="143"/>
                          </a:lnTo>
                          <a:lnTo>
                            <a:pt x="187" y="134"/>
                          </a:lnTo>
                          <a:lnTo>
                            <a:pt x="196" y="138"/>
                          </a:lnTo>
                          <a:lnTo>
                            <a:pt x="205" y="134"/>
                          </a:lnTo>
                          <a:lnTo>
                            <a:pt x="205" y="138"/>
                          </a:lnTo>
                          <a:lnTo>
                            <a:pt x="214" y="134"/>
                          </a:lnTo>
                          <a:lnTo>
                            <a:pt x="219" y="134"/>
                          </a:lnTo>
                          <a:lnTo>
                            <a:pt x="223" y="129"/>
                          </a:lnTo>
                          <a:lnTo>
                            <a:pt x="228" y="125"/>
                          </a:lnTo>
                          <a:lnTo>
                            <a:pt x="237" y="125"/>
                          </a:lnTo>
                          <a:lnTo>
                            <a:pt x="241" y="111"/>
                          </a:lnTo>
                          <a:lnTo>
                            <a:pt x="246" y="103"/>
                          </a:lnTo>
                          <a:lnTo>
                            <a:pt x="250" y="98"/>
                          </a:lnTo>
                          <a:lnTo>
                            <a:pt x="246" y="98"/>
                          </a:lnTo>
                          <a:lnTo>
                            <a:pt x="241" y="89"/>
                          </a:lnTo>
                          <a:lnTo>
                            <a:pt x="241" y="85"/>
                          </a:lnTo>
                          <a:lnTo>
                            <a:pt x="263" y="53"/>
                          </a:lnTo>
                          <a:lnTo>
                            <a:pt x="281" y="49"/>
                          </a:lnTo>
                          <a:lnTo>
                            <a:pt x="295" y="35"/>
                          </a:lnTo>
                          <a:lnTo>
                            <a:pt x="295" y="31"/>
                          </a:lnTo>
                          <a:lnTo>
                            <a:pt x="299" y="27"/>
                          </a:lnTo>
                          <a:lnTo>
                            <a:pt x="295" y="27"/>
                          </a:lnTo>
                          <a:lnTo>
                            <a:pt x="286" y="27"/>
                          </a:lnTo>
                          <a:lnTo>
                            <a:pt x="277" y="27"/>
                          </a:lnTo>
                          <a:lnTo>
                            <a:pt x="268" y="22"/>
                          </a:lnTo>
                          <a:lnTo>
                            <a:pt x="259" y="22"/>
                          </a:lnTo>
                          <a:lnTo>
                            <a:pt x="246" y="22"/>
                          </a:lnTo>
                          <a:lnTo>
                            <a:pt x="241" y="22"/>
                          </a:lnTo>
                          <a:lnTo>
                            <a:pt x="228" y="13"/>
                          </a:lnTo>
                          <a:lnTo>
                            <a:pt x="223" y="4"/>
                          </a:lnTo>
                          <a:lnTo>
                            <a:pt x="214" y="9"/>
                          </a:lnTo>
                          <a:lnTo>
                            <a:pt x="214" y="4"/>
                          </a:lnTo>
                          <a:lnTo>
                            <a:pt x="205" y="4"/>
                          </a:lnTo>
                          <a:lnTo>
                            <a:pt x="201" y="4"/>
                          </a:lnTo>
                          <a:lnTo>
                            <a:pt x="192" y="4"/>
                          </a:lnTo>
                          <a:lnTo>
                            <a:pt x="179" y="4"/>
                          </a:lnTo>
                          <a:lnTo>
                            <a:pt x="170" y="4"/>
                          </a:lnTo>
                          <a:lnTo>
                            <a:pt x="170" y="0"/>
                          </a:lnTo>
                          <a:lnTo>
                            <a:pt x="161" y="0"/>
                          </a:lnTo>
                          <a:lnTo>
                            <a:pt x="152" y="4"/>
                          </a:lnTo>
                          <a:lnTo>
                            <a:pt x="147" y="0"/>
                          </a:lnTo>
                          <a:lnTo>
                            <a:pt x="143" y="0"/>
                          </a:lnTo>
                          <a:lnTo>
                            <a:pt x="134" y="0"/>
                          </a:lnTo>
                          <a:lnTo>
                            <a:pt x="125" y="0"/>
                          </a:lnTo>
                          <a:lnTo>
                            <a:pt x="129" y="4"/>
                          </a:lnTo>
                          <a:lnTo>
                            <a:pt x="116" y="4"/>
                          </a:lnTo>
                          <a:lnTo>
                            <a:pt x="112" y="9"/>
                          </a:lnTo>
                          <a:lnTo>
                            <a:pt x="112" y="18"/>
                          </a:lnTo>
                          <a:lnTo>
                            <a:pt x="116" y="18"/>
                          </a:lnTo>
                          <a:lnTo>
                            <a:pt x="116" y="22"/>
                          </a:lnTo>
                          <a:lnTo>
                            <a:pt x="120" y="27"/>
                          </a:lnTo>
                          <a:lnTo>
                            <a:pt x="116" y="31"/>
                          </a:lnTo>
                          <a:lnTo>
                            <a:pt x="120" y="35"/>
                          </a:lnTo>
                          <a:lnTo>
                            <a:pt x="129" y="31"/>
                          </a:lnTo>
                          <a:lnTo>
                            <a:pt x="134" y="40"/>
                          </a:lnTo>
                          <a:lnTo>
                            <a:pt x="152" y="40"/>
                          </a:lnTo>
                          <a:lnTo>
                            <a:pt x="161" y="44"/>
                          </a:lnTo>
                          <a:lnTo>
                            <a:pt x="152" y="53"/>
                          </a:lnTo>
                          <a:lnTo>
                            <a:pt x="147" y="67"/>
                          </a:lnTo>
                          <a:lnTo>
                            <a:pt x="147" y="71"/>
                          </a:lnTo>
                          <a:lnTo>
                            <a:pt x="147" y="80"/>
                          </a:lnTo>
                          <a:lnTo>
                            <a:pt x="138" y="85"/>
                          </a:lnTo>
                          <a:lnTo>
                            <a:pt x="147" y="98"/>
                          </a:lnTo>
                          <a:lnTo>
                            <a:pt x="143" y="107"/>
                          </a:lnTo>
                          <a:lnTo>
                            <a:pt x="147" y="116"/>
                          </a:lnTo>
                          <a:lnTo>
                            <a:pt x="143" y="116"/>
                          </a:lnTo>
                          <a:lnTo>
                            <a:pt x="143" y="125"/>
                          </a:lnTo>
                          <a:close/>
                          <a:moveTo>
                            <a:pt x="268" y="94"/>
                          </a:moveTo>
                          <a:lnTo>
                            <a:pt x="263" y="98"/>
                          </a:lnTo>
                          <a:lnTo>
                            <a:pt x="268" y="103"/>
                          </a:lnTo>
                          <a:lnTo>
                            <a:pt x="272" y="103"/>
                          </a:lnTo>
                          <a:lnTo>
                            <a:pt x="268" y="98"/>
                          </a:lnTo>
                          <a:lnTo>
                            <a:pt x="272" y="94"/>
                          </a:lnTo>
                          <a:lnTo>
                            <a:pt x="268" y="94"/>
                          </a:lnTo>
                          <a:close/>
                          <a:moveTo>
                            <a:pt x="286" y="85"/>
                          </a:moveTo>
                          <a:lnTo>
                            <a:pt x="286" y="85"/>
                          </a:lnTo>
                          <a:lnTo>
                            <a:pt x="290" y="89"/>
                          </a:lnTo>
                          <a:lnTo>
                            <a:pt x="299" y="89"/>
                          </a:lnTo>
                          <a:lnTo>
                            <a:pt x="304" y="85"/>
                          </a:lnTo>
                          <a:lnTo>
                            <a:pt x="304" y="80"/>
                          </a:lnTo>
                          <a:lnTo>
                            <a:pt x="299" y="76"/>
                          </a:lnTo>
                          <a:lnTo>
                            <a:pt x="290" y="80"/>
                          </a:lnTo>
                          <a:lnTo>
                            <a:pt x="286" y="85"/>
                          </a:lnTo>
                          <a:close/>
                          <a:moveTo>
                            <a:pt x="308" y="71"/>
                          </a:moveTo>
                          <a:lnTo>
                            <a:pt x="308" y="80"/>
                          </a:lnTo>
                          <a:lnTo>
                            <a:pt x="317" y="80"/>
                          </a:lnTo>
                          <a:lnTo>
                            <a:pt x="313" y="71"/>
                          </a:lnTo>
                          <a:lnTo>
                            <a:pt x="308" y="71"/>
                          </a:ln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349" name="Text Box 219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2881" y="1705"/>
                  <a:ext cx="233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LEJ</a:t>
                  </a:r>
                </a:p>
              </p:txBody>
            </p:sp>
            <p:sp>
              <p:nvSpPr>
                <p:cNvPr id="350" name="Text Box 220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2616" y="2500"/>
                  <a:ext cx="275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LOS</a:t>
                  </a:r>
                </a:p>
              </p:txBody>
            </p:sp>
            <p:sp>
              <p:nvSpPr>
                <p:cNvPr id="351" name="Text Box 221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3342" y="2187"/>
                  <a:ext cx="208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BAH</a:t>
                  </a:r>
                </a:p>
              </p:txBody>
            </p:sp>
            <p:sp>
              <p:nvSpPr>
                <p:cNvPr id="352" name="Text Box 222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3787" y="2167"/>
                  <a:ext cx="275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DEL</a:t>
                  </a:r>
                </a:p>
              </p:txBody>
            </p:sp>
            <p:sp>
              <p:nvSpPr>
                <p:cNvPr id="353" name="Text Box 223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931" y="2084"/>
                  <a:ext cx="274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LAX</a:t>
                  </a:r>
                </a:p>
              </p:txBody>
            </p:sp>
            <p:sp>
              <p:nvSpPr>
                <p:cNvPr id="354" name="Text Box 224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3498" y="2326"/>
                  <a:ext cx="208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DXB</a:t>
                  </a:r>
                </a:p>
              </p:txBody>
            </p:sp>
            <p:sp>
              <p:nvSpPr>
                <p:cNvPr id="355" name="Text Box 225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4107" y="2574"/>
                  <a:ext cx="275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SIN</a:t>
                  </a:r>
                </a:p>
              </p:txBody>
            </p:sp>
            <p:sp>
              <p:nvSpPr>
                <p:cNvPr id="356" name="Text Box 226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587" y="1475"/>
                  <a:ext cx="275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ANC</a:t>
                  </a:r>
                </a:p>
              </p:txBody>
            </p:sp>
            <p:sp>
              <p:nvSpPr>
                <p:cNvPr id="357" name="Text Box 227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4497" y="1989"/>
                  <a:ext cx="168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ICN</a:t>
                  </a:r>
                </a:p>
              </p:txBody>
            </p:sp>
            <p:sp>
              <p:nvSpPr>
                <p:cNvPr id="358" name="Text Box 228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4101" y="2414"/>
                  <a:ext cx="274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BKK</a:t>
                  </a:r>
                </a:p>
              </p:txBody>
            </p:sp>
            <p:sp>
              <p:nvSpPr>
                <p:cNvPr id="359" name="Text Box 229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4329" y="2197"/>
                  <a:ext cx="196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PVG</a:t>
                  </a:r>
                </a:p>
              </p:txBody>
            </p:sp>
            <p:sp>
              <p:nvSpPr>
                <p:cNvPr id="360" name="Text Box 230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763" y="1980"/>
                  <a:ext cx="275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JFK</a:t>
                  </a:r>
                </a:p>
              </p:txBody>
            </p:sp>
            <p:sp>
              <p:nvSpPr>
                <p:cNvPr id="361" name="Freeform 231"/>
                <p:cNvSpPr>
                  <a:spLocks noChangeAspect="1"/>
                </p:cNvSpPr>
                <p:nvPr/>
              </p:nvSpPr>
              <p:spPr bwMode="gray">
                <a:xfrm>
                  <a:off x="1630" y="1498"/>
                  <a:ext cx="1316" cy="574"/>
                </a:xfrm>
                <a:custGeom>
                  <a:avLst/>
                  <a:gdLst>
                    <a:gd name="T0" fmla="*/ 0 w 1276"/>
                    <a:gd name="T1" fmla="*/ 4188 h 536"/>
                    <a:gd name="T2" fmla="*/ 1087 w 1276"/>
                    <a:gd name="T3" fmla="*/ 956 h 536"/>
                    <a:gd name="T4" fmla="*/ 3224 w 1276"/>
                    <a:gd name="T5" fmla="*/ 2132 h 536"/>
                    <a:gd name="T6" fmla="*/ 0 60000 65536"/>
                    <a:gd name="T7" fmla="*/ 0 60000 65536"/>
                    <a:gd name="T8" fmla="*/ 0 60000 65536"/>
                    <a:gd name="T9" fmla="*/ 0 w 1276"/>
                    <a:gd name="T10" fmla="*/ 0 h 536"/>
                    <a:gd name="T11" fmla="*/ 1276 w 1276"/>
                    <a:gd name="T12" fmla="*/ 536 h 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276" h="536">
                      <a:moveTo>
                        <a:pt x="0" y="536"/>
                      </a:moveTo>
                      <a:cubicBezTo>
                        <a:pt x="47" y="417"/>
                        <a:pt x="107" y="245"/>
                        <a:pt x="431" y="123"/>
                      </a:cubicBezTo>
                      <a:cubicBezTo>
                        <a:pt x="755" y="0"/>
                        <a:pt x="1051" y="84"/>
                        <a:pt x="1276" y="274"/>
                      </a:cubicBezTo>
                    </a:path>
                  </a:pathLst>
                </a:custGeom>
                <a:noFill/>
                <a:ln w="12700">
                  <a:solidFill>
                    <a:srgbClr val="339966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62" name="Freeform 232"/>
                <p:cNvSpPr>
                  <a:spLocks noChangeAspect="1"/>
                </p:cNvSpPr>
                <p:nvPr/>
              </p:nvSpPr>
              <p:spPr bwMode="gray">
                <a:xfrm>
                  <a:off x="1798" y="1637"/>
                  <a:ext cx="1141" cy="378"/>
                </a:xfrm>
                <a:custGeom>
                  <a:avLst/>
                  <a:gdLst>
                    <a:gd name="T0" fmla="*/ 0 w 1141"/>
                    <a:gd name="T1" fmla="*/ 378 h 378"/>
                    <a:gd name="T2" fmla="*/ 492 w 1141"/>
                    <a:gd name="T3" fmla="*/ 29 h 378"/>
                    <a:gd name="T4" fmla="*/ 1141 w 1141"/>
                    <a:gd name="T5" fmla="*/ 156 h 378"/>
                    <a:gd name="T6" fmla="*/ 0 60000 65536"/>
                    <a:gd name="T7" fmla="*/ 0 60000 65536"/>
                    <a:gd name="T8" fmla="*/ 0 60000 65536"/>
                    <a:gd name="T9" fmla="*/ 0 w 1141"/>
                    <a:gd name="T10" fmla="*/ 0 h 378"/>
                    <a:gd name="T11" fmla="*/ 1141 w 1141"/>
                    <a:gd name="T12" fmla="*/ 378 h 37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141" h="378">
                      <a:moveTo>
                        <a:pt x="0" y="378"/>
                      </a:moveTo>
                      <a:cubicBezTo>
                        <a:pt x="100" y="228"/>
                        <a:pt x="285" y="59"/>
                        <a:pt x="492" y="29"/>
                      </a:cubicBezTo>
                      <a:cubicBezTo>
                        <a:pt x="700" y="0"/>
                        <a:pt x="880" y="14"/>
                        <a:pt x="1141" y="156"/>
                      </a:cubicBezTo>
                    </a:path>
                  </a:pathLst>
                </a:custGeom>
                <a:noFill/>
                <a:ln w="12700">
                  <a:solidFill>
                    <a:srgbClr val="339966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63" name="Freeform 233"/>
                <p:cNvSpPr>
                  <a:spLocks noChangeAspect="1"/>
                </p:cNvSpPr>
                <p:nvPr/>
              </p:nvSpPr>
              <p:spPr bwMode="gray">
                <a:xfrm>
                  <a:off x="2765" y="1777"/>
                  <a:ext cx="177" cy="21"/>
                </a:xfrm>
                <a:custGeom>
                  <a:avLst/>
                  <a:gdLst>
                    <a:gd name="T0" fmla="*/ 177 w 177"/>
                    <a:gd name="T1" fmla="*/ 21 h 21"/>
                    <a:gd name="T2" fmla="*/ 0 w 177"/>
                    <a:gd name="T3" fmla="*/ 0 h 21"/>
                    <a:gd name="T4" fmla="*/ 0 60000 65536"/>
                    <a:gd name="T5" fmla="*/ 0 60000 65536"/>
                    <a:gd name="T6" fmla="*/ 0 w 177"/>
                    <a:gd name="T7" fmla="*/ 0 h 21"/>
                    <a:gd name="T8" fmla="*/ 177 w 177"/>
                    <a:gd name="T9" fmla="*/ 21 h 21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77" h="21">
                      <a:moveTo>
                        <a:pt x="177" y="21"/>
                      </a:moveTo>
                      <a:cubicBezTo>
                        <a:pt x="148" y="18"/>
                        <a:pt x="29" y="3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64" name="Freeform 234"/>
                <p:cNvSpPr>
                  <a:spLocks noChangeAspect="1"/>
                </p:cNvSpPr>
                <p:nvPr/>
              </p:nvSpPr>
              <p:spPr bwMode="gray">
                <a:xfrm rot="848410">
                  <a:off x="2841" y="1786"/>
                  <a:ext cx="92" cy="53"/>
                </a:xfrm>
                <a:custGeom>
                  <a:avLst/>
                  <a:gdLst>
                    <a:gd name="T0" fmla="*/ 12 w 99"/>
                    <a:gd name="T1" fmla="*/ 0 h 43"/>
                    <a:gd name="T2" fmla="*/ 0 w 99"/>
                    <a:gd name="T3" fmla="*/ 22590 h 43"/>
                    <a:gd name="T4" fmla="*/ 0 60000 65536"/>
                    <a:gd name="T5" fmla="*/ 0 60000 65536"/>
                    <a:gd name="T6" fmla="*/ 0 w 99"/>
                    <a:gd name="T7" fmla="*/ 0 h 43"/>
                    <a:gd name="T8" fmla="*/ 99 w 99"/>
                    <a:gd name="T9" fmla="*/ 43 h 43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99" h="43">
                      <a:moveTo>
                        <a:pt x="99" y="0"/>
                      </a:moveTo>
                      <a:lnTo>
                        <a:pt x="0" y="43"/>
                      </a:lnTo>
                    </a:path>
                  </a:pathLst>
                </a:custGeom>
                <a:noFill/>
                <a:ln w="12700">
                  <a:solidFill>
                    <a:srgbClr val="339966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65" name="Freeform 235"/>
                <p:cNvSpPr>
                  <a:spLocks noChangeAspect="1"/>
                </p:cNvSpPr>
                <p:nvPr/>
              </p:nvSpPr>
              <p:spPr bwMode="gray">
                <a:xfrm>
                  <a:off x="184" y="1938"/>
                  <a:ext cx="350" cy="260"/>
                </a:xfrm>
                <a:custGeom>
                  <a:avLst/>
                  <a:gdLst>
                    <a:gd name="T0" fmla="*/ 1923 w 330"/>
                    <a:gd name="T1" fmla="*/ 0 h 225"/>
                    <a:gd name="T2" fmla="*/ 0 w 330"/>
                    <a:gd name="T3" fmla="*/ 17169 h 225"/>
                    <a:gd name="T4" fmla="*/ 0 60000 65536"/>
                    <a:gd name="T5" fmla="*/ 0 60000 65536"/>
                    <a:gd name="T6" fmla="*/ 0 w 330"/>
                    <a:gd name="T7" fmla="*/ 0 h 225"/>
                    <a:gd name="T8" fmla="*/ 330 w 330"/>
                    <a:gd name="T9" fmla="*/ 225 h 225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330" h="225">
                      <a:moveTo>
                        <a:pt x="330" y="0"/>
                      </a:moveTo>
                      <a:cubicBezTo>
                        <a:pt x="241" y="105"/>
                        <a:pt x="132" y="197"/>
                        <a:pt x="0" y="225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66" name="Freeform 236"/>
                <p:cNvSpPr>
                  <a:spLocks noChangeAspect="1"/>
                </p:cNvSpPr>
                <p:nvPr/>
              </p:nvSpPr>
              <p:spPr bwMode="gray">
                <a:xfrm>
                  <a:off x="2832" y="1793"/>
                  <a:ext cx="108" cy="750"/>
                </a:xfrm>
                <a:custGeom>
                  <a:avLst/>
                  <a:gdLst>
                    <a:gd name="T0" fmla="*/ 3 w 124"/>
                    <a:gd name="T1" fmla="*/ 0 h 693"/>
                    <a:gd name="T2" fmla="*/ 3 w 124"/>
                    <a:gd name="T3" fmla="*/ 3346 h 693"/>
                    <a:gd name="T4" fmla="*/ 3 w 124"/>
                    <a:gd name="T5" fmla="*/ 7425 h 693"/>
                    <a:gd name="T6" fmla="*/ 0 60000 65536"/>
                    <a:gd name="T7" fmla="*/ 0 60000 65536"/>
                    <a:gd name="T8" fmla="*/ 0 60000 65536"/>
                    <a:gd name="T9" fmla="*/ 0 w 124"/>
                    <a:gd name="T10" fmla="*/ 0 h 693"/>
                    <a:gd name="T11" fmla="*/ 124 w 124"/>
                    <a:gd name="T12" fmla="*/ 693 h 69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24" h="693">
                      <a:moveTo>
                        <a:pt x="124" y="0"/>
                      </a:moveTo>
                      <a:cubicBezTo>
                        <a:pt x="106" y="52"/>
                        <a:pt x="36" y="197"/>
                        <a:pt x="18" y="313"/>
                      </a:cubicBezTo>
                      <a:cubicBezTo>
                        <a:pt x="0" y="428"/>
                        <a:pt x="17" y="614"/>
                        <a:pt x="17" y="693"/>
                      </a:cubicBezTo>
                    </a:path>
                  </a:pathLst>
                </a:custGeom>
                <a:noFill/>
                <a:ln w="12700">
                  <a:solidFill>
                    <a:srgbClr val="339966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67" name="Freeform 237"/>
                <p:cNvSpPr>
                  <a:spLocks noChangeAspect="1"/>
                </p:cNvSpPr>
                <p:nvPr/>
              </p:nvSpPr>
              <p:spPr bwMode="gray">
                <a:xfrm>
                  <a:off x="2764" y="1780"/>
                  <a:ext cx="712" cy="507"/>
                </a:xfrm>
                <a:custGeom>
                  <a:avLst/>
                  <a:gdLst>
                    <a:gd name="T0" fmla="*/ 0 w 712"/>
                    <a:gd name="T1" fmla="*/ 0 h 507"/>
                    <a:gd name="T2" fmla="*/ 175 w 712"/>
                    <a:gd name="T3" fmla="*/ 415 h 507"/>
                    <a:gd name="T4" fmla="*/ 712 w 712"/>
                    <a:gd name="T5" fmla="*/ 504 h 507"/>
                    <a:gd name="T6" fmla="*/ 0 60000 65536"/>
                    <a:gd name="T7" fmla="*/ 0 60000 65536"/>
                    <a:gd name="T8" fmla="*/ 0 60000 65536"/>
                    <a:gd name="T9" fmla="*/ 0 w 712"/>
                    <a:gd name="T10" fmla="*/ 0 h 507"/>
                    <a:gd name="T11" fmla="*/ 712 w 712"/>
                    <a:gd name="T12" fmla="*/ 507 h 50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712" h="507">
                      <a:moveTo>
                        <a:pt x="0" y="0"/>
                      </a:moveTo>
                      <a:cubicBezTo>
                        <a:pt x="26" y="182"/>
                        <a:pt x="71" y="323"/>
                        <a:pt x="175" y="415"/>
                      </a:cubicBezTo>
                      <a:cubicBezTo>
                        <a:pt x="279" y="507"/>
                        <a:pt x="418" y="494"/>
                        <a:pt x="712" y="504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68" name="Freeform 238"/>
                <p:cNvSpPr>
                  <a:spLocks noChangeAspect="1"/>
                </p:cNvSpPr>
                <p:nvPr/>
              </p:nvSpPr>
              <p:spPr bwMode="gray">
                <a:xfrm>
                  <a:off x="2837" y="1831"/>
                  <a:ext cx="640" cy="455"/>
                </a:xfrm>
                <a:custGeom>
                  <a:avLst/>
                  <a:gdLst>
                    <a:gd name="T0" fmla="*/ 0 w 611"/>
                    <a:gd name="T1" fmla="*/ 0 h 420"/>
                    <a:gd name="T2" fmla="*/ 878 w 611"/>
                    <a:gd name="T3" fmla="*/ 3695 h 420"/>
                    <a:gd name="T4" fmla="*/ 2453 w 611"/>
                    <a:gd name="T5" fmla="*/ 4630 h 420"/>
                    <a:gd name="T6" fmla="*/ 0 60000 65536"/>
                    <a:gd name="T7" fmla="*/ 0 60000 65536"/>
                    <a:gd name="T8" fmla="*/ 0 60000 65536"/>
                    <a:gd name="T9" fmla="*/ 0 w 611"/>
                    <a:gd name="T10" fmla="*/ 0 h 420"/>
                    <a:gd name="T11" fmla="*/ 611 w 611"/>
                    <a:gd name="T12" fmla="*/ 420 h 42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11" h="420">
                      <a:moveTo>
                        <a:pt x="0" y="0"/>
                      </a:moveTo>
                      <a:cubicBezTo>
                        <a:pt x="32" y="159"/>
                        <a:pt x="141" y="282"/>
                        <a:pt x="219" y="335"/>
                      </a:cubicBezTo>
                      <a:cubicBezTo>
                        <a:pt x="297" y="388"/>
                        <a:pt x="495" y="416"/>
                        <a:pt x="611" y="420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69" name="Freeform 239"/>
                <p:cNvSpPr>
                  <a:spLocks noChangeAspect="1"/>
                </p:cNvSpPr>
                <p:nvPr/>
              </p:nvSpPr>
              <p:spPr bwMode="gray">
                <a:xfrm>
                  <a:off x="2940" y="1795"/>
                  <a:ext cx="537" cy="485"/>
                </a:xfrm>
                <a:custGeom>
                  <a:avLst/>
                  <a:gdLst>
                    <a:gd name="T0" fmla="*/ 0 w 495"/>
                    <a:gd name="T1" fmla="*/ 0 h 465"/>
                    <a:gd name="T2" fmla="*/ 2348 w 495"/>
                    <a:gd name="T3" fmla="*/ 1246 h 465"/>
                    <a:gd name="T4" fmla="*/ 5697 w 495"/>
                    <a:gd name="T5" fmla="*/ 1652 h 465"/>
                    <a:gd name="T6" fmla="*/ 0 60000 65536"/>
                    <a:gd name="T7" fmla="*/ 0 60000 65536"/>
                    <a:gd name="T8" fmla="*/ 0 60000 65536"/>
                    <a:gd name="T9" fmla="*/ 0 w 495"/>
                    <a:gd name="T10" fmla="*/ 0 h 465"/>
                    <a:gd name="T11" fmla="*/ 495 w 495"/>
                    <a:gd name="T12" fmla="*/ 465 h 46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95" h="465">
                      <a:moveTo>
                        <a:pt x="0" y="0"/>
                      </a:moveTo>
                      <a:cubicBezTo>
                        <a:pt x="17" y="135"/>
                        <a:pt x="128" y="278"/>
                        <a:pt x="204" y="353"/>
                      </a:cubicBezTo>
                      <a:cubicBezTo>
                        <a:pt x="280" y="428"/>
                        <a:pt x="353" y="465"/>
                        <a:pt x="495" y="465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0" name="Freeform 240"/>
                <p:cNvSpPr>
                  <a:spLocks noChangeAspect="1"/>
                </p:cNvSpPr>
                <p:nvPr/>
              </p:nvSpPr>
              <p:spPr bwMode="gray">
                <a:xfrm>
                  <a:off x="2941" y="1733"/>
                  <a:ext cx="597" cy="561"/>
                </a:xfrm>
                <a:custGeom>
                  <a:avLst/>
                  <a:gdLst>
                    <a:gd name="T0" fmla="*/ 3613 w 561"/>
                    <a:gd name="T1" fmla="*/ 1995 h 537"/>
                    <a:gd name="T2" fmla="*/ 3129 w 561"/>
                    <a:gd name="T3" fmla="*/ 505 h 537"/>
                    <a:gd name="T4" fmla="*/ 0 w 561"/>
                    <a:gd name="T5" fmla="*/ 220 h 537"/>
                    <a:gd name="T6" fmla="*/ 0 60000 65536"/>
                    <a:gd name="T7" fmla="*/ 0 60000 65536"/>
                    <a:gd name="T8" fmla="*/ 0 60000 65536"/>
                    <a:gd name="T9" fmla="*/ 0 w 561"/>
                    <a:gd name="T10" fmla="*/ 0 h 537"/>
                    <a:gd name="T11" fmla="*/ 561 w 561"/>
                    <a:gd name="T12" fmla="*/ 537 h 53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561" h="537">
                      <a:moveTo>
                        <a:pt x="559" y="537"/>
                      </a:moveTo>
                      <a:cubicBezTo>
                        <a:pt x="559" y="439"/>
                        <a:pt x="561" y="228"/>
                        <a:pt x="485" y="135"/>
                      </a:cubicBezTo>
                      <a:cubicBezTo>
                        <a:pt x="409" y="42"/>
                        <a:pt x="367" y="0"/>
                        <a:pt x="0" y="59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1" name="Freeform 241"/>
                <p:cNvSpPr>
                  <a:spLocks noChangeAspect="1"/>
                </p:cNvSpPr>
                <p:nvPr/>
              </p:nvSpPr>
              <p:spPr bwMode="gray">
                <a:xfrm>
                  <a:off x="2951" y="1656"/>
                  <a:ext cx="1547" cy="403"/>
                </a:xfrm>
                <a:custGeom>
                  <a:avLst/>
                  <a:gdLst>
                    <a:gd name="T0" fmla="*/ 1901 w 1536"/>
                    <a:gd name="T1" fmla="*/ 4111 h 372"/>
                    <a:gd name="T2" fmla="*/ 1468 w 1536"/>
                    <a:gd name="T3" fmla="*/ 811 h 372"/>
                    <a:gd name="T4" fmla="*/ 0 w 1536"/>
                    <a:gd name="T5" fmla="*/ 1372 h 372"/>
                    <a:gd name="T6" fmla="*/ 0 60000 65536"/>
                    <a:gd name="T7" fmla="*/ 0 60000 65536"/>
                    <a:gd name="T8" fmla="*/ 0 60000 65536"/>
                    <a:gd name="T9" fmla="*/ 0 w 1536"/>
                    <a:gd name="T10" fmla="*/ 0 h 372"/>
                    <a:gd name="T11" fmla="*/ 1536 w 1536"/>
                    <a:gd name="T12" fmla="*/ 372 h 37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536" h="372">
                      <a:moveTo>
                        <a:pt x="1536" y="372"/>
                      </a:moveTo>
                      <a:cubicBezTo>
                        <a:pt x="1515" y="269"/>
                        <a:pt x="1406" y="144"/>
                        <a:pt x="1185" y="72"/>
                      </a:cubicBezTo>
                      <a:cubicBezTo>
                        <a:pt x="964" y="0"/>
                        <a:pt x="225" y="99"/>
                        <a:pt x="0" y="126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2" name="Freeform 242"/>
                <p:cNvSpPr>
                  <a:spLocks noChangeAspect="1"/>
                </p:cNvSpPr>
                <p:nvPr/>
              </p:nvSpPr>
              <p:spPr bwMode="gray">
                <a:xfrm>
                  <a:off x="2940" y="1701"/>
                  <a:ext cx="1375" cy="602"/>
                </a:xfrm>
                <a:custGeom>
                  <a:avLst/>
                  <a:gdLst>
                    <a:gd name="T0" fmla="*/ 3313 w 1334"/>
                    <a:gd name="T1" fmla="*/ 1687 h 581"/>
                    <a:gd name="T2" fmla="*/ 2600 w 1334"/>
                    <a:gd name="T3" fmla="*/ 376 h 581"/>
                    <a:gd name="T4" fmla="*/ 0 w 1334"/>
                    <a:gd name="T5" fmla="*/ 259 h 581"/>
                    <a:gd name="T6" fmla="*/ 0 60000 65536"/>
                    <a:gd name="T7" fmla="*/ 0 60000 65536"/>
                    <a:gd name="T8" fmla="*/ 0 60000 65536"/>
                    <a:gd name="T9" fmla="*/ 0 w 1334"/>
                    <a:gd name="T10" fmla="*/ 0 h 581"/>
                    <a:gd name="T11" fmla="*/ 1334 w 1334"/>
                    <a:gd name="T12" fmla="*/ 581 h 58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34" h="581">
                      <a:moveTo>
                        <a:pt x="1334" y="581"/>
                      </a:moveTo>
                      <a:cubicBezTo>
                        <a:pt x="1313" y="478"/>
                        <a:pt x="1232" y="232"/>
                        <a:pt x="1048" y="129"/>
                      </a:cubicBezTo>
                      <a:cubicBezTo>
                        <a:pt x="864" y="26"/>
                        <a:pt x="681" y="0"/>
                        <a:pt x="0" y="90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3" name="Freeform 243"/>
                <p:cNvSpPr>
                  <a:spLocks noChangeAspect="1"/>
                </p:cNvSpPr>
                <p:nvPr/>
              </p:nvSpPr>
              <p:spPr bwMode="gray">
                <a:xfrm>
                  <a:off x="2951" y="1708"/>
                  <a:ext cx="877" cy="540"/>
                </a:xfrm>
                <a:custGeom>
                  <a:avLst/>
                  <a:gdLst>
                    <a:gd name="T0" fmla="*/ 1894 w 854"/>
                    <a:gd name="T1" fmla="*/ 1610 h 520"/>
                    <a:gd name="T2" fmla="*/ 1463 w 854"/>
                    <a:gd name="T3" fmla="*/ 317 h 520"/>
                    <a:gd name="T4" fmla="*/ 0 w 854"/>
                    <a:gd name="T5" fmla="*/ 259 h 520"/>
                    <a:gd name="T6" fmla="*/ 0 60000 65536"/>
                    <a:gd name="T7" fmla="*/ 0 60000 65536"/>
                    <a:gd name="T8" fmla="*/ 0 60000 65536"/>
                    <a:gd name="T9" fmla="*/ 0 w 854"/>
                    <a:gd name="T10" fmla="*/ 0 h 520"/>
                    <a:gd name="T11" fmla="*/ 854 w 854"/>
                    <a:gd name="T12" fmla="*/ 520 h 52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854" h="520">
                      <a:moveTo>
                        <a:pt x="854" y="520"/>
                      </a:moveTo>
                      <a:cubicBezTo>
                        <a:pt x="848" y="367"/>
                        <a:pt x="844" y="206"/>
                        <a:pt x="660" y="103"/>
                      </a:cubicBezTo>
                      <a:cubicBezTo>
                        <a:pt x="476" y="0"/>
                        <a:pt x="228" y="57"/>
                        <a:pt x="0" y="84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4" name="Freeform 244"/>
                <p:cNvSpPr>
                  <a:spLocks noChangeAspect="1"/>
                </p:cNvSpPr>
                <p:nvPr/>
              </p:nvSpPr>
              <p:spPr bwMode="gray">
                <a:xfrm>
                  <a:off x="3475" y="2282"/>
                  <a:ext cx="663" cy="193"/>
                </a:xfrm>
                <a:custGeom>
                  <a:avLst/>
                  <a:gdLst>
                    <a:gd name="T0" fmla="*/ 0 w 639"/>
                    <a:gd name="T1" fmla="*/ 0 h 153"/>
                    <a:gd name="T2" fmla="*/ 768 w 639"/>
                    <a:gd name="T3" fmla="*/ 158450 h 153"/>
                    <a:gd name="T4" fmla="*/ 1931 w 639"/>
                    <a:gd name="T5" fmla="*/ 142997 h 153"/>
                    <a:gd name="T6" fmla="*/ 0 60000 65536"/>
                    <a:gd name="T7" fmla="*/ 0 60000 65536"/>
                    <a:gd name="T8" fmla="*/ 0 60000 65536"/>
                    <a:gd name="T9" fmla="*/ 0 w 639"/>
                    <a:gd name="T10" fmla="*/ 0 h 153"/>
                    <a:gd name="T11" fmla="*/ 639 w 639"/>
                    <a:gd name="T12" fmla="*/ 153 h 15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39" h="153">
                      <a:moveTo>
                        <a:pt x="0" y="0"/>
                      </a:moveTo>
                      <a:cubicBezTo>
                        <a:pt x="30" y="112"/>
                        <a:pt x="73" y="147"/>
                        <a:pt x="254" y="150"/>
                      </a:cubicBezTo>
                      <a:cubicBezTo>
                        <a:pt x="435" y="153"/>
                        <a:pt x="565" y="142"/>
                        <a:pt x="639" y="135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5" name="Freeform 245"/>
                <p:cNvSpPr>
                  <a:spLocks noChangeAspect="1"/>
                </p:cNvSpPr>
                <p:nvPr/>
              </p:nvSpPr>
              <p:spPr bwMode="gray">
                <a:xfrm>
                  <a:off x="3479" y="2167"/>
                  <a:ext cx="939" cy="305"/>
                </a:xfrm>
                <a:custGeom>
                  <a:avLst/>
                  <a:gdLst>
                    <a:gd name="T0" fmla="*/ 0 w 939"/>
                    <a:gd name="T1" fmla="*/ 127 h 305"/>
                    <a:gd name="T2" fmla="*/ 251 w 939"/>
                    <a:gd name="T3" fmla="*/ 303 h 305"/>
                    <a:gd name="T4" fmla="*/ 939 w 939"/>
                    <a:gd name="T5" fmla="*/ 13 h 305"/>
                    <a:gd name="T6" fmla="*/ 0 60000 65536"/>
                    <a:gd name="T7" fmla="*/ 0 60000 65536"/>
                    <a:gd name="T8" fmla="*/ 0 60000 65536"/>
                    <a:gd name="T9" fmla="*/ 0 w 939"/>
                    <a:gd name="T10" fmla="*/ 0 h 305"/>
                    <a:gd name="T11" fmla="*/ 939 w 939"/>
                    <a:gd name="T12" fmla="*/ 305 h 30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939" h="305">
                      <a:moveTo>
                        <a:pt x="0" y="127"/>
                      </a:moveTo>
                      <a:cubicBezTo>
                        <a:pt x="30" y="246"/>
                        <a:pt x="66" y="300"/>
                        <a:pt x="251" y="303"/>
                      </a:cubicBezTo>
                      <a:cubicBezTo>
                        <a:pt x="436" y="305"/>
                        <a:pt x="762" y="0"/>
                        <a:pt x="939" y="13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6" name="Freeform 246"/>
                <p:cNvSpPr>
                  <a:spLocks noChangeAspect="1"/>
                </p:cNvSpPr>
                <p:nvPr/>
              </p:nvSpPr>
              <p:spPr bwMode="gray">
                <a:xfrm>
                  <a:off x="3476" y="2285"/>
                  <a:ext cx="840" cy="187"/>
                </a:xfrm>
                <a:custGeom>
                  <a:avLst/>
                  <a:gdLst>
                    <a:gd name="T0" fmla="*/ 0 w 809"/>
                    <a:gd name="T1" fmla="*/ 0 h 154"/>
                    <a:gd name="T2" fmla="*/ 784 w 809"/>
                    <a:gd name="T3" fmla="*/ 52212 h 154"/>
                    <a:gd name="T4" fmla="*/ 2497 w 809"/>
                    <a:gd name="T5" fmla="*/ 4262 h 154"/>
                    <a:gd name="T6" fmla="*/ 0 60000 65536"/>
                    <a:gd name="T7" fmla="*/ 0 60000 65536"/>
                    <a:gd name="T8" fmla="*/ 0 60000 65536"/>
                    <a:gd name="T9" fmla="*/ 0 w 809"/>
                    <a:gd name="T10" fmla="*/ 0 h 154"/>
                    <a:gd name="T11" fmla="*/ 809 w 809"/>
                    <a:gd name="T12" fmla="*/ 154 h 15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809" h="154">
                      <a:moveTo>
                        <a:pt x="0" y="0"/>
                      </a:moveTo>
                      <a:cubicBezTo>
                        <a:pt x="30" y="112"/>
                        <a:pt x="77" y="154"/>
                        <a:pt x="254" y="154"/>
                      </a:cubicBezTo>
                      <a:cubicBezTo>
                        <a:pt x="431" y="154"/>
                        <a:pt x="687" y="66"/>
                        <a:pt x="809" y="12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7" name="Freeform 247"/>
                <p:cNvSpPr>
                  <a:spLocks noChangeAspect="1"/>
                </p:cNvSpPr>
                <p:nvPr/>
              </p:nvSpPr>
              <p:spPr bwMode="gray">
                <a:xfrm>
                  <a:off x="3533" y="2294"/>
                  <a:ext cx="780" cy="51"/>
                </a:xfrm>
                <a:custGeom>
                  <a:avLst/>
                  <a:gdLst>
                    <a:gd name="T0" fmla="*/ 0 w 780"/>
                    <a:gd name="T1" fmla="*/ 0 h 51"/>
                    <a:gd name="T2" fmla="*/ 324 w 780"/>
                    <a:gd name="T3" fmla="*/ 51 h 51"/>
                    <a:gd name="T4" fmla="*/ 780 w 780"/>
                    <a:gd name="T5" fmla="*/ 12 h 51"/>
                    <a:gd name="T6" fmla="*/ 0 60000 65536"/>
                    <a:gd name="T7" fmla="*/ 0 60000 65536"/>
                    <a:gd name="T8" fmla="*/ 0 60000 65536"/>
                    <a:gd name="T9" fmla="*/ 0 w 780"/>
                    <a:gd name="T10" fmla="*/ 0 h 51"/>
                    <a:gd name="T11" fmla="*/ 780 w 780"/>
                    <a:gd name="T12" fmla="*/ 51 h 5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780" h="51">
                      <a:moveTo>
                        <a:pt x="0" y="0"/>
                      </a:moveTo>
                      <a:cubicBezTo>
                        <a:pt x="92" y="27"/>
                        <a:pt x="214" y="51"/>
                        <a:pt x="324" y="51"/>
                      </a:cubicBezTo>
                      <a:cubicBezTo>
                        <a:pt x="435" y="51"/>
                        <a:pt x="630" y="27"/>
                        <a:pt x="780" y="12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8" name="Freeform 248"/>
                <p:cNvSpPr>
                  <a:spLocks noChangeAspect="1"/>
                </p:cNvSpPr>
                <p:nvPr/>
              </p:nvSpPr>
              <p:spPr bwMode="gray">
                <a:xfrm>
                  <a:off x="3823" y="2254"/>
                  <a:ext cx="351" cy="355"/>
                </a:xfrm>
                <a:custGeom>
                  <a:avLst/>
                  <a:gdLst>
                    <a:gd name="T0" fmla="*/ 351 w 351"/>
                    <a:gd name="T1" fmla="*/ 355 h 355"/>
                    <a:gd name="T2" fmla="*/ 123 w 351"/>
                    <a:gd name="T3" fmla="*/ 215 h 355"/>
                    <a:gd name="T4" fmla="*/ 0 w 351"/>
                    <a:gd name="T5" fmla="*/ 0 h 355"/>
                    <a:gd name="T6" fmla="*/ 0 60000 65536"/>
                    <a:gd name="T7" fmla="*/ 0 60000 65536"/>
                    <a:gd name="T8" fmla="*/ 0 60000 65536"/>
                    <a:gd name="T9" fmla="*/ 0 w 351"/>
                    <a:gd name="T10" fmla="*/ 0 h 355"/>
                    <a:gd name="T11" fmla="*/ 351 w 351"/>
                    <a:gd name="T12" fmla="*/ 355 h 35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351" h="355">
                      <a:moveTo>
                        <a:pt x="351" y="355"/>
                      </a:moveTo>
                      <a:cubicBezTo>
                        <a:pt x="267" y="322"/>
                        <a:pt x="185" y="288"/>
                        <a:pt x="123" y="215"/>
                      </a:cubicBezTo>
                      <a:cubicBezTo>
                        <a:pt x="60" y="143"/>
                        <a:pt x="36" y="75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79" name="Freeform 249"/>
                <p:cNvSpPr>
                  <a:spLocks noChangeAspect="1"/>
                </p:cNvSpPr>
                <p:nvPr/>
              </p:nvSpPr>
              <p:spPr bwMode="gray">
                <a:xfrm>
                  <a:off x="4150" y="2450"/>
                  <a:ext cx="28" cy="158"/>
                </a:xfrm>
                <a:custGeom>
                  <a:avLst/>
                  <a:gdLst>
                    <a:gd name="T0" fmla="*/ 0 w 28"/>
                    <a:gd name="T1" fmla="*/ 0 h 158"/>
                    <a:gd name="T2" fmla="*/ 25 w 28"/>
                    <a:gd name="T3" fmla="*/ 78 h 158"/>
                    <a:gd name="T4" fmla="*/ 21 w 28"/>
                    <a:gd name="T5" fmla="*/ 158 h 158"/>
                    <a:gd name="T6" fmla="*/ 0 60000 65536"/>
                    <a:gd name="T7" fmla="*/ 0 60000 65536"/>
                    <a:gd name="T8" fmla="*/ 0 60000 65536"/>
                    <a:gd name="T9" fmla="*/ 0 w 28"/>
                    <a:gd name="T10" fmla="*/ 0 h 158"/>
                    <a:gd name="T11" fmla="*/ 28 w 28"/>
                    <a:gd name="T12" fmla="*/ 158 h 15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8" h="158">
                      <a:moveTo>
                        <a:pt x="0" y="0"/>
                      </a:moveTo>
                      <a:cubicBezTo>
                        <a:pt x="14" y="23"/>
                        <a:pt x="22" y="52"/>
                        <a:pt x="25" y="78"/>
                      </a:cubicBezTo>
                      <a:cubicBezTo>
                        <a:pt x="28" y="102"/>
                        <a:pt x="25" y="138"/>
                        <a:pt x="21" y="158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0" name="Freeform 250"/>
                <p:cNvSpPr>
                  <a:spLocks noChangeAspect="1"/>
                </p:cNvSpPr>
                <p:nvPr/>
              </p:nvSpPr>
              <p:spPr bwMode="gray">
                <a:xfrm>
                  <a:off x="188" y="1572"/>
                  <a:ext cx="535" cy="740"/>
                </a:xfrm>
                <a:custGeom>
                  <a:avLst/>
                  <a:gdLst>
                    <a:gd name="T0" fmla="*/ 700 w 530"/>
                    <a:gd name="T1" fmla="*/ 0 h 706"/>
                    <a:gd name="T2" fmla="*/ 476 w 530"/>
                    <a:gd name="T3" fmla="*/ 1335 h 706"/>
                    <a:gd name="T4" fmla="*/ 0 w 530"/>
                    <a:gd name="T5" fmla="*/ 2894 h 706"/>
                    <a:gd name="T6" fmla="*/ 0 60000 65536"/>
                    <a:gd name="T7" fmla="*/ 0 60000 65536"/>
                    <a:gd name="T8" fmla="*/ 0 60000 65536"/>
                    <a:gd name="T9" fmla="*/ 0 w 530"/>
                    <a:gd name="T10" fmla="*/ 0 h 706"/>
                    <a:gd name="T11" fmla="*/ 530 w 530"/>
                    <a:gd name="T12" fmla="*/ 706 h 70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530" h="706">
                      <a:moveTo>
                        <a:pt x="530" y="0"/>
                      </a:moveTo>
                      <a:cubicBezTo>
                        <a:pt x="477" y="133"/>
                        <a:pt x="419" y="242"/>
                        <a:pt x="360" y="326"/>
                      </a:cubicBezTo>
                      <a:cubicBezTo>
                        <a:pt x="301" y="410"/>
                        <a:pt x="167" y="656"/>
                        <a:pt x="0" y="706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1" name="Freeform 251"/>
                <p:cNvSpPr>
                  <a:spLocks noChangeAspect="1"/>
                </p:cNvSpPr>
                <p:nvPr/>
              </p:nvSpPr>
              <p:spPr bwMode="gray">
                <a:xfrm>
                  <a:off x="184" y="1928"/>
                  <a:ext cx="360" cy="120"/>
                </a:xfrm>
                <a:custGeom>
                  <a:avLst/>
                  <a:gdLst>
                    <a:gd name="T0" fmla="*/ 360 w 360"/>
                    <a:gd name="T1" fmla="*/ 0 h 120"/>
                    <a:gd name="T2" fmla="*/ 0 w 360"/>
                    <a:gd name="T3" fmla="*/ 120 h 120"/>
                    <a:gd name="T4" fmla="*/ 0 60000 65536"/>
                    <a:gd name="T5" fmla="*/ 0 60000 65536"/>
                    <a:gd name="T6" fmla="*/ 0 w 360"/>
                    <a:gd name="T7" fmla="*/ 0 h 120"/>
                    <a:gd name="T8" fmla="*/ 360 w 360"/>
                    <a:gd name="T9" fmla="*/ 120 h 120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360" h="120">
                      <a:moveTo>
                        <a:pt x="360" y="0"/>
                      </a:moveTo>
                      <a:cubicBezTo>
                        <a:pt x="270" y="80"/>
                        <a:pt x="150" y="104"/>
                        <a:pt x="0" y="12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2" name="Freeform 252"/>
                <p:cNvSpPr>
                  <a:spLocks noChangeAspect="1"/>
                </p:cNvSpPr>
                <p:nvPr/>
              </p:nvSpPr>
              <p:spPr bwMode="gray">
                <a:xfrm>
                  <a:off x="2400" y="1568"/>
                  <a:ext cx="363" cy="200"/>
                </a:xfrm>
                <a:custGeom>
                  <a:avLst/>
                  <a:gdLst>
                    <a:gd name="T0" fmla="*/ 363 w 363"/>
                    <a:gd name="T1" fmla="*/ 200 h 200"/>
                    <a:gd name="T2" fmla="*/ 0 w 363"/>
                    <a:gd name="T3" fmla="*/ 0 h 200"/>
                    <a:gd name="T4" fmla="*/ 0 60000 65536"/>
                    <a:gd name="T5" fmla="*/ 0 60000 65536"/>
                    <a:gd name="T6" fmla="*/ 0 w 363"/>
                    <a:gd name="T7" fmla="*/ 0 h 200"/>
                    <a:gd name="T8" fmla="*/ 363 w 363"/>
                    <a:gd name="T9" fmla="*/ 200 h 200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363" h="200">
                      <a:moveTo>
                        <a:pt x="363" y="200"/>
                      </a:moveTo>
                      <a:cubicBezTo>
                        <a:pt x="321" y="132"/>
                        <a:pt x="222" y="13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rgbClr val="339966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3" name="Freeform 253"/>
                <p:cNvSpPr>
                  <a:spLocks noChangeAspect="1"/>
                </p:cNvSpPr>
                <p:nvPr/>
              </p:nvSpPr>
              <p:spPr bwMode="gray">
                <a:xfrm>
                  <a:off x="2405" y="1651"/>
                  <a:ext cx="360" cy="119"/>
                </a:xfrm>
                <a:custGeom>
                  <a:avLst/>
                  <a:gdLst>
                    <a:gd name="T0" fmla="*/ 360 w 360"/>
                    <a:gd name="T1" fmla="*/ 119 h 119"/>
                    <a:gd name="T2" fmla="*/ 0 w 360"/>
                    <a:gd name="T3" fmla="*/ 3 h 119"/>
                    <a:gd name="T4" fmla="*/ 0 60000 65536"/>
                    <a:gd name="T5" fmla="*/ 0 60000 65536"/>
                    <a:gd name="T6" fmla="*/ 0 w 360"/>
                    <a:gd name="T7" fmla="*/ 0 h 119"/>
                    <a:gd name="T8" fmla="*/ 360 w 360"/>
                    <a:gd name="T9" fmla="*/ 119 h 119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360" h="119">
                      <a:moveTo>
                        <a:pt x="360" y="119"/>
                      </a:moveTo>
                      <a:cubicBezTo>
                        <a:pt x="273" y="46"/>
                        <a:pt x="260" y="0"/>
                        <a:pt x="0" y="3"/>
                      </a:cubicBezTo>
                    </a:path>
                  </a:pathLst>
                </a:custGeom>
                <a:noFill/>
                <a:ln w="12700">
                  <a:solidFill>
                    <a:srgbClr val="339966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4" name="Freeform 254"/>
                <p:cNvSpPr>
                  <a:spLocks noChangeAspect="1"/>
                </p:cNvSpPr>
                <p:nvPr/>
              </p:nvSpPr>
              <p:spPr bwMode="gray">
                <a:xfrm>
                  <a:off x="4418" y="1615"/>
                  <a:ext cx="1064" cy="565"/>
                </a:xfrm>
                <a:custGeom>
                  <a:avLst/>
                  <a:gdLst>
                    <a:gd name="T0" fmla="*/ 1064 w 1064"/>
                    <a:gd name="T1" fmla="*/ 0 h 565"/>
                    <a:gd name="T2" fmla="*/ 0 w 1064"/>
                    <a:gd name="T3" fmla="*/ 565 h 565"/>
                    <a:gd name="T4" fmla="*/ 0 60000 65536"/>
                    <a:gd name="T5" fmla="*/ 0 60000 65536"/>
                    <a:gd name="T6" fmla="*/ 0 w 1064"/>
                    <a:gd name="T7" fmla="*/ 0 h 565"/>
                    <a:gd name="T8" fmla="*/ 1064 w 1064"/>
                    <a:gd name="T9" fmla="*/ 565 h 565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064" h="565">
                      <a:moveTo>
                        <a:pt x="1064" y="0"/>
                      </a:moveTo>
                      <a:cubicBezTo>
                        <a:pt x="851" y="438"/>
                        <a:pt x="410" y="547"/>
                        <a:pt x="0" y="565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5" name="Freeform 255"/>
                <p:cNvSpPr>
                  <a:spLocks noChangeAspect="1"/>
                </p:cNvSpPr>
                <p:nvPr/>
              </p:nvSpPr>
              <p:spPr bwMode="gray">
                <a:xfrm>
                  <a:off x="4317" y="1613"/>
                  <a:ext cx="1168" cy="691"/>
                </a:xfrm>
                <a:custGeom>
                  <a:avLst/>
                  <a:gdLst>
                    <a:gd name="T0" fmla="*/ 1052 w 1172"/>
                    <a:gd name="T1" fmla="*/ 0 h 691"/>
                    <a:gd name="T2" fmla="*/ 0 w 1172"/>
                    <a:gd name="T3" fmla="*/ 691 h 691"/>
                    <a:gd name="T4" fmla="*/ 0 60000 65536"/>
                    <a:gd name="T5" fmla="*/ 0 60000 65536"/>
                    <a:gd name="T6" fmla="*/ 0 w 1172"/>
                    <a:gd name="T7" fmla="*/ 0 h 691"/>
                    <a:gd name="T8" fmla="*/ 1172 w 1172"/>
                    <a:gd name="T9" fmla="*/ 691 h 691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172" h="691">
                      <a:moveTo>
                        <a:pt x="1172" y="0"/>
                      </a:moveTo>
                      <a:cubicBezTo>
                        <a:pt x="974" y="374"/>
                        <a:pt x="572" y="646"/>
                        <a:pt x="0" y="691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6" name="Freeform 256"/>
                <p:cNvSpPr>
                  <a:spLocks noChangeAspect="1"/>
                </p:cNvSpPr>
                <p:nvPr/>
              </p:nvSpPr>
              <p:spPr bwMode="gray">
                <a:xfrm>
                  <a:off x="4499" y="1610"/>
                  <a:ext cx="984" cy="460"/>
                </a:xfrm>
                <a:custGeom>
                  <a:avLst/>
                  <a:gdLst>
                    <a:gd name="T0" fmla="*/ 897 w 987"/>
                    <a:gd name="T1" fmla="*/ 0 h 460"/>
                    <a:gd name="T2" fmla="*/ 0 w 987"/>
                    <a:gd name="T3" fmla="*/ 460 h 460"/>
                    <a:gd name="T4" fmla="*/ 0 60000 65536"/>
                    <a:gd name="T5" fmla="*/ 0 60000 65536"/>
                    <a:gd name="T6" fmla="*/ 0 w 987"/>
                    <a:gd name="T7" fmla="*/ 0 h 460"/>
                    <a:gd name="T8" fmla="*/ 987 w 987"/>
                    <a:gd name="T9" fmla="*/ 460 h 460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987" h="460">
                      <a:moveTo>
                        <a:pt x="987" y="0"/>
                      </a:moveTo>
                      <a:cubicBezTo>
                        <a:pt x="777" y="420"/>
                        <a:pt x="485" y="456"/>
                        <a:pt x="0" y="46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7" name="Freeform 257"/>
                <p:cNvSpPr>
                  <a:spLocks noChangeAspect="1"/>
                </p:cNvSpPr>
                <p:nvPr/>
              </p:nvSpPr>
              <p:spPr bwMode="gray">
                <a:xfrm>
                  <a:off x="4418" y="2069"/>
                  <a:ext cx="78" cy="111"/>
                </a:xfrm>
                <a:custGeom>
                  <a:avLst/>
                  <a:gdLst>
                    <a:gd name="T0" fmla="*/ 0 w 78"/>
                    <a:gd name="T1" fmla="*/ 111 h 111"/>
                    <a:gd name="T2" fmla="*/ 36 w 78"/>
                    <a:gd name="T3" fmla="*/ 44 h 111"/>
                    <a:gd name="T4" fmla="*/ 78 w 78"/>
                    <a:gd name="T5" fmla="*/ 0 h 111"/>
                    <a:gd name="T6" fmla="*/ 0 60000 65536"/>
                    <a:gd name="T7" fmla="*/ 0 60000 65536"/>
                    <a:gd name="T8" fmla="*/ 0 60000 65536"/>
                    <a:gd name="T9" fmla="*/ 0 w 78"/>
                    <a:gd name="T10" fmla="*/ 0 h 111"/>
                    <a:gd name="T11" fmla="*/ 78 w 78"/>
                    <a:gd name="T12" fmla="*/ 111 h 11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78" h="111">
                      <a:moveTo>
                        <a:pt x="0" y="111"/>
                      </a:moveTo>
                      <a:cubicBezTo>
                        <a:pt x="6" y="87"/>
                        <a:pt x="20" y="62"/>
                        <a:pt x="36" y="44"/>
                      </a:cubicBezTo>
                      <a:cubicBezTo>
                        <a:pt x="52" y="24"/>
                        <a:pt x="61" y="11"/>
                        <a:pt x="78" y="0"/>
                      </a:cubicBez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8" name="Freeform 258"/>
                <p:cNvSpPr>
                  <a:spLocks noChangeAspect="1"/>
                </p:cNvSpPr>
                <p:nvPr/>
              </p:nvSpPr>
              <p:spPr bwMode="gray">
                <a:xfrm rot="-142971">
                  <a:off x="4649" y="1966"/>
                  <a:ext cx="800" cy="95"/>
                </a:xfrm>
                <a:custGeom>
                  <a:avLst/>
                  <a:gdLst>
                    <a:gd name="T0" fmla="*/ 578 w 809"/>
                    <a:gd name="T1" fmla="*/ 1 h 189"/>
                    <a:gd name="T2" fmla="*/ 339 w 809"/>
                    <a:gd name="T3" fmla="*/ 1 h 189"/>
                    <a:gd name="T4" fmla="*/ 0 w 809"/>
                    <a:gd name="T5" fmla="*/ 1 h 189"/>
                    <a:gd name="T6" fmla="*/ 0 60000 65536"/>
                    <a:gd name="T7" fmla="*/ 0 60000 65536"/>
                    <a:gd name="T8" fmla="*/ 0 60000 65536"/>
                    <a:gd name="T9" fmla="*/ 0 w 809"/>
                    <a:gd name="T10" fmla="*/ 0 h 189"/>
                    <a:gd name="T11" fmla="*/ 809 w 809"/>
                    <a:gd name="T12" fmla="*/ 189 h 18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809" h="189">
                      <a:moveTo>
                        <a:pt x="809" y="189"/>
                      </a:moveTo>
                      <a:cubicBezTo>
                        <a:pt x="753" y="161"/>
                        <a:pt x="608" y="41"/>
                        <a:pt x="473" y="23"/>
                      </a:cubicBezTo>
                      <a:cubicBezTo>
                        <a:pt x="272" y="0"/>
                        <a:pt x="99" y="71"/>
                        <a:pt x="0" y="84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89" name="Freeform 259"/>
                <p:cNvSpPr>
                  <a:spLocks noChangeAspect="1"/>
                </p:cNvSpPr>
                <p:nvPr/>
              </p:nvSpPr>
              <p:spPr bwMode="gray">
                <a:xfrm>
                  <a:off x="4306" y="2069"/>
                  <a:ext cx="193" cy="236"/>
                </a:xfrm>
                <a:custGeom>
                  <a:avLst/>
                  <a:gdLst>
                    <a:gd name="T0" fmla="*/ 7 w 193"/>
                    <a:gd name="T1" fmla="*/ 236 h 236"/>
                    <a:gd name="T2" fmla="*/ 193 w 193"/>
                    <a:gd name="T3" fmla="*/ 0 h 236"/>
                    <a:gd name="T4" fmla="*/ 0 60000 65536"/>
                    <a:gd name="T5" fmla="*/ 0 60000 65536"/>
                    <a:gd name="T6" fmla="*/ 0 w 193"/>
                    <a:gd name="T7" fmla="*/ 0 h 236"/>
                    <a:gd name="T8" fmla="*/ 193 w 193"/>
                    <a:gd name="T9" fmla="*/ 236 h 2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93" h="236">
                      <a:moveTo>
                        <a:pt x="7" y="236"/>
                      </a:moveTo>
                      <a:cubicBezTo>
                        <a:pt x="0" y="95"/>
                        <a:pt x="102" y="6"/>
                        <a:pt x="193" y="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90" name="Freeform 260"/>
                <p:cNvSpPr>
                  <a:spLocks noChangeAspect="1"/>
                </p:cNvSpPr>
                <p:nvPr/>
              </p:nvSpPr>
              <p:spPr bwMode="gray">
                <a:xfrm>
                  <a:off x="4307" y="2159"/>
                  <a:ext cx="1144" cy="160"/>
                </a:xfrm>
                <a:custGeom>
                  <a:avLst/>
                  <a:gdLst>
                    <a:gd name="T0" fmla="*/ 0 w 1109"/>
                    <a:gd name="T1" fmla="*/ 4 h 181"/>
                    <a:gd name="T2" fmla="*/ 1292 w 1109"/>
                    <a:gd name="T3" fmla="*/ 4 h 181"/>
                    <a:gd name="T4" fmla="*/ 2813 w 1109"/>
                    <a:gd name="T5" fmla="*/ 0 h 181"/>
                    <a:gd name="T6" fmla="*/ 0 60000 65536"/>
                    <a:gd name="T7" fmla="*/ 0 60000 65536"/>
                    <a:gd name="T8" fmla="*/ 0 60000 65536"/>
                    <a:gd name="T9" fmla="*/ 0 w 1109"/>
                    <a:gd name="T10" fmla="*/ 0 h 181"/>
                    <a:gd name="T11" fmla="*/ 1109 w 1109"/>
                    <a:gd name="T12" fmla="*/ 181 h 18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109" h="181">
                      <a:moveTo>
                        <a:pt x="0" y="168"/>
                      </a:moveTo>
                      <a:cubicBezTo>
                        <a:pt x="104" y="181"/>
                        <a:pt x="299" y="170"/>
                        <a:pt x="507" y="144"/>
                      </a:cubicBezTo>
                      <a:cubicBezTo>
                        <a:pt x="715" y="118"/>
                        <a:pt x="883" y="87"/>
                        <a:pt x="1109" y="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91" name="Freeform 261"/>
                <p:cNvSpPr>
                  <a:spLocks noChangeAspect="1"/>
                </p:cNvSpPr>
                <p:nvPr/>
              </p:nvSpPr>
              <p:spPr bwMode="gray">
                <a:xfrm rot="848410">
                  <a:off x="2842" y="1782"/>
                  <a:ext cx="97" cy="59"/>
                </a:xfrm>
                <a:custGeom>
                  <a:avLst/>
                  <a:gdLst>
                    <a:gd name="T0" fmla="*/ 56 w 99"/>
                    <a:gd name="T1" fmla="*/ 0 h 43"/>
                    <a:gd name="T2" fmla="*/ 0 w 99"/>
                    <a:gd name="T3" fmla="*/ 569563 h 43"/>
                    <a:gd name="T4" fmla="*/ 0 60000 65536"/>
                    <a:gd name="T5" fmla="*/ 0 60000 65536"/>
                    <a:gd name="T6" fmla="*/ 0 w 99"/>
                    <a:gd name="T7" fmla="*/ 0 h 43"/>
                    <a:gd name="T8" fmla="*/ 99 w 99"/>
                    <a:gd name="T9" fmla="*/ 43 h 43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99" h="43">
                      <a:moveTo>
                        <a:pt x="99" y="0"/>
                      </a:moveTo>
                      <a:lnTo>
                        <a:pt x="0" y="43"/>
                      </a:lnTo>
                    </a:path>
                  </a:pathLst>
                </a:custGeom>
                <a:noFill/>
                <a:ln w="12700">
                  <a:solidFill>
                    <a:schemeClr val="accent2"/>
                  </a:solidFill>
                  <a:prstDash val="sys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392" name="Text Box 262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553" y="2250"/>
                  <a:ext cx="110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MIA</a:t>
                  </a:r>
                </a:p>
              </p:txBody>
            </p:sp>
            <p:sp>
              <p:nvSpPr>
                <p:cNvPr id="393" name="Text Box 263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265" y="2318"/>
                  <a:ext cx="128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r"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MEX</a:t>
                  </a:r>
                </a:p>
              </p:txBody>
            </p:sp>
            <p:sp>
              <p:nvSpPr>
                <p:cNvPr id="394" name="Text Box 264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894" y="2453"/>
                  <a:ext cx="125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CCS</a:t>
                  </a:r>
                </a:p>
              </p:txBody>
            </p:sp>
            <p:sp>
              <p:nvSpPr>
                <p:cNvPr id="395" name="Text Box 265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556" y="2519"/>
                  <a:ext cx="116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PTY</a:t>
                  </a:r>
                </a:p>
              </p:txBody>
            </p:sp>
            <p:sp>
              <p:nvSpPr>
                <p:cNvPr id="396" name="Text Box 266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450" y="2114"/>
                  <a:ext cx="251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tIns="0" rIns="9000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CVG</a:t>
                  </a:r>
                </a:p>
              </p:txBody>
            </p:sp>
            <p:sp>
              <p:nvSpPr>
                <p:cNvPr id="397" name="Text Box 267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788" y="2537"/>
                  <a:ext cx="136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BOG</a:t>
                  </a:r>
                </a:p>
              </p:txBody>
            </p:sp>
            <p:sp>
              <p:nvSpPr>
                <p:cNvPr id="398" name="Text Box 268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533" y="2621"/>
                  <a:ext cx="126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GYE</a:t>
                  </a:r>
                </a:p>
              </p:txBody>
            </p:sp>
            <p:sp>
              <p:nvSpPr>
                <p:cNvPr id="399" name="Freeform 269"/>
                <p:cNvSpPr>
                  <a:spLocks noChangeAspect="1"/>
                </p:cNvSpPr>
                <p:nvPr/>
              </p:nvSpPr>
              <p:spPr bwMode="gray">
                <a:xfrm>
                  <a:off x="1636" y="2072"/>
                  <a:ext cx="46" cy="210"/>
                </a:xfrm>
                <a:custGeom>
                  <a:avLst/>
                  <a:gdLst>
                    <a:gd name="T0" fmla="*/ 0 w 46"/>
                    <a:gd name="T1" fmla="*/ 0 h 210"/>
                    <a:gd name="T2" fmla="*/ 46 w 46"/>
                    <a:gd name="T3" fmla="*/ 210 h 210"/>
                    <a:gd name="T4" fmla="*/ 0 60000 65536"/>
                    <a:gd name="T5" fmla="*/ 0 60000 65536"/>
                    <a:gd name="T6" fmla="*/ 0 w 46"/>
                    <a:gd name="T7" fmla="*/ 0 h 210"/>
                    <a:gd name="T8" fmla="*/ 46 w 46"/>
                    <a:gd name="T9" fmla="*/ 210 h 210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46" h="210">
                      <a:moveTo>
                        <a:pt x="0" y="0"/>
                      </a:moveTo>
                      <a:cubicBezTo>
                        <a:pt x="17" y="54"/>
                        <a:pt x="42" y="161"/>
                        <a:pt x="46" y="21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00" name="Freeform 270"/>
                <p:cNvSpPr>
                  <a:spLocks noChangeAspect="1"/>
                </p:cNvSpPr>
                <p:nvPr/>
              </p:nvSpPr>
              <p:spPr bwMode="gray">
                <a:xfrm>
                  <a:off x="1681" y="2282"/>
                  <a:ext cx="15" cy="242"/>
                </a:xfrm>
                <a:custGeom>
                  <a:avLst/>
                  <a:gdLst>
                    <a:gd name="T0" fmla="*/ 0 w 15"/>
                    <a:gd name="T1" fmla="*/ 0 h 242"/>
                    <a:gd name="T2" fmla="*/ 15 w 15"/>
                    <a:gd name="T3" fmla="*/ 242 h 242"/>
                    <a:gd name="T4" fmla="*/ 0 60000 65536"/>
                    <a:gd name="T5" fmla="*/ 0 60000 65536"/>
                    <a:gd name="T6" fmla="*/ 0 w 15"/>
                    <a:gd name="T7" fmla="*/ 0 h 242"/>
                    <a:gd name="T8" fmla="*/ 15 w 15"/>
                    <a:gd name="T9" fmla="*/ 242 h 242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5" h="242">
                      <a:moveTo>
                        <a:pt x="0" y="0"/>
                      </a:moveTo>
                      <a:cubicBezTo>
                        <a:pt x="5" y="59"/>
                        <a:pt x="15" y="185"/>
                        <a:pt x="15" y="242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01" name="Freeform 271"/>
                <p:cNvSpPr>
                  <a:spLocks noChangeAspect="1"/>
                </p:cNvSpPr>
                <p:nvPr/>
              </p:nvSpPr>
              <p:spPr bwMode="gray">
                <a:xfrm>
                  <a:off x="1418" y="2351"/>
                  <a:ext cx="207" cy="125"/>
                </a:xfrm>
                <a:custGeom>
                  <a:avLst/>
                  <a:gdLst>
                    <a:gd name="T0" fmla="*/ 44481 w 172"/>
                    <a:gd name="T1" fmla="*/ 485912 h 94"/>
                    <a:gd name="T2" fmla="*/ 0 w 172"/>
                    <a:gd name="T3" fmla="*/ 0 h 94"/>
                    <a:gd name="T4" fmla="*/ 0 60000 65536"/>
                    <a:gd name="T5" fmla="*/ 0 60000 65536"/>
                    <a:gd name="T6" fmla="*/ 0 w 172"/>
                    <a:gd name="T7" fmla="*/ 0 h 94"/>
                    <a:gd name="T8" fmla="*/ 172 w 172"/>
                    <a:gd name="T9" fmla="*/ 94 h 94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72" h="94">
                      <a:moveTo>
                        <a:pt x="172" y="94"/>
                      </a:moveTo>
                      <a:cubicBezTo>
                        <a:pt x="135" y="55"/>
                        <a:pt x="55" y="13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02" name="Freeform 272"/>
                <p:cNvSpPr>
                  <a:spLocks noChangeAspect="1"/>
                </p:cNvSpPr>
                <p:nvPr/>
              </p:nvSpPr>
              <p:spPr bwMode="gray">
                <a:xfrm>
                  <a:off x="1694" y="2486"/>
                  <a:ext cx="165" cy="36"/>
                </a:xfrm>
                <a:custGeom>
                  <a:avLst/>
                  <a:gdLst>
                    <a:gd name="T0" fmla="*/ 165 w 165"/>
                    <a:gd name="T1" fmla="*/ 0 h 36"/>
                    <a:gd name="T2" fmla="*/ 0 w 165"/>
                    <a:gd name="T3" fmla="*/ 36 h 36"/>
                    <a:gd name="T4" fmla="*/ 0 60000 65536"/>
                    <a:gd name="T5" fmla="*/ 0 60000 65536"/>
                    <a:gd name="T6" fmla="*/ 0 w 165"/>
                    <a:gd name="T7" fmla="*/ 0 h 36"/>
                    <a:gd name="T8" fmla="*/ 165 w 165"/>
                    <a:gd name="T9" fmla="*/ 36 h 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65" h="36">
                      <a:moveTo>
                        <a:pt x="165" y="0"/>
                      </a:moveTo>
                      <a:cubicBezTo>
                        <a:pt x="107" y="2"/>
                        <a:pt x="35" y="24"/>
                        <a:pt x="0" y="36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03" name="Freeform 273"/>
                <p:cNvSpPr>
                  <a:spLocks noChangeAspect="1"/>
                </p:cNvSpPr>
                <p:nvPr/>
              </p:nvSpPr>
              <p:spPr bwMode="gray">
                <a:xfrm>
                  <a:off x="1696" y="2524"/>
                  <a:ext cx="64" cy="48"/>
                </a:xfrm>
                <a:custGeom>
                  <a:avLst/>
                  <a:gdLst>
                    <a:gd name="T0" fmla="*/ 64 w 64"/>
                    <a:gd name="T1" fmla="*/ 48 h 48"/>
                    <a:gd name="T2" fmla="*/ 0 w 64"/>
                    <a:gd name="T3" fmla="*/ 0 h 48"/>
                    <a:gd name="T4" fmla="*/ 0 60000 65536"/>
                    <a:gd name="T5" fmla="*/ 0 60000 65536"/>
                    <a:gd name="T6" fmla="*/ 0 w 64"/>
                    <a:gd name="T7" fmla="*/ 0 h 48"/>
                    <a:gd name="T8" fmla="*/ 64 w 64"/>
                    <a:gd name="T9" fmla="*/ 48 h 48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64" h="48">
                      <a:moveTo>
                        <a:pt x="64" y="48"/>
                      </a:moveTo>
                      <a:cubicBezTo>
                        <a:pt x="54" y="36"/>
                        <a:pt x="11" y="8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04" name="Freeform 274"/>
                <p:cNvSpPr>
                  <a:spLocks noChangeAspect="1"/>
                </p:cNvSpPr>
                <p:nvPr/>
              </p:nvSpPr>
              <p:spPr bwMode="gray">
                <a:xfrm>
                  <a:off x="1690" y="2522"/>
                  <a:ext cx="6" cy="138"/>
                </a:xfrm>
                <a:custGeom>
                  <a:avLst/>
                  <a:gdLst>
                    <a:gd name="T0" fmla="*/ 0 w 6"/>
                    <a:gd name="T1" fmla="*/ 138 h 138"/>
                    <a:gd name="T2" fmla="*/ 6 w 6"/>
                    <a:gd name="T3" fmla="*/ 0 h 138"/>
                    <a:gd name="T4" fmla="*/ 0 60000 65536"/>
                    <a:gd name="T5" fmla="*/ 0 60000 65536"/>
                    <a:gd name="T6" fmla="*/ 0 w 6"/>
                    <a:gd name="T7" fmla="*/ 0 h 138"/>
                    <a:gd name="T8" fmla="*/ 6 w 6"/>
                    <a:gd name="T9" fmla="*/ 138 h 138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6" h="138">
                      <a:moveTo>
                        <a:pt x="0" y="138"/>
                      </a:moveTo>
                      <a:cubicBezTo>
                        <a:pt x="1" y="106"/>
                        <a:pt x="3" y="34"/>
                        <a:pt x="6" y="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05" name="Text Box 275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477" y="2446"/>
                  <a:ext cx="119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SJO</a:t>
                  </a:r>
                </a:p>
              </p:txBody>
            </p:sp>
            <p:sp>
              <p:nvSpPr>
                <p:cNvPr id="406" name="Freeform 276"/>
                <p:cNvSpPr>
                  <a:spLocks noChangeAspect="1"/>
                </p:cNvSpPr>
                <p:nvPr/>
              </p:nvSpPr>
              <p:spPr bwMode="gray">
                <a:xfrm>
                  <a:off x="1628" y="2479"/>
                  <a:ext cx="66" cy="46"/>
                </a:xfrm>
                <a:custGeom>
                  <a:avLst/>
                  <a:gdLst>
                    <a:gd name="T0" fmla="*/ 0 w 66"/>
                    <a:gd name="T1" fmla="*/ 0 h 46"/>
                    <a:gd name="T2" fmla="*/ 66 w 66"/>
                    <a:gd name="T3" fmla="*/ 46 h 46"/>
                    <a:gd name="T4" fmla="*/ 0 60000 65536"/>
                    <a:gd name="T5" fmla="*/ 0 60000 65536"/>
                    <a:gd name="T6" fmla="*/ 0 w 66"/>
                    <a:gd name="T7" fmla="*/ 0 h 46"/>
                    <a:gd name="T8" fmla="*/ 66 w 66"/>
                    <a:gd name="T9" fmla="*/ 46 h 4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66" h="46">
                      <a:moveTo>
                        <a:pt x="0" y="0"/>
                      </a:moveTo>
                      <a:cubicBezTo>
                        <a:pt x="16" y="8"/>
                        <a:pt x="53" y="39"/>
                        <a:pt x="66" y="46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07" name="Freeform 277"/>
                <p:cNvSpPr>
                  <a:spLocks noChangeAspect="1"/>
                </p:cNvSpPr>
                <p:nvPr/>
              </p:nvSpPr>
              <p:spPr bwMode="gray">
                <a:xfrm>
                  <a:off x="1624" y="2279"/>
                  <a:ext cx="57" cy="203"/>
                </a:xfrm>
                <a:custGeom>
                  <a:avLst/>
                  <a:gdLst>
                    <a:gd name="T0" fmla="*/ 57 w 57"/>
                    <a:gd name="T1" fmla="*/ 0 h 203"/>
                    <a:gd name="T2" fmla="*/ 0 w 57"/>
                    <a:gd name="T3" fmla="*/ 203 h 203"/>
                    <a:gd name="T4" fmla="*/ 0 60000 65536"/>
                    <a:gd name="T5" fmla="*/ 0 60000 65536"/>
                    <a:gd name="T6" fmla="*/ 0 w 57"/>
                    <a:gd name="T7" fmla="*/ 0 h 203"/>
                    <a:gd name="T8" fmla="*/ 57 w 57"/>
                    <a:gd name="T9" fmla="*/ 203 h 203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57" h="203">
                      <a:moveTo>
                        <a:pt x="57" y="0"/>
                      </a:moveTo>
                      <a:cubicBezTo>
                        <a:pt x="35" y="71"/>
                        <a:pt x="36" y="119"/>
                        <a:pt x="0" y="203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08" name="Text Box 278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2823" y="1868"/>
                  <a:ext cx="233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FRA</a:t>
                  </a:r>
                </a:p>
              </p:txBody>
            </p:sp>
            <p:sp>
              <p:nvSpPr>
                <p:cNvPr id="409" name="Text Box 280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2533" y="1738"/>
                  <a:ext cx="274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EMA</a:t>
                  </a:r>
                </a:p>
              </p:txBody>
            </p:sp>
            <p:sp>
              <p:nvSpPr>
                <p:cNvPr id="410" name="Freeform 282"/>
                <p:cNvSpPr>
                  <a:spLocks noChangeAspect="1"/>
                </p:cNvSpPr>
                <p:nvPr/>
              </p:nvSpPr>
              <p:spPr bwMode="gray">
                <a:xfrm>
                  <a:off x="1636" y="1883"/>
                  <a:ext cx="1175" cy="246"/>
                </a:xfrm>
                <a:custGeom>
                  <a:avLst/>
                  <a:gdLst>
                    <a:gd name="T0" fmla="*/ 1175 w 1175"/>
                    <a:gd name="T1" fmla="*/ 0 h 246"/>
                    <a:gd name="T2" fmla="*/ 680 w 1175"/>
                    <a:gd name="T3" fmla="*/ 219 h 246"/>
                    <a:gd name="T4" fmla="*/ 0 w 1175"/>
                    <a:gd name="T5" fmla="*/ 189 h 246"/>
                    <a:gd name="T6" fmla="*/ 0 60000 65536"/>
                    <a:gd name="T7" fmla="*/ 0 60000 65536"/>
                    <a:gd name="T8" fmla="*/ 0 60000 65536"/>
                    <a:gd name="T9" fmla="*/ 0 w 1175"/>
                    <a:gd name="T10" fmla="*/ 0 h 246"/>
                    <a:gd name="T11" fmla="*/ 1175 w 1175"/>
                    <a:gd name="T12" fmla="*/ 246 h 24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175" h="246">
                      <a:moveTo>
                        <a:pt x="1175" y="0"/>
                      </a:moveTo>
                      <a:cubicBezTo>
                        <a:pt x="1045" y="96"/>
                        <a:pt x="862" y="191"/>
                        <a:pt x="680" y="219"/>
                      </a:cubicBezTo>
                      <a:cubicBezTo>
                        <a:pt x="498" y="246"/>
                        <a:pt x="258" y="212"/>
                        <a:pt x="0" y="189"/>
                      </a:cubicBezTo>
                    </a:path>
                  </a:pathLst>
                </a:custGeom>
                <a:noFill/>
                <a:ln w="12700">
                  <a:solidFill>
                    <a:srgbClr val="339966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11" name="Freeform 283"/>
                <p:cNvSpPr>
                  <a:spLocks noChangeAspect="1"/>
                </p:cNvSpPr>
                <p:nvPr/>
              </p:nvSpPr>
              <p:spPr bwMode="gray">
                <a:xfrm>
                  <a:off x="2308" y="1844"/>
                  <a:ext cx="584" cy="260"/>
                </a:xfrm>
                <a:custGeom>
                  <a:avLst/>
                  <a:gdLst>
                    <a:gd name="T0" fmla="*/ 584 w 584"/>
                    <a:gd name="T1" fmla="*/ 0 h 260"/>
                    <a:gd name="T2" fmla="*/ 0 w 584"/>
                    <a:gd name="T3" fmla="*/ 260 h 260"/>
                    <a:gd name="T4" fmla="*/ 0 60000 65536"/>
                    <a:gd name="T5" fmla="*/ 0 60000 65536"/>
                    <a:gd name="T6" fmla="*/ 0 w 584"/>
                    <a:gd name="T7" fmla="*/ 0 h 260"/>
                    <a:gd name="T8" fmla="*/ 584 w 584"/>
                    <a:gd name="T9" fmla="*/ 260 h 260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584" h="260">
                      <a:moveTo>
                        <a:pt x="584" y="0"/>
                      </a:moveTo>
                      <a:cubicBezTo>
                        <a:pt x="464" y="131"/>
                        <a:pt x="249" y="213"/>
                        <a:pt x="0" y="260"/>
                      </a:cubicBezTo>
                    </a:path>
                  </a:pathLst>
                </a:custGeom>
                <a:noFill/>
                <a:ln w="12700">
                  <a:solidFill>
                    <a:srgbClr val="339966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12" name="Freeform 284"/>
                <p:cNvSpPr>
                  <a:spLocks noChangeAspect="1"/>
                </p:cNvSpPr>
                <p:nvPr/>
              </p:nvSpPr>
              <p:spPr bwMode="gray">
                <a:xfrm>
                  <a:off x="188" y="1807"/>
                  <a:ext cx="959" cy="296"/>
                </a:xfrm>
                <a:custGeom>
                  <a:avLst/>
                  <a:gdLst>
                    <a:gd name="T0" fmla="*/ 0 w 942"/>
                    <a:gd name="T1" fmla="*/ 26 h 318"/>
                    <a:gd name="T2" fmla="*/ 1612 w 942"/>
                    <a:gd name="T3" fmla="*/ 37 h 318"/>
                    <a:gd name="T4" fmla="*/ 0 60000 65536"/>
                    <a:gd name="T5" fmla="*/ 0 60000 65536"/>
                    <a:gd name="T6" fmla="*/ 0 w 942"/>
                    <a:gd name="T7" fmla="*/ 0 h 318"/>
                    <a:gd name="T8" fmla="*/ 942 w 942"/>
                    <a:gd name="T9" fmla="*/ 318 h 318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942" h="318">
                      <a:moveTo>
                        <a:pt x="0" y="224"/>
                      </a:moveTo>
                      <a:cubicBezTo>
                        <a:pt x="590" y="0"/>
                        <a:pt x="813" y="215"/>
                        <a:pt x="942" y="318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13" name="Freeform 285"/>
                <p:cNvSpPr>
                  <a:spLocks noChangeAspect="1"/>
                </p:cNvSpPr>
                <p:nvPr/>
              </p:nvSpPr>
              <p:spPr bwMode="gray">
                <a:xfrm>
                  <a:off x="727" y="1568"/>
                  <a:ext cx="434" cy="547"/>
                </a:xfrm>
                <a:custGeom>
                  <a:avLst/>
                  <a:gdLst>
                    <a:gd name="T0" fmla="*/ 434 w 434"/>
                    <a:gd name="T1" fmla="*/ 547 h 547"/>
                    <a:gd name="T2" fmla="*/ 0 w 434"/>
                    <a:gd name="T3" fmla="*/ 0 h 547"/>
                    <a:gd name="T4" fmla="*/ 0 60000 65536"/>
                    <a:gd name="T5" fmla="*/ 0 60000 65536"/>
                    <a:gd name="T6" fmla="*/ 0 w 434"/>
                    <a:gd name="T7" fmla="*/ 0 h 547"/>
                    <a:gd name="T8" fmla="*/ 434 w 434"/>
                    <a:gd name="T9" fmla="*/ 547 h 547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434" h="547">
                      <a:moveTo>
                        <a:pt x="434" y="547"/>
                      </a:moveTo>
                      <a:cubicBezTo>
                        <a:pt x="205" y="330"/>
                        <a:pt x="17" y="117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14" name="Freeform 286"/>
                <p:cNvSpPr>
                  <a:spLocks noChangeAspect="1"/>
                </p:cNvSpPr>
                <p:nvPr/>
              </p:nvSpPr>
              <p:spPr bwMode="gray">
                <a:xfrm>
                  <a:off x="731" y="1567"/>
                  <a:ext cx="903" cy="505"/>
                </a:xfrm>
                <a:custGeom>
                  <a:avLst/>
                  <a:gdLst>
                    <a:gd name="T0" fmla="*/ 903 w 903"/>
                    <a:gd name="T1" fmla="*/ 505 h 505"/>
                    <a:gd name="T2" fmla="*/ 0 w 903"/>
                    <a:gd name="T3" fmla="*/ 0 h 505"/>
                    <a:gd name="T4" fmla="*/ 0 60000 65536"/>
                    <a:gd name="T5" fmla="*/ 0 60000 65536"/>
                    <a:gd name="T6" fmla="*/ 0 w 903"/>
                    <a:gd name="T7" fmla="*/ 0 h 505"/>
                    <a:gd name="T8" fmla="*/ 903 w 903"/>
                    <a:gd name="T9" fmla="*/ 505 h 505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903" h="505">
                      <a:moveTo>
                        <a:pt x="903" y="505"/>
                      </a:moveTo>
                      <a:cubicBezTo>
                        <a:pt x="468" y="412"/>
                        <a:pt x="90" y="240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15" name="Freeform 287"/>
                <p:cNvSpPr>
                  <a:spLocks noChangeAspect="1"/>
                </p:cNvSpPr>
                <p:nvPr/>
              </p:nvSpPr>
              <p:spPr bwMode="gray">
                <a:xfrm>
                  <a:off x="190" y="2075"/>
                  <a:ext cx="1441" cy="320"/>
                </a:xfrm>
                <a:custGeom>
                  <a:avLst/>
                  <a:gdLst>
                    <a:gd name="T0" fmla="*/ 1441 w 1441"/>
                    <a:gd name="T1" fmla="*/ 0 h 320"/>
                    <a:gd name="T2" fmla="*/ 0 w 1441"/>
                    <a:gd name="T3" fmla="*/ 269 h 320"/>
                    <a:gd name="T4" fmla="*/ 0 60000 65536"/>
                    <a:gd name="T5" fmla="*/ 0 60000 65536"/>
                    <a:gd name="T6" fmla="*/ 0 w 1441"/>
                    <a:gd name="T7" fmla="*/ 0 h 320"/>
                    <a:gd name="T8" fmla="*/ 1441 w 1441"/>
                    <a:gd name="T9" fmla="*/ 320 h 320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441" h="320">
                      <a:moveTo>
                        <a:pt x="1441" y="0"/>
                      </a:moveTo>
                      <a:cubicBezTo>
                        <a:pt x="1138" y="125"/>
                        <a:pt x="396" y="320"/>
                        <a:pt x="0" y="269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16" name="Oval 288"/>
                <p:cNvSpPr>
                  <a:spLocks noChangeAspect="1" noChangeArrowheads="1"/>
                </p:cNvSpPr>
                <p:nvPr/>
              </p:nvSpPr>
              <p:spPr bwMode="gray">
                <a:xfrm>
                  <a:off x="709" y="1548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17" name="Oval 289"/>
                <p:cNvSpPr>
                  <a:spLocks noChangeAspect="1" noChangeArrowheads="1"/>
                </p:cNvSpPr>
                <p:nvPr/>
              </p:nvSpPr>
              <p:spPr bwMode="gray">
                <a:xfrm>
                  <a:off x="1140" y="2095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18" name="Oval 290"/>
                <p:cNvSpPr>
                  <a:spLocks noChangeAspect="1" noChangeArrowheads="1"/>
                </p:cNvSpPr>
                <p:nvPr/>
              </p:nvSpPr>
              <p:spPr bwMode="gray">
                <a:xfrm>
                  <a:off x="1404" y="2337"/>
                  <a:ext cx="36" cy="35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19" name="Oval 291"/>
                <p:cNvSpPr>
                  <a:spLocks noChangeAspect="1" noChangeArrowheads="1"/>
                </p:cNvSpPr>
                <p:nvPr/>
              </p:nvSpPr>
              <p:spPr bwMode="gray">
                <a:xfrm>
                  <a:off x="1606" y="2459"/>
                  <a:ext cx="36" cy="37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0" name="Oval 292"/>
                <p:cNvSpPr>
                  <a:spLocks noChangeAspect="1" noChangeArrowheads="1"/>
                </p:cNvSpPr>
                <p:nvPr/>
              </p:nvSpPr>
              <p:spPr bwMode="gray">
                <a:xfrm>
                  <a:off x="1663" y="2266"/>
                  <a:ext cx="36" cy="35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1" name="Oval 293"/>
                <p:cNvSpPr>
                  <a:spLocks noChangeAspect="1" noChangeArrowheads="1"/>
                </p:cNvSpPr>
                <p:nvPr/>
              </p:nvSpPr>
              <p:spPr bwMode="gray">
                <a:xfrm>
                  <a:off x="1842" y="2470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2" name="Oval 294"/>
                <p:cNvSpPr>
                  <a:spLocks noChangeAspect="1" noChangeArrowheads="1"/>
                </p:cNvSpPr>
                <p:nvPr/>
              </p:nvSpPr>
              <p:spPr bwMode="gray">
                <a:xfrm>
                  <a:off x="1676" y="2504"/>
                  <a:ext cx="36" cy="38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3" name="Oval 295"/>
                <p:cNvSpPr>
                  <a:spLocks noChangeAspect="1" noChangeArrowheads="1"/>
                </p:cNvSpPr>
                <p:nvPr/>
              </p:nvSpPr>
              <p:spPr bwMode="gray">
                <a:xfrm>
                  <a:off x="1739" y="2554"/>
                  <a:ext cx="36" cy="35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4" name="Oval 296"/>
                <p:cNvSpPr>
                  <a:spLocks noChangeAspect="1" noChangeArrowheads="1"/>
                </p:cNvSpPr>
                <p:nvPr/>
              </p:nvSpPr>
              <p:spPr bwMode="gray">
                <a:xfrm>
                  <a:off x="1671" y="2642"/>
                  <a:ext cx="36" cy="35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5" name="Oval 297"/>
                <p:cNvSpPr>
                  <a:spLocks noChangeAspect="1" noChangeArrowheads="1"/>
                </p:cNvSpPr>
                <p:nvPr/>
              </p:nvSpPr>
              <p:spPr bwMode="gray">
                <a:xfrm>
                  <a:off x="2923" y="1779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6" name="Oval 298"/>
                <p:cNvSpPr>
                  <a:spLocks noChangeAspect="1" noChangeArrowheads="1"/>
                </p:cNvSpPr>
                <p:nvPr/>
              </p:nvSpPr>
              <p:spPr bwMode="gray">
                <a:xfrm>
                  <a:off x="2747" y="1759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7" name="Oval 299"/>
                <p:cNvSpPr>
                  <a:spLocks noChangeAspect="1" noChangeArrowheads="1"/>
                </p:cNvSpPr>
                <p:nvPr/>
              </p:nvSpPr>
              <p:spPr bwMode="gray">
                <a:xfrm>
                  <a:off x="1778" y="1997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8" name="Oval 300"/>
                <p:cNvSpPr>
                  <a:spLocks noChangeAspect="1" noChangeArrowheads="1"/>
                </p:cNvSpPr>
                <p:nvPr/>
              </p:nvSpPr>
              <p:spPr bwMode="gray">
                <a:xfrm>
                  <a:off x="2875" y="1823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29" name="Oval 301"/>
                <p:cNvSpPr>
                  <a:spLocks noChangeAspect="1" noChangeArrowheads="1"/>
                </p:cNvSpPr>
                <p:nvPr/>
              </p:nvSpPr>
              <p:spPr bwMode="gray">
                <a:xfrm>
                  <a:off x="2796" y="1863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30" name="Oval 302"/>
                <p:cNvSpPr>
                  <a:spLocks noChangeAspect="1" noChangeArrowheads="1"/>
                </p:cNvSpPr>
                <p:nvPr/>
              </p:nvSpPr>
              <p:spPr bwMode="gray">
                <a:xfrm>
                  <a:off x="3458" y="2265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  <p:sp>
              <p:nvSpPr>
                <p:cNvPr id="431" name="Oval 303"/>
                <p:cNvSpPr>
                  <a:spLocks noChangeAspect="1" noChangeArrowheads="1"/>
                </p:cNvSpPr>
                <p:nvPr/>
              </p:nvSpPr>
              <p:spPr bwMode="gray">
                <a:xfrm>
                  <a:off x="2827" y="2522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  <p:sp>
              <p:nvSpPr>
                <p:cNvPr id="432" name="Oval 304"/>
                <p:cNvSpPr>
                  <a:spLocks noChangeAspect="1" noChangeArrowheads="1"/>
                </p:cNvSpPr>
                <p:nvPr/>
              </p:nvSpPr>
              <p:spPr bwMode="gray">
                <a:xfrm>
                  <a:off x="4153" y="2590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  <p:sp>
              <p:nvSpPr>
                <p:cNvPr id="433" name="Oval 305"/>
                <p:cNvSpPr>
                  <a:spLocks noChangeAspect="1" noChangeArrowheads="1"/>
                </p:cNvSpPr>
                <p:nvPr/>
              </p:nvSpPr>
              <p:spPr bwMode="gray">
                <a:xfrm>
                  <a:off x="4129" y="2430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  <p:sp>
              <p:nvSpPr>
                <p:cNvPr id="434" name="Oval 306"/>
                <p:cNvSpPr>
                  <a:spLocks noChangeAspect="1" noChangeArrowheads="1"/>
                </p:cNvSpPr>
                <p:nvPr/>
              </p:nvSpPr>
              <p:spPr bwMode="gray">
                <a:xfrm>
                  <a:off x="3514" y="2278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  <p:sp>
              <p:nvSpPr>
                <p:cNvPr id="435" name="Oval 307"/>
                <p:cNvSpPr>
                  <a:spLocks noChangeAspect="1" noChangeArrowheads="1"/>
                </p:cNvSpPr>
                <p:nvPr/>
              </p:nvSpPr>
              <p:spPr bwMode="gray">
                <a:xfrm>
                  <a:off x="3806" y="2233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  <p:sp>
              <p:nvSpPr>
                <p:cNvPr id="436" name="Oval 308"/>
                <p:cNvSpPr>
                  <a:spLocks noChangeAspect="1" noChangeArrowheads="1"/>
                </p:cNvSpPr>
                <p:nvPr/>
              </p:nvSpPr>
              <p:spPr bwMode="gray">
                <a:xfrm>
                  <a:off x="4480" y="2051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  <p:sp>
              <p:nvSpPr>
                <p:cNvPr id="437" name="Oval 309"/>
                <p:cNvSpPr>
                  <a:spLocks noChangeAspect="1" noChangeArrowheads="1"/>
                </p:cNvSpPr>
                <p:nvPr/>
              </p:nvSpPr>
              <p:spPr bwMode="gray">
                <a:xfrm>
                  <a:off x="4400" y="2163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  <p:sp>
              <p:nvSpPr>
                <p:cNvPr id="438" name="Text Box 604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4402" y="3061"/>
                  <a:ext cx="121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PER</a:t>
                  </a:r>
                </a:p>
              </p:txBody>
            </p:sp>
            <p:sp>
              <p:nvSpPr>
                <p:cNvPr id="439" name="Freeform 627"/>
                <p:cNvSpPr>
                  <a:spLocks noChangeAspect="1"/>
                </p:cNvSpPr>
                <p:nvPr/>
              </p:nvSpPr>
              <p:spPr bwMode="gray">
                <a:xfrm>
                  <a:off x="4314" y="2306"/>
                  <a:ext cx="176" cy="792"/>
                </a:xfrm>
                <a:custGeom>
                  <a:avLst/>
                  <a:gdLst>
                    <a:gd name="T0" fmla="*/ 381000 w 176"/>
                    <a:gd name="T1" fmla="*/ 0 h 792"/>
                    <a:gd name="T2" fmla="*/ 0 w 176"/>
                    <a:gd name="T3" fmla="*/ 769937 h 792"/>
                    <a:gd name="T4" fmla="*/ 0 60000 65536"/>
                    <a:gd name="T5" fmla="*/ 0 60000 65536"/>
                    <a:gd name="T6" fmla="*/ 0 w 176"/>
                    <a:gd name="T7" fmla="*/ 0 h 792"/>
                    <a:gd name="T8" fmla="*/ 357 w 176"/>
                    <a:gd name="T9" fmla="*/ 485 h 792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76" h="792">
                      <a:moveTo>
                        <a:pt x="0" y="0"/>
                      </a:moveTo>
                      <a:cubicBezTo>
                        <a:pt x="104" y="136"/>
                        <a:pt x="176" y="352"/>
                        <a:pt x="52" y="792"/>
                      </a:cubicBezTo>
                    </a:path>
                  </a:pathLst>
                </a:custGeom>
                <a:noFill/>
                <a:ln w="12700">
                  <a:solidFill>
                    <a:srgbClr val="4D4D4D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40" name="Text Box 313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4195" y="2326"/>
                  <a:ext cx="275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HKG</a:t>
                  </a:r>
                </a:p>
              </p:txBody>
            </p:sp>
            <p:sp>
              <p:nvSpPr>
                <p:cNvPr id="441" name="Oval 314"/>
                <p:cNvSpPr>
                  <a:spLocks noChangeAspect="1" noChangeArrowheads="1"/>
                </p:cNvSpPr>
                <p:nvPr/>
              </p:nvSpPr>
              <p:spPr bwMode="gray">
                <a:xfrm>
                  <a:off x="4296" y="2288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  <p:sp>
              <p:nvSpPr>
                <p:cNvPr id="442" name="Oval 605"/>
                <p:cNvSpPr>
                  <a:spLocks noChangeAspect="1" noChangeArrowheads="1"/>
                </p:cNvSpPr>
                <p:nvPr/>
              </p:nvSpPr>
              <p:spPr bwMode="gray">
                <a:xfrm>
                  <a:off x="4348" y="3081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43" name="Text Box 316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918" y="2336"/>
                  <a:ext cx="115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>
                    <a:buClr>
                      <a:srgbClr val="000000"/>
                    </a:buClr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SJU</a:t>
                  </a:r>
                </a:p>
              </p:txBody>
            </p:sp>
            <p:sp>
              <p:nvSpPr>
                <p:cNvPr id="444" name="Text Box 317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1649" y="2097"/>
                  <a:ext cx="275" cy="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GSO</a:t>
                  </a:r>
                </a:p>
              </p:txBody>
            </p:sp>
            <p:sp>
              <p:nvSpPr>
                <p:cNvPr id="445" name="Freeform 318"/>
                <p:cNvSpPr>
                  <a:spLocks noChangeAspect="1"/>
                </p:cNvSpPr>
                <p:nvPr/>
              </p:nvSpPr>
              <p:spPr bwMode="gray">
                <a:xfrm>
                  <a:off x="1634" y="2069"/>
                  <a:ext cx="66" cy="33"/>
                </a:xfrm>
                <a:custGeom>
                  <a:avLst/>
                  <a:gdLst>
                    <a:gd name="T0" fmla="*/ 66 w 66"/>
                    <a:gd name="T1" fmla="*/ 33 h 33"/>
                    <a:gd name="T2" fmla="*/ 0 w 66"/>
                    <a:gd name="T3" fmla="*/ 0 h 33"/>
                    <a:gd name="T4" fmla="*/ 0 60000 65536"/>
                    <a:gd name="T5" fmla="*/ 0 60000 65536"/>
                    <a:gd name="T6" fmla="*/ 0 w 66"/>
                    <a:gd name="T7" fmla="*/ 0 h 33"/>
                    <a:gd name="T8" fmla="*/ 66 w 66"/>
                    <a:gd name="T9" fmla="*/ 33 h 33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66" h="33">
                      <a:moveTo>
                        <a:pt x="66" y="33"/>
                      </a:moveTo>
                      <a:cubicBezTo>
                        <a:pt x="38" y="27"/>
                        <a:pt x="27" y="15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46" name="Oval 319"/>
                <p:cNvSpPr>
                  <a:spLocks noChangeAspect="1" noChangeArrowheads="1"/>
                </p:cNvSpPr>
                <p:nvPr/>
              </p:nvSpPr>
              <p:spPr bwMode="gray">
                <a:xfrm>
                  <a:off x="1616" y="2052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47" name="Freeform 320"/>
                <p:cNvSpPr>
                  <a:spLocks noChangeAspect="1"/>
                </p:cNvSpPr>
                <p:nvPr/>
              </p:nvSpPr>
              <p:spPr bwMode="gray">
                <a:xfrm>
                  <a:off x="1700" y="2102"/>
                  <a:ext cx="185" cy="267"/>
                </a:xfrm>
                <a:custGeom>
                  <a:avLst/>
                  <a:gdLst>
                    <a:gd name="T0" fmla="*/ 185 w 185"/>
                    <a:gd name="T1" fmla="*/ 267 h 267"/>
                    <a:gd name="T2" fmla="*/ 0 w 185"/>
                    <a:gd name="T3" fmla="*/ 0 h 267"/>
                    <a:gd name="T4" fmla="*/ 0 60000 65536"/>
                    <a:gd name="T5" fmla="*/ 0 60000 65536"/>
                    <a:gd name="T6" fmla="*/ 0 w 185"/>
                    <a:gd name="T7" fmla="*/ 0 h 267"/>
                    <a:gd name="T8" fmla="*/ 185 w 185"/>
                    <a:gd name="T9" fmla="*/ 267 h 267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85" h="267">
                      <a:moveTo>
                        <a:pt x="185" y="267"/>
                      </a:moveTo>
                      <a:cubicBezTo>
                        <a:pt x="74" y="179"/>
                        <a:pt x="2" y="24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chemeClr val="accent4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48" name="Oval 321"/>
                <p:cNvSpPr>
                  <a:spLocks noChangeAspect="1" noChangeArrowheads="1"/>
                </p:cNvSpPr>
                <p:nvPr/>
              </p:nvSpPr>
              <p:spPr bwMode="gray">
                <a:xfrm>
                  <a:off x="1866" y="2353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49" name="Oval 322"/>
                <p:cNvSpPr>
                  <a:spLocks noChangeAspect="1" noChangeArrowheads="1"/>
                </p:cNvSpPr>
                <p:nvPr/>
              </p:nvSpPr>
              <p:spPr bwMode="gray">
                <a:xfrm>
                  <a:off x="1682" y="2084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50" name="Text Box 220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2367" y="2399"/>
                  <a:ext cx="186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DKR</a:t>
                  </a:r>
                </a:p>
              </p:txBody>
            </p:sp>
            <p:sp>
              <p:nvSpPr>
                <p:cNvPr id="451" name="Freeform 232"/>
                <p:cNvSpPr>
                  <a:spLocks noChangeAspect="1"/>
                </p:cNvSpPr>
                <p:nvPr/>
              </p:nvSpPr>
              <p:spPr bwMode="gray">
                <a:xfrm rot="-3504837">
                  <a:off x="2333" y="2038"/>
                  <a:ext cx="673" cy="140"/>
                </a:xfrm>
                <a:custGeom>
                  <a:avLst/>
                  <a:gdLst>
                    <a:gd name="T0" fmla="*/ 0 w 1141"/>
                    <a:gd name="T1" fmla="*/ 140 h 378"/>
                    <a:gd name="T2" fmla="*/ 290 w 1141"/>
                    <a:gd name="T3" fmla="*/ 11 h 378"/>
                    <a:gd name="T4" fmla="*/ 673 w 1141"/>
                    <a:gd name="T5" fmla="*/ 58 h 378"/>
                    <a:gd name="T6" fmla="*/ 0 60000 65536"/>
                    <a:gd name="T7" fmla="*/ 0 60000 65536"/>
                    <a:gd name="T8" fmla="*/ 0 60000 65536"/>
                    <a:gd name="T9" fmla="*/ 0 w 1141"/>
                    <a:gd name="T10" fmla="*/ 0 h 378"/>
                    <a:gd name="T11" fmla="*/ 1141 w 1141"/>
                    <a:gd name="T12" fmla="*/ 378 h 37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141" h="378">
                      <a:moveTo>
                        <a:pt x="0" y="378"/>
                      </a:moveTo>
                      <a:cubicBezTo>
                        <a:pt x="100" y="228"/>
                        <a:pt x="285" y="59"/>
                        <a:pt x="492" y="29"/>
                      </a:cubicBezTo>
                      <a:cubicBezTo>
                        <a:pt x="700" y="0"/>
                        <a:pt x="880" y="14"/>
                        <a:pt x="1141" y="156"/>
                      </a:cubicBezTo>
                    </a:path>
                  </a:pathLst>
                </a:custGeom>
                <a:noFill/>
                <a:ln w="12700">
                  <a:solidFill>
                    <a:srgbClr val="339966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144000" tIns="144000" rIns="144000" bIns="144000" anchor="ctr"/>
                <a:lstStyle/>
                <a:p>
                  <a:endParaRPr lang="en-US"/>
                </a:p>
              </p:txBody>
            </p:sp>
            <p:sp>
              <p:nvSpPr>
                <p:cNvPr id="452" name="Text Box 279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2565" y="1850"/>
                  <a:ext cx="274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CDG</a:t>
                  </a:r>
                </a:p>
              </p:txBody>
            </p:sp>
            <p:sp>
              <p:nvSpPr>
                <p:cNvPr id="453" name="Text Box 310"/>
                <p:cNvSpPr txBox="1">
                  <a:spLocks noChangeAspect="1" noChangeArrowheads="1"/>
                </p:cNvSpPr>
                <p:nvPr/>
              </p:nvSpPr>
              <p:spPr bwMode="gray">
                <a:xfrm>
                  <a:off x="2595" y="1795"/>
                  <a:ext cx="216" cy="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  <a:buFont typeface="Arial" charset="0"/>
                    <a:buNone/>
                  </a:pPr>
                  <a:r>
                    <a:rPr lang="en-US" altLang="en-US" sz="700" b="1">
                      <a:solidFill>
                        <a:srgbClr val="000000"/>
                      </a:solidFill>
                      <a:sym typeface="Arial" charset="0"/>
                    </a:rPr>
                    <a:t>BRU</a:t>
                  </a:r>
                </a:p>
              </p:txBody>
            </p:sp>
            <p:sp>
              <p:nvSpPr>
                <p:cNvPr id="454" name="Oval 281"/>
                <p:cNvSpPr>
                  <a:spLocks noChangeAspect="1" noChangeArrowheads="1"/>
                </p:cNvSpPr>
                <p:nvPr/>
              </p:nvSpPr>
              <p:spPr bwMode="gray">
                <a:xfrm>
                  <a:off x="2818" y="1811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endParaRPr lang="en-US" altLang="en-US"/>
                </a:p>
              </p:txBody>
            </p:sp>
            <p:sp>
              <p:nvSpPr>
                <p:cNvPr id="455" name="Oval 303"/>
                <p:cNvSpPr>
                  <a:spLocks noChangeAspect="1" noChangeArrowheads="1"/>
                </p:cNvSpPr>
                <p:nvPr/>
              </p:nvSpPr>
              <p:spPr bwMode="gray">
                <a:xfrm>
                  <a:off x="2534" y="2402"/>
                  <a:ext cx="36" cy="36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buFont typeface="Arial" charset="0"/>
                    <a:buNone/>
                  </a:pPr>
                  <a:endParaRPr lang="en-US" altLang="en-US" sz="800">
                    <a:solidFill>
                      <a:srgbClr val="000000"/>
                    </a:solidFill>
                    <a:sym typeface="Arial" charset="0"/>
                  </a:endParaRPr>
                </a:p>
              </p:txBody>
            </p:sp>
          </p:grpSp>
        </p:grpSp>
        <p:sp>
          <p:nvSpPr>
            <p:cNvPr id="336" name="Text Box 604"/>
            <p:cNvSpPr txBox="1">
              <a:spLocks noChangeAspect="1" noChangeArrowheads="1"/>
            </p:cNvSpPr>
            <p:nvPr/>
          </p:nvSpPr>
          <p:spPr bwMode="gray">
            <a:xfrm>
              <a:off x="4870" y="3088"/>
              <a:ext cx="121" cy="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Font typeface="Arial" charset="0"/>
                <a:buNone/>
              </a:pPr>
              <a:r>
                <a:rPr lang="en-US" altLang="en-US" sz="700" b="1">
                  <a:solidFill>
                    <a:srgbClr val="000000"/>
                  </a:solidFill>
                  <a:sym typeface="Arial" charset="0"/>
                </a:rPr>
                <a:t>SYD</a:t>
              </a:r>
            </a:p>
          </p:txBody>
        </p:sp>
        <p:sp>
          <p:nvSpPr>
            <p:cNvPr id="337" name="Oval 605"/>
            <p:cNvSpPr>
              <a:spLocks noChangeAspect="1" noChangeArrowheads="1"/>
            </p:cNvSpPr>
            <p:nvPr/>
          </p:nvSpPr>
          <p:spPr bwMode="gray">
            <a:xfrm>
              <a:off x="4819" y="3107"/>
              <a:ext cx="36" cy="3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4000" tIns="144000" rIns="144000" bIns="14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38" name="Text Box 606"/>
            <p:cNvSpPr txBox="1">
              <a:spLocks noChangeAspect="1" noChangeArrowheads="1"/>
            </p:cNvSpPr>
            <p:nvPr/>
          </p:nvSpPr>
          <p:spPr bwMode="gray">
            <a:xfrm>
              <a:off x="5157" y="3175"/>
              <a:ext cx="122" cy="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Font typeface="Arial" charset="0"/>
                <a:buNone/>
              </a:pPr>
              <a:r>
                <a:rPr lang="en-US" altLang="en-US" sz="700" b="1">
                  <a:solidFill>
                    <a:srgbClr val="000000"/>
                  </a:solidFill>
                  <a:sym typeface="Arial" charset="0"/>
                </a:rPr>
                <a:t>AKL</a:t>
              </a:r>
            </a:p>
          </p:txBody>
        </p:sp>
        <p:sp>
          <p:nvSpPr>
            <p:cNvPr id="339" name="Oval 607"/>
            <p:cNvSpPr>
              <a:spLocks noChangeAspect="1" noChangeArrowheads="1"/>
            </p:cNvSpPr>
            <p:nvPr/>
          </p:nvSpPr>
          <p:spPr bwMode="gray">
            <a:xfrm>
              <a:off x="5105" y="3196"/>
              <a:ext cx="36" cy="3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4000" tIns="144000" rIns="144000" bIns="14400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40" name="Freeform 644"/>
            <p:cNvSpPr>
              <a:spLocks/>
            </p:cNvSpPr>
            <p:nvPr/>
          </p:nvSpPr>
          <p:spPr bwMode="gray">
            <a:xfrm>
              <a:off x="4842" y="3151"/>
              <a:ext cx="255" cy="94"/>
            </a:xfrm>
            <a:custGeom>
              <a:avLst/>
              <a:gdLst>
                <a:gd name="T0" fmla="*/ 404812 w 255"/>
                <a:gd name="T1" fmla="*/ 109538 h 94"/>
                <a:gd name="T2" fmla="*/ 0 w 255"/>
                <a:gd name="T3" fmla="*/ 0 h 94"/>
                <a:gd name="T4" fmla="*/ 0 60000 65536"/>
                <a:gd name="T5" fmla="*/ 0 60000 65536"/>
                <a:gd name="T6" fmla="*/ 0 w 255"/>
                <a:gd name="T7" fmla="*/ 0 h 94"/>
                <a:gd name="T8" fmla="*/ 255 w 255"/>
                <a:gd name="T9" fmla="*/ 94 h 94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55" h="94">
                  <a:moveTo>
                    <a:pt x="255" y="69"/>
                  </a:moveTo>
                  <a:cubicBezTo>
                    <a:pt x="133" y="94"/>
                    <a:pt x="30" y="45"/>
                    <a:pt x="0" y="0"/>
                  </a:cubicBezTo>
                </a:path>
              </a:pathLst>
            </a:custGeom>
            <a:noFill/>
            <a:ln w="12700">
              <a:solidFill>
                <a:srgbClr val="9966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144000" tIns="144000" rIns="144000" bIns="144000" anchor="ctr"/>
            <a:lstStyle/>
            <a:p>
              <a:endParaRPr lang="en-US"/>
            </a:p>
          </p:txBody>
        </p:sp>
      </p:grpSp>
      <p:sp>
        <p:nvSpPr>
          <p:cNvPr id="661" name="dpic_source"/>
          <p:cNvSpPr txBox="1">
            <a:spLocks noChangeArrowheads="1"/>
          </p:cNvSpPr>
          <p:nvPr/>
        </p:nvSpPr>
        <p:spPr bwMode="gray">
          <a:xfrm>
            <a:off x="414000" y="5875338"/>
            <a:ext cx="83677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defTabSz="99536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defTabSz="9953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800" dirty="0">
                <a:solidFill>
                  <a:srgbClr val="000000"/>
                </a:solidFill>
              </a:rPr>
              <a:t>Lines on map do not include weekend, commercial,  one-off or special routings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6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Sub-Saharan Africa </a:t>
            </a:r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</a:rPr>
              <a:t>hub catchment areas</a:t>
            </a: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gray">
          <a:xfrm>
            <a:off x="5281605" y="3228975"/>
            <a:ext cx="3444875" cy="2766478"/>
          </a:xfrm>
          <a:prstGeom prst="rect">
            <a:avLst/>
          </a:prstGeom>
          <a:solidFill>
            <a:srgbClr val="E0E0E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44000" tIns="144000" rIns="144000" bIns="144000" anchor="ctr"/>
          <a:lstStyle>
            <a:lvl1pPr marL="177800" indent="-1778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  <a:buFontTx/>
              <a:buChar char="•"/>
            </a:pPr>
            <a:r>
              <a:rPr lang="en-US" altLang="en-US" sz="1600" dirty="0"/>
              <a:t>Routing depends on various factors: Customer requirements, market leading transit time, competitor offering, shipment volume from point A to B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en-US" altLang="en-US" sz="1600" dirty="0"/>
              <a:t>Hubs act as points of consolidation and bring down unit cost</a:t>
            </a: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gray">
          <a:xfrm>
            <a:off x="5281605" y="1253593"/>
            <a:ext cx="3444875" cy="1881720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lIns="144000" tIns="144000" rIns="144000" bIns="144000" anchor="ctr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TextBox 29"/>
          <p:cNvSpPr txBox="1">
            <a:spLocks noChangeArrowheads="1"/>
          </p:cNvSpPr>
          <p:nvPr/>
        </p:nvSpPr>
        <p:spPr bwMode="gray">
          <a:xfrm>
            <a:off x="5367867" y="1272107"/>
            <a:ext cx="3276599" cy="1865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95363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rica &amp; the World connected with five </a:t>
            </a:r>
            <a:r>
              <a:rPr lang="en-US" sz="40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bs</a:t>
            </a: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gray">
          <a:xfrm>
            <a:off x="419100" y="4865158"/>
            <a:ext cx="2719388" cy="1131888"/>
          </a:xfrm>
          <a:prstGeom prst="rect">
            <a:avLst/>
          </a:prstGeom>
          <a:solidFill>
            <a:srgbClr val="D4051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44000" tIns="144000" rIns="144000" bIns="144000" anchor="b"/>
          <a:lstStyle/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5 hubs at </a:t>
            </a: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the core of </a:t>
            </a:r>
          </a:p>
          <a:p>
            <a:pPr defTabSz="995363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our operations</a:t>
            </a:r>
          </a:p>
        </p:txBody>
      </p:sp>
      <p:grpSp>
        <p:nvGrpSpPr>
          <p:cNvPr id="39" name="Group 69"/>
          <p:cNvGrpSpPr>
            <a:grpSpLocks/>
          </p:cNvGrpSpPr>
          <p:nvPr/>
        </p:nvGrpSpPr>
        <p:grpSpPr bwMode="auto">
          <a:xfrm>
            <a:off x="184151" y="1256769"/>
            <a:ext cx="5575300" cy="4731266"/>
            <a:chOff x="5669" y="592"/>
            <a:chExt cx="4231" cy="3591"/>
          </a:xfrm>
        </p:grpSpPr>
        <p:pic>
          <p:nvPicPr>
            <p:cNvPr id="40" name="Picture 7" descr="SSA-map_may-2014_africaair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669" y="592"/>
              <a:ext cx="4231" cy="3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Oval 11"/>
            <p:cNvSpPr>
              <a:spLocks noChangeArrowheads="1"/>
            </p:cNvSpPr>
            <p:nvPr/>
          </p:nvSpPr>
          <p:spPr bwMode="gray">
            <a:xfrm rot="1618410">
              <a:off x="7809" y="2927"/>
              <a:ext cx="926" cy="907"/>
            </a:xfrm>
            <a:prstGeom prst="ellipse">
              <a:avLst/>
            </a:prstGeom>
            <a:noFill/>
            <a:ln w="38100">
              <a:solidFill>
                <a:srgbClr val="69696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2" name="Oval 19"/>
            <p:cNvSpPr>
              <a:spLocks noChangeArrowheads="1"/>
            </p:cNvSpPr>
            <p:nvPr/>
          </p:nvSpPr>
          <p:spPr bwMode="gray">
            <a:xfrm>
              <a:off x="8011" y="1751"/>
              <a:ext cx="1043" cy="1134"/>
            </a:xfrm>
            <a:prstGeom prst="ellipse">
              <a:avLst/>
            </a:prstGeom>
            <a:noFill/>
            <a:ln w="38100">
              <a:solidFill>
                <a:srgbClr val="0066CC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3" name="Oval 27"/>
            <p:cNvSpPr>
              <a:spLocks noChangeArrowheads="1"/>
            </p:cNvSpPr>
            <p:nvPr/>
          </p:nvSpPr>
          <p:spPr bwMode="gray">
            <a:xfrm rot="-1234722">
              <a:off x="7275" y="2295"/>
              <a:ext cx="627" cy="635"/>
            </a:xfrm>
            <a:prstGeom prst="ellipse">
              <a:avLst/>
            </a:prstGeom>
            <a:noFill/>
            <a:ln w="38100">
              <a:solidFill>
                <a:srgbClr val="6600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4" name="Oval 33"/>
            <p:cNvSpPr>
              <a:spLocks noChangeArrowheads="1"/>
            </p:cNvSpPr>
            <p:nvPr/>
          </p:nvSpPr>
          <p:spPr bwMode="gray">
            <a:xfrm>
              <a:off x="6684" y="1410"/>
              <a:ext cx="998" cy="974"/>
            </a:xfrm>
            <a:prstGeom prst="ellipse">
              <a:avLst/>
            </a:prstGeom>
            <a:noFill/>
            <a:ln w="381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5" name="Oval 42"/>
            <p:cNvSpPr>
              <a:spLocks noChangeArrowheads="1"/>
            </p:cNvSpPr>
            <p:nvPr/>
          </p:nvSpPr>
          <p:spPr bwMode="gray">
            <a:xfrm rot="-1941459">
              <a:off x="6192" y="1095"/>
              <a:ext cx="817" cy="1061"/>
            </a:xfrm>
            <a:prstGeom prst="ellipse">
              <a:avLst/>
            </a:prstGeom>
            <a:noFill/>
            <a:ln w="38100">
              <a:solidFill>
                <a:srgbClr val="FF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46" name="Group 1"/>
            <p:cNvGrpSpPr>
              <a:grpSpLocks/>
            </p:cNvGrpSpPr>
            <p:nvPr/>
          </p:nvGrpSpPr>
          <p:grpSpPr bwMode="auto">
            <a:xfrm>
              <a:off x="7902" y="693"/>
              <a:ext cx="1079" cy="820"/>
              <a:chOff x="5527841" y="1999553"/>
              <a:chExt cx="3733777" cy="3736078"/>
            </a:xfrm>
          </p:grpSpPr>
          <p:grpSp>
            <p:nvGrpSpPr>
              <p:cNvPr id="47" name="Group 49"/>
              <p:cNvGrpSpPr>
                <a:grpSpLocks/>
              </p:cNvGrpSpPr>
              <p:nvPr/>
            </p:nvGrpSpPr>
            <p:grpSpPr bwMode="auto">
              <a:xfrm>
                <a:off x="5527841" y="1999553"/>
                <a:ext cx="3733777" cy="685320"/>
                <a:chOff x="5344137" y="1166020"/>
                <a:chExt cx="3733777" cy="685320"/>
              </a:xfrm>
            </p:grpSpPr>
            <p:sp>
              <p:nvSpPr>
                <p:cNvPr id="60" name="Rectangle 50"/>
                <p:cNvSpPr>
                  <a:spLocks noChangeArrowheads="1"/>
                </p:cNvSpPr>
                <p:nvPr/>
              </p:nvSpPr>
              <p:spPr bwMode="gray">
                <a:xfrm>
                  <a:off x="5344137" y="1166020"/>
                  <a:ext cx="1369023" cy="684426"/>
                </a:xfrm>
                <a:prstGeom prst="rect">
                  <a:avLst/>
                </a:prstGeom>
                <a:solidFill>
                  <a:srgbClr val="6969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/>
                  <a:r>
                    <a:rPr lang="en-US" altLang="en-US" sz="800" dirty="0">
                      <a:solidFill>
                        <a:srgbClr val="FFFFFF"/>
                      </a:solidFill>
                      <a:latin typeface="+mj-lt"/>
                    </a:rPr>
                    <a:t>ZA</a:t>
                  </a:r>
                </a:p>
              </p:txBody>
            </p:sp>
            <p:sp>
              <p:nvSpPr>
                <p:cNvPr id="61" name="TextBox 51"/>
                <p:cNvSpPr txBox="1">
                  <a:spLocks noChangeArrowheads="1"/>
                </p:cNvSpPr>
                <p:nvPr/>
              </p:nvSpPr>
              <p:spPr bwMode="gray">
                <a:xfrm>
                  <a:off x="6781679" y="1166020"/>
                  <a:ext cx="2296235" cy="685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r>
                    <a:rPr lang="en-US" altLang="en-US" sz="800" dirty="0">
                      <a:latin typeface="+mj-lt"/>
                    </a:rPr>
                    <a:t>Johannesburg</a:t>
                  </a:r>
                </a:p>
              </p:txBody>
            </p:sp>
          </p:grpSp>
          <p:grpSp>
            <p:nvGrpSpPr>
              <p:cNvPr id="48" name="Group 52"/>
              <p:cNvGrpSpPr>
                <a:grpSpLocks/>
              </p:cNvGrpSpPr>
              <p:nvPr/>
            </p:nvGrpSpPr>
            <p:grpSpPr bwMode="auto">
              <a:xfrm>
                <a:off x="5527841" y="2756688"/>
                <a:ext cx="3583963" cy="686271"/>
                <a:chOff x="5344137" y="1923155"/>
                <a:chExt cx="3583963" cy="686271"/>
              </a:xfrm>
            </p:grpSpPr>
            <p:sp>
              <p:nvSpPr>
                <p:cNvPr id="58" name="Rectangle 53"/>
                <p:cNvSpPr>
                  <a:spLocks noChangeArrowheads="1"/>
                </p:cNvSpPr>
                <p:nvPr/>
              </p:nvSpPr>
              <p:spPr bwMode="gray">
                <a:xfrm>
                  <a:off x="5344137" y="1925000"/>
                  <a:ext cx="1369023" cy="684426"/>
                </a:xfrm>
                <a:prstGeom prst="rect">
                  <a:avLst/>
                </a:prstGeom>
                <a:solidFill>
                  <a:srgbClr val="0066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/>
                  <a:r>
                    <a:rPr lang="en-US" altLang="en-US" sz="800">
                      <a:solidFill>
                        <a:srgbClr val="FFFFFF"/>
                      </a:solidFill>
                      <a:latin typeface="+mj-lt"/>
                    </a:rPr>
                    <a:t>KE</a:t>
                  </a:r>
                </a:p>
              </p:txBody>
            </p:sp>
            <p:sp>
              <p:nvSpPr>
                <p:cNvPr id="59" name="TextBox 54"/>
                <p:cNvSpPr txBox="1">
                  <a:spLocks noChangeArrowheads="1"/>
                </p:cNvSpPr>
                <p:nvPr/>
              </p:nvSpPr>
              <p:spPr bwMode="gray">
                <a:xfrm>
                  <a:off x="6781556" y="1923155"/>
                  <a:ext cx="2146544" cy="68503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r>
                    <a:rPr lang="en-US" altLang="en-US" sz="800">
                      <a:latin typeface="+mj-lt"/>
                    </a:rPr>
                    <a:t>Nairobi</a:t>
                  </a:r>
                </a:p>
              </p:txBody>
            </p:sp>
          </p:grpSp>
          <p:grpSp>
            <p:nvGrpSpPr>
              <p:cNvPr id="49" name="Group 55"/>
              <p:cNvGrpSpPr>
                <a:grpSpLocks/>
              </p:cNvGrpSpPr>
              <p:nvPr/>
            </p:nvGrpSpPr>
            <p:grpSpPr bwMode="auto">
              <a:xfrm>
                <a:off x="5527841" y="3517512"/>
                <a:ext cx="3364826" cy="700169"/>
                <a:chOff x="5344137" y="2683979"/>
                <a:chExt cx="3364826" cy="700169"/>
              </a:xfrm>
            </p:grpSpPr>
            <p:sp>
              <p:nvSpPr>
                <p:cNvPr id="56" name="Rectangle 56"/>
                <p:cNvSpPr>
                  <a:spLocks noChangeArrowheads="1"/>
                </p:cNvSpPr>
                <p:nvPr/>
              </p:nvSpPr>
              <p:spPr bwMode="gray">
                <a:xfrm>
                  <a:off x="5344137" y="2683979"/>
                  <a:ext cx="1369023" cy="684426"/>
                </a:xfrm>
                <a:prstGeom prst="rect">
                  <a:avLst/>
                </a:prstGeom>
                <a:solidFill>
                  <a:srgbClr val="0000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/>
                  <a:r>
                    <a:rPr lang="en-US" altLang="en-US" sz="800">
                      <a:solidFill>
                        <a:srgbClr val="FFFFFF"/>
                      </a:solidFill>
                      <a:latin typeface="+mj-lt"/>
                    </a:rPr>
                    <a:t>NG</a:t>
                  </a:r>
                </a:p>
              </p:txBody>
            </p:sp>
            <p:sp>
              <p:nvSpPr>
                <p:cNvPr id="57" name="TextBox 57"/>
                <p:cNvSpPr txBox="1">
                  <a:spLocks noChangeArrowheads="1"/>
                </p:cNvSpPr>
                <p:nvPr/>
              </p:nvSpPr>
              <p:spPr bwMode="gray">
                <a:xfrm>
                  <a:off x="6781278" y="2699120"/>
                  <a:ext cx="1927685" cy="68502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r>
                    <a:rPr lang="en-US" altLang="en-US" sz="800">
                      <a:latin typeface="+mj-lt"/>
                    </a:rPr>
                    <a:t>Lagos</a:t>
                  </a:r>
                </a:p>
              </p:txBody>
            </p:sp>
          </p:grpSp>
          <p:grpSp>
            <p:nvGrpSpPr>
              <p:cNvPr id="50" name="Group 58"/>
              <p:cNvGrpSpPr>
                <a:grpSpLocks/>
              </p:cNvGrpSpPr>
              <p:nvPr/>
            </p:nvGrpSpPr>
            <p:grpSpPr bwMode="auto">
              <a:xfrm>
                <a:off x="5527841" y="4276492"/>
                <a:ext cx="3583963" cy="685029"/>
                <a:chOff x="5344137" y="3442959"/>
                <a:chExt cx="3583963" cy="685029"/>
              </a:xfrm>
            </p:grpSpPr>
            <p:sp>
              <p:nvSpPr>
                <p:cNvPr id="54" name="Rectangle 59"/>
                <p:cNvSpPr>
                  <a:spLocks noChangeArrowheads="1"/>
                </p:cNvSpPr>
                <p:nvPr/>
              </p:nvSpPr>
              <p:spPr bwMode="gray">
                <a:xfrm>
                  <a:off x="5344137" y="3442959"/>
                  <a:ext cx="1369023" cy="684426"/>
                </a:xfrm>
                <a:prstGeom prst="rect">
                  <a:avLst/>
                </a:prstGeom>
                <a:solidFill>
                  <a:srgbClr val="FF33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/>
                  <a:r>
                    <a:rPr lang="en-US" altLang="en-US" sz="800">
                      <a:solidFill>
                        <a:srgbClr val="FFFFFF"/>
                      </a:solidFill>
                      <a:latin typeface="+mj-lt"/>
                    </a:rPr>
                    <a:t>CI</a:t>
                  </a:r>
                </a:p>
              </p:txBody>
            </p:sp>
            <p:sp>
              <p:nvSpPr>
                <p:cNvPr id="55" name="TextBox 60"/>
                <p:cNvSpPr txBox="1">
                  <a:spLocks noChangeArrowheads="1"/>
                </p:cNvSpPr>
                <p:nvPr/>
              </p:nvSpPr>
              <p:spPr bwMode="gray">
                <a:xfrm>
                  <a:off x="6781556" y="3442959"/>
                  <a:ext cx="2146544" cy="68502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r>
                    <a:rPr lang="en-US" altLang="en-US" sz="800">
                      <a:latin typeface="+mj-lt"/>
                    </a:rPr>
                    <a:t>Abidjan</a:t>
                  </a:r>
                </a:p>
              </p:txBody>
            </p:sp>
          </p:grpSp>
          <p:grpSp>
            <p:nvGrpSpPr>
              <p:cNvPr id="51" name="Group 61"/>
              <p:cNvGrpSpPr>
                <a:grpSpLocks/>
              </p:cNvGrpSpPr>
              <p:nvPr/>
            </p:nvGrpSpPr>
            <p:grpSpPr bwMode="auto">
              <a:xfrm>
                <a:off x="5527841" y="5035471"/>
                <a:ext cx="3364826" cy="700160"/>
                <a:chOff x="5344137" y="4201938"/>
                <a:chExt cx="3364826" cy="700160"/>
              </a:xfrm>
            </p:grpSpPr>
            <p:sp>
              <p:nvSpPr>
                <p:cNvPr id="52" name="Rectangle 62"/>
                <p:cNvSpPr>
                  <a:spLocks noChangeArrowheads="1"/>
                </p:cNvSpPr>
                <p:nvPr/>
              </p:nvSpPr>
              <p:spPr bwMode="gray">
                <a:xfrm>
                  <a:off x="5344137" y="4201938"/>
                  <a:ext cx="1369023" cy="684426"/>
                </a:xfrm>
                <a:prstGeom prst="rect">
                  <a:avLst/>
                </a:prstGeom>
                <a:solidFill>
                  <a:srgbClr val="66006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144000" tIns="144000" rIns="144000" bIns="144000" anchor="ctr"/>
                <a:lstStyle>
                  <a:lvl1pPr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defTabSz="995363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9953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/>
                  <a:r>
                    <a:rPr lang="en-US" altLang="en-US" sz="800" dirty="0">
                      <a:solidFill>
                        <a:srgbClr val="FFFFFF"/>
                      </a:solidFill>
                      <a:latin typeface="+mj-lt"/>
                    </a:rPr>
                    <a:t>GA</a:t>
                  </a:r>
                </a:p>
              </p:txBody>
            </p:sp>
            <p:sp>
              <p:nvSpPr>
                <p:cNvPr id="53" name="TextBox 63"/>
                <p:cNvSpPr txBox="1">
                  <a:spLocks noChangeArrowheads="1"/>
                </p:cNvSpPr>
                <p:nvPr/>
              </p:nvSpPr>
              <p:spPr bwMode="gray">
                <a:xfrm>
                  <a:off x="6781278" y="4217070"/>
                  <a:ext cx="1927685" cy="68502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eaLnBrk="1" hangingPunct="1"/>
                  <a:r>
                    <a:rPr lang="en-US" altLang="en-US" sz="800">
                      <a:latin typeface="+mj-lt"/>
                    </a:rPr>
                    <a:t>Libreville</a:t>
                  </a:r>
                </a:p>
              </p:txBody>
            </p:sp>
          </p:grpSp>
        </p:grpSp>
      </p:grpSp>
      <p:sp>
        <p:nvSpPr>
          <p:cNvPr id="2" name="Footer Placeholder 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Arial" charset="0"/>
                <a:ea typeface="ＭＳ Ｐゴシック" charset="0"/>
                <a:cs typeface="ＭＳ Ｐゴシック" charset="0"/>
              </a:rPr>
              <a:t>Only carrier to have a dedicated air network in Africa</a:t>
            </a:r>
          </a:p>
        </p:txBody>
      </p:sp>
      <p:grpSp>
        <p:nvGrpSpPr>
          <p:cNvPr id="13" name="Group 14"/>
          <p:cNvGrpSpPr>
            <a:grpSpLocks/>
          </p:cNvGrpSpPr>
          <p:nvPr/>
        </p:nvGrpSpPr>
        <p:grpSpPr bwMode="auto">
          <a:xfrm>
            <a:off x="425094" y="1259943"/>
            <a:ext cx="8314461" cy="4745570"/>
            <a:chOff x="0" y="659"/>
            <a:chExt cx="5760" cy="3359"/>
          </a:xfrm>
        </p:grpSpPr>
        <p:sp>
          <p:nvSpPr>
            <p:cNvPr id="14" name="Rectangle 13"/>
            <p:cNvSpPr>
              <a:spLocks noChangeArrowheads="1"/>
            </p:cNvSpPr>
            <p:nvPr/>
          </p:nvSpPr>
          <p:spPr bwMode="gray">
            <a:xfrm>
              <a:off x="1639" y="1867"/>
              <a:ext cx="1030" cy="1062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defTabSz="9953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latin typeface="+mn-lt"/>
                  <a:ea typeface="+mn-ea"/>
                  <a:cs typeface="+mn-cs"/>
                </a:rPr>
                <a:t>Cessna C208B Grand Caravan</a:t>
              </a: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gray">
            <a:xfrm>
              <a:off x="2706" y="659"/>
              <a:ext cx="3054" cy="1181"/>
            </a:xfrm>
            <a:prstGeom prst="rect">
              <a:avLst/>
            </a:prstGeom>
            <a:solidFill>
              <a:srgbClr val="FFF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>
              <a:lvl1pPr marL="1257300" indent="-12573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 dirty="0"/>
                <a:t>No. in Fleet:      1</a:t>
              </a:r>
            </a:p>
            <a:p>
              <a:pPr eaLnBrk="1" hangingPunct="1"/>
              <a:r>
                <a:rPr lang="en-US" altLang="en-US" sz="1400" dirty="0"/>
                <a:t>Capacity:	20.8 Metric Tons</a:t>
              </a:r>
            </a:p>
            <a:p>
              <a:pPr eaLnBrk="1" hangingPunct="1"/>
              <a:r>
                <a:rPr lang="en-US" altLang="en-US" sz="1400" dirty="0"/>
                <a:t>Max. Range      2,500 km</a:t>
              </a:r>
              <a:r>
                <a:rPr lang="ja-JP" altLang="en-US" sz="1400" dirty="0"/>
                <a:t>’</a:t>
              </a:r>
              <a:r>
                <a:rPr lang="en-US" altLang="en-US" sz="1400" dirty="0"/>
                <a:t>s</a:t>
              </a:r>
            </a:p>
            <a:p>
              <a:pPr eaLnBrk="1" hangingPunct="1"/>
              <a:r>
                <a:rPr lang="en-US" altLang="en-US" sz="1400" dirty="0"/>
                <a:t>DHL Hubs:	LBV</a:t>
              </a:r>
            </a:p>
            <a:p>
              <a:pPr eaLnBrk="1" hangingPunct="1"/>
              <a:r>
                <a:rPr lang="en-US" altLang="en-US" sz="1400" dirty="0"/>
                <a:t>Door Size:	216 x 348 cm</a:t>
              </a:r>
              <a:r>
                <a:rPr lang="ja-JP" altLang="en-US" sz="1400" dirty="0"/>
                <a:t>’</a:t>
              </a:r>
              <a:r>
                <a:rPr lang="en-US" altLang="en-US" sz="1400" dirty="0"/>
                <a:t>s</a:t>
              </a:r>
            </a:p>
            <a:p>
              <a:pPr eaLnBrk="1" hangingPunct="1"/>
              <a:r>
                <a:rPr lang="en-US" altLang="en-US" sz="1400" dirty="0"/>
                <a:t>Cargo Hold:      38.5 CBM</a:t>
              </a:r>
            </a:p>
            <a:p>
              <a:pPr eaLnBrk="1" hangingPunct="1"/>
              <a:endParaRPr lang="en-US" altLang="en-US" sz="1400" dirty="0"/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gray">
            <a:xfrm>
              <a:off x="1639" y="2956"/>
              <a:ext cx="1030" cy="1062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rgbClr val="D40511"/>
                  </a:solidFill>
                  <a:latin typeface="+mn-lt"/>
                </a:rPr>
                <a:t>RIEMS F406 Caravan II</a:t>
              </a: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gray">
            <a:xfrm>
              <a:off x="2707" y="2956"/>
              <a:ext cx="3053" cy="1062"/>
            </a:xfrm>
            <a:prstGeom prst="rect">
              <a:avLst/>
            </a:prstGeom>
            <a:solidFill>
              <a:srgbClr val="FFF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>
              <a:lvl1pPr marL="1257300" indent="-12573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/>
                <a:t>No. in Fleet:	1</a:t>
              </a:r>
            </a:p>
            <a:p>
              <a:pPr eaLnBrk="1" hangingPunct="1"/>
              <a:r>
                <a:rPr lang="en-US" altLang="en-US" sz="1400"/>
                <a:t>Capacity:	1 Metric Ton</a:t>
              </a:r>
            </a:p>
            <a:p>
              <a:pPr eaLnBrk="1" hangingPunct="1"/>
              <a:r>
                <a:rPr lang="en-US" altLang="en-US" sz="1400"/>
                <a:t>Max. Range:	2,135 km</a:t>
              </a:r>
              <a:r>
                <a:rPr lang="ja-JP" altLang="en-US" sz="1400"/>
                <a:t>’</a:t>
              </a:r>
              <a:r>
                <a:rPr lang="en-US" altLang="en-US" sz="1400"/>
                <a:t>s</a:t>
              </a:r>
            </a:p>
            <a:p>
              <a:pPr eaLnBrk="1" hangingPunct="1"/>
              <a:r>
                <a:rPr lang="en-US" altLang="en-US" sz="1400"/>
                <a:t>DHL Hubs:	JNB</a:t>
              </a:r>
            </a:p>
            <a:p>
              <a:pPr eaLnBrk="1" hangingPunct="1"/>
              <a:r>
                <a:rPr lang="en-US" altLang="en-US" sz="1400"/>
                <a:t>Door Size:	124 x 116 cm</a:t>
              </a:r>
              <a:r>
                <a:rPr lang="ja-JP" altLang="en-US" sz="1400"/>
                <a:t>’</a:t>
              </a:r>
              <a:r>
                <a:rPr lang="en-US" altLang="en-US" sz="1400"/>
                <a:t>s</a:t>
              </a:r>
            </a:p>
            <a:p>
              <a:pPr eaLnBrk="1" hangingPunct="1"/>
              <a:r>
                <a:rPr lang="en-US" altLang="en-US" sz="1400"/>
                <a:t>Cargo Hold:	6.5 CBM	</a:t>
              </a:r>
            </a:p>
          </p:txBody>
        </p:sp>
        <p:pic>
          <p:nvPicPr>
            <p:cNvPr id="19" name="Picture 6" descr="Cessna 208B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0" y="1867"/>
              <a:ext cx="1608" cy="1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7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0" y="2956"/>
              <a:ext cx="1608" cy="1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ectangle 12"/>
            <p:cNvSpPr>
              <a:spLocks noChangeArrowheads="1"/>
            </p:cNvSpPr>
            <p:nvPr/>
          </p:nvSpPr>
          <p:spPr bwMode="gray">
            <a:xfrm>
              <a:off x="2707" y="1867"/>
              <a:ext cx="3053" cy="1062"/>
            </a:xfrm>
            <a:prstGeom prst="rect">
              <a:avLst/>
            </a:prstGeom>
            <a:solidFill>
              <a:srgbClr val="FFF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>
              <a:lvl1pPr marL="1257300" indent="-12573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828800" algn="l"/>
                </a:tabLs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400" dirty="0"/>
                <a:t>No. in Fleet       3</a:t>
              </a:r>
            </a:p>
            <a:p>
              <a:pPr eaLnBrk="1" hangingPunct="1"/>
              <a:r>
                <a:rPr lang="en-US" altLang="en-US" sz="1400" dirty="0"/>
                <a:t>Capacity:	1.1 Metric Tons</a:t>
              </a:r>
            </a:p>
            <a:p>
              <a:pPr eaLnBrk="1" hangingPunct="1"/>
              <a:r>
                <a:rPr lang="en-US" altLang="en-US" sz="1400" dirty="0"/>
                <a:t>Max. Range:     2,000 km</a:t>
              </a:r>
              <a:r>
                <a:rPr lang="ja-JP" altLang="en-US" sz="1400" dirty="0"/>
                <a:t>’</a:t>
              </a:r>
              <a:r>
                <a:rPr lang="en-US" altLang="en-US" sz="1400" dirty="0"/>
                <a:t>s</a:t>
              </a:r>
            </a:p>
            <a:p>
              <a:pPr eaLnBrk="1" hangingPunct="1"/>
              <a:r>
                <a:rPr lang="en-US" altLang="en-US" sz="1400" dirty="0"/>
                <a:t>DHL Hubs:	NBO &amp; JNB</a:t>
              </a:r>
            </a:p>
            <a:p>
              <a:pPr eaLnBrk="1" hangingPunct="1"/>
              <a:r>
                <a:rPr lang="en-US" altLang="en-US" sz="1400" dirty="0"/>
                <a:t>Door Size:	1.27 x 1.24 cm</a:t>
              </a:r>
              <a:r>
                <a:rPr lang="ja-JP" altLang="en-US" sz="1400" dirty="0"/>
                <a:t>’</a:t>
              </a:r>
              <a:r>
                <a:rPr lang="en-US" altLang="en-US" sz="1400" dirty="0"/>
                <a:t>s</a:t>
              </a:r>
            </a:p>
            <a:p>
              <a:pPr eaLnBrk="1" hangingPunct="1"/>
              <a:r>
                <a:rPr lang="en-US" altLang="en-US" sz="1400" dirty="0"/>
                <a:t>Cargo Hold:      12 CBM</a:t>
              </a:r>
              <a:endParaRPr lang="en-GB" altLang="en-US" sz="1400" dirty="0"/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gray">
            <a:xfrm>
              <a:off x="1639" y="659"/>
              <a:ext cx="1030" cy="1181"/>
            </a:xfrm>
            <a:prstGeom prst="rect">
              <a:avLst/>
            </a:pr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44000" tIns="144000" rIns="144000" bIns="144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>
                  <a:solidFill>
                    <a:srgbClr val="D40511"/>
                  </a:solidFill>
                  <a:latin typeface="+mn-lt"/>
                </a:rPr>
                <a:t>Boeing 737-400</a:t>
              </a:r>
            </a:p>
          </p:txBody>
        </p:sp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0" y="659"/>
              <a:ext cx="1608" cy="1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 smtClean="0"/>
              <a:t>DHL Express Sub Saharan Africa | Location | xx Month 20xx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ONt_RYMk6CglXHFGGC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oMkttEW0GDp23Qe_Me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HJXGZUV0G_8YmRiPjG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PMKJ72tUK7AAXXkkf6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Mjk1c48UmTVOYTMwb1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wcBfU1D0CEXS6Auzxo_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mwmr6xkWhWu5Df5rV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4Bb59uLU26I8zgxnry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SEVjlBKkKP1Fcu8bOD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7V3JeZ0eLATBBt8cu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LLOCKED" val="True"/>
  <p:tag name="DHLUNIQUEID" val="d305418b-9146-417c-b3d8-870e532e0f4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GQYAIGUEi7k2K4Jakf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LLOCKED" val="True"/>
  <p:tag name="DHLUNIQUEID" val="a838ba9e-b1a5-4e98-87bd-60946a90012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UOmo7N.UqGPSGboQZG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HGqTaM0U21WpgbFu_K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2Spy6t5EKaJ3xgOpUr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8C4UNfx0KQyNuZCV7e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jZmui_9Ei8YxYGJpkc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KIm4HAd0yX0zJKQygT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LV63PuGk6R8ckGDEo.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q7cdPrD0yc8S9EHhcq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L_1" val="GZAWN0050"/>
  <p:tag name="ML_2" val="DPWN_Extern.mcr"/>
  <p:tag name="FIELDS.INITIALIZED" val="1"/>
  <p:tag name="RECTANGLE 7_SHAPECLASSPROTECTIONTYPE" val="11"/>
  <p:tag name="SHAPESETGROUPCLASSNAME" val="ShapeSetGroup1"/>
  <p:tag name="SHAPESETCLASSNAME" val="ShapeSet14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PCD01"/>
  <p:tag name="MLI" val="1"/>
  <p:tag name="RECTANGLE 16_SHAPECLASSPROTECTIONTYPE" val="0"/>
  <p:tag name="PICTURE 17_SHAPECLASSPROTECTIONTYPE" val="0"/>
  <p:tag name="RECTANGLE 18_SHAPECLASSPROTECTIONTYPE" val="0"/>
  <p:tag name="PICTURE 19_SHAPECLASSPROTECTIONTYPE" val="0"/>
  <p:tag name="RECTANGLE 20_SHAPECLASSPROTECTIONTYPE" val="0"/>
  <p:tag name="RECTANGLE 178_SHAPECLASSPROTECTIONTYPE" val="0"/>
  <p:tag name="ALGLOBALLAYOUTVERSION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gLtbeHIkaLuoRiye3Ng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IuGFm3uEab9AxJbMsC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H...3dH0CVvXPy9CcT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GHARUxrka0kzJ3S9GW6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7Sbcdl60Ss2w9liZSG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Q2jQy0mkKvS7QlDlgZ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Wt9Y5N_EmLV7svWPfF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HF2XWdzk2UuX7nnjjc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a_u2ohmEunINhJWAhu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CRGhYe2kaFp2JasGCT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HGqTaM0U21WpgbFu_Ke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ENO2Hp60KINzTMWR5.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OmjwJoXk229KBk44Tt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uXmLzRpEGDbFPJ7xKW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0YnYPkE0ia.TYSqJXzQ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gJD.W.F0iw2RiBQyfhR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L5yH5oX0C0J2cSQN31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gdGednk02Jlx7u39hlD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DtgWMyq02b3wTwUlT7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m2bFgtskOQxGjq1psQ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HwSGYjakCBqFkOPxvX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n1SYicE6nKomyby9E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F_x_lRL0GVkUwUlG9O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IpDOhSoUK1tprcT1n.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XBVZZOjE2k39O9_qRi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RLIQXpik.6vOam8yCF8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N2tfAZAUiqQcBi9uJk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oIKfTHKEiXvM67X9JG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t9JMaarUqYH3.1xCL1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LLOCKED" val="True"/>
  <p:tag name="DHLUNIQUEID" val="99988db9-f38b-4ccd-a4e4-43dc4eb11f55"/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LLOCKED" val="True"/>
  <p:tag name="DHLUNIQUEID" val="36cd708e-2358-40da-a738-805e1b8ad174"/>
  <p:tag name="FIELDS.INITIALIZED" val="1"/>
  <p:tag name="RECTANGLE 2_SHAPECLASSPROTECTIONTYPE" val="11"/>
  <p:tag name="TEXT BOX 4_SHAPECLASSPROTECTIONTYPE" val="11"/>
  <p:tag name="RECTANGLE 3_SHAPECLASSPROTECTIONTYPE" val="0"/>
  <p:tag name="SHAPESETGROUPCLASSNAME" val="ShapeSetGroup1"/>
  <p:tag name="SHAPESETCLASSNAME" val="ShapeSet4a"/>
  <p:tag name="COLORSETGROUPCLASSNAME" val="ColorSetGroup1"/>
  <p:tag name="COLORSETCLASSNAME" val="ColorSet1"/>
  <p:tag name="FONTSETGROUPCLASSNAME" val="FontSetGroup1"/>
  <p:tag name="STYLESETGROUPCLASSNAME" val="StyleSetGroup1"/>
  <p:tag name="MAPNAME" val="Map1"/>
  <p:tag name="CFG.LAYOUT" val="DHLCD01"/>
  <p:tag name="MLI" val="1"/>
  <p:tag name="CONFIG" val="DHLCD01"/>
  <p:tag name="ML_1" val="GT8000000"/>
  <p:tag name="ML_2" val="DHL_Extern.mc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LLOCKED" val="True"/>
  <p:tag name="DHLUNIQUEID" val="d2ef9b88-5382-4345-82e5-96abdfce242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.wJRO4TEKoh847D9Ls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RIJ48YJUOZiiQxlbeh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RIJ48YJUOZiiQxlbeh6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RIJ48YJUOZiiQxlbeh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8bgcxOkqxJ0GOJXdw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OjoHTKSkab5n_D00sE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j5ID5G30ykHB53eVWzPA"/>
</p:tagLst>
</file>

<file path=ppt/theme/theme1.xml><?xml version="1.0" encoding="utf-8"?>
<a:theme xmlns:a="http://schemas.openxmlformats.org/drawingml/2006/main" name="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xmlns="" name="DHL_PPT_4x3.potx" id="{7C8E855B-1EA4-441A-AFE6-4FD2703896F2}" vid="{0DB52780-A2CB-4DDD-9737-1BA74DDF94E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HLExpress.thmx</Template>
  <TotalTime>11094</TotalTime>
  <Words>1309</Words>
  <Application>Microsoft Office PowerPoint</Application>
  <PresentationFormat>Affichage à l'écran (4:3)</PresentationFormat>
  <Paragraphs>369</Paragraphs>
  <Slides>18</Slides>
  <Notes>18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8</vt:i4>
      </vt:variant>
    </vt:vector>
  </HeadingPairs>
  <TitlesOfParts>
    <vt:vector size="21" baseType="lpstr">
      <vt:lpstr>DHL_PPT_4x3</vt:lpstr>
      <vt:lpstr>think-cell Folie</vt:lpstr>
      <vt:lpstr>Chart</vt:lpstr>
      <vt:lpstr>Sub Saharan Africa</vt:lpstr>
      <vt:lpstr>The number 1 Express and logistics company in the world</vt:lpstr>
      <vt:lpstr>The industry leader</vt:lpstr>
      <vt:lpstr>Experience, unparalleled infrastructure and great people</vt:lpstr>
      <vt:lpstr>Undisputed leader in Africa</vt:lpstr>
      <vt:lpstr>Unparalleled infrastructure and best in class operations</vt:lpstr>
      <vt:lpstr>Connecting Africa with the World and the World with Africa</vt:lpstr>
      <vt:lpstr>Sub-Saharan Africa hub catchment areas</vt:lpstr>
      <vt:lpstr>Only carrier to have a dedicated air network in Africa</vt:lpstr>
      <vt:lpstr>Only carrier to have a dedicated air network in Africa</vt:lpstr>
      <vt:lpstr>West Africa – dedicated air network</vt:lpstr>
      <vt:lpstr>East, South and Central Africa – dedicated air networks</vt:lpstr>
      <vt:lpstr>Security doesn’t happen by chance –  19 TAPA certified facilities and state of the art security in all</vt:lpstr>
      <vt:lpstr>Customs clearance experts in Africa</vt:lpstr>
      <vt:lpstr>No one knows Africa like we do</vt:lpstr>
      <vt:lpstr>Quality Control Centre – state of the art technology</vt:lpstr>
      <vt:lpstr>Recent key achievements</vt:lpstr>
      <vt:lpstr>Certified International Specialists</vt:lpstr>
    </vt:vector>
  </TitlesOfParts>
  <Company>SavvyBizz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ions and Countries SSA Long</dc:title>
  <dc:creator>Gwendy Krijger</dc:creator>
  <cp:lastModifiedBy>EMILIE LAURENT (DHL FR)</cp:lastModifiedBy>
  <cp:revision>234</cp:revision>
  <cp:lastPrinted>2015-05-27T08:59:38Z</cp:lastPrinted>
  <dcterms:created xsi:type="dcterms:W3CDTF">2012-06-13T10:16:50Z</dcterms:created>
  <dcterms:modified xsi:type="dcterms:W3CDTF">2019-03-15T09:19:29Z</dcterms:modified>
</cp:coreProperties>
</file>